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notesSlides/notesSlide1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heme/themeOverride2.xml" ContentType="application/vnd.openxmlformats-officedocument.themeOverride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charts/chart4.xml" ContentType="application/vnd.openxmlformats-officedocument.drawingml.chart+xml"/>
  <Override PartName="/ppt/theme/themeOverride3.xml" ContentType="application/vnd.openxmlformats-officedocument.themeOverride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charts/chart5.xml" ContentType="application/vnd.openxmlformats-officedocument.drawingml.chart+xml"/>
  <Override PartName="/ppt/theme/themeOverride4.xml" ContentType="application/vnd.openxmlformats-officedocument.themeOverride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charts/chart6.xml" ContentType="application/vnd.openxmlformats-officedocument.drawingml.chart+xml"/>
  <Override PartName="/ppt/theme/themeOverride5.xml" ContentType="application/vnd.openxmlformats-officedocument.themeOverride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charts/chart7.xml" ContentType="application/vnd.openxmlformats-officedocument.drawingml.chart+xml"/>
  <Override PartName="/ppt/theme/themeOverride6.xml" ContentType="application/vnd.openxmlformats-officedocument.themeOverride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charts/chart8.xml" ContentType="application/vnd.openxmlformats-officedocument.drawingml.chart+xml"/>
  <Override PartName="/ppt/theme/themeOverride7.xml" ContentType="application/vnd.openxmlformats-officedocument.themeOverride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1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1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1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1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1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1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1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charts/chart29.xml" ContentType="application/vnd.openxmlformats-officedocument.drawingml.chart+xml"/>
  <Override PartName="/ppt/charts/chart30.xml" ContentType="application/vnd.openxmlformats-officedocument.drawingml.chart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charts/chart33.xml" ContentType="application/vnd.openxmlformats-officedocument.drawingml.chart+xml"/>
  <Override PartName="/ppt/charts/chart34.xml" ContentType="application/vnd.openxmlformats-officedocument.drawingml.chart+xml"/>
  <Override PartName="/ppt/charts/chart35.xml" ContentType="application/vnd.openxmlformats-officedocument.drawingml.chart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tags/tag1069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notesSlides/notesSlide2.xml" ContentType="application/vnd.openxmlformats-officedocument.presentationml.notesSlide+xml"/>
  <Override PartName="/ppt/charts/chart36.xml" ContentType="application/vnd.openxmlformats-officedocument.drawingml.chart+xml"/>
  <Override PartName="/ppt/theme/themeOverride8.xml" ContentType="application/vnd.openxmlformats-officedocument.themeOverride+xml"/>
  <Override PartName="/ppt/charts/chart37.xml" ContentType="application/vnd.openxmlformats-officedocument.drawingml.chart+xml"/>
  <Override PartName="/ppt/theme/themeOverride9.xml" ContentType="application/vnd.openxmlformats-officedocument.themeOverride+xml"/>
  <Override PartName="/ppt/charts/chart38.xml" ContentType="application/vnd.openxmlformats-officedocument.drawingml.chart+xml"/>
  <Override PartName="/ppt/theme/themeOverride10.xml" ContentType="application/vnd.openxmlformats-officedocument.themeOverride+xml"/>
  <Override PartName="/ppt/charts/chart39.xml" ContentType="application/vnd.openxmlformats-officedocument.drawingml.chart+xml"/>
  <Override PartName="/ppt/theme/themeOverride11.xml" ContentType="application/vnd.openxmlformats-officedocument.themeOverride+xml"/>
  <Override PartName="/ppt/charts/chart40.xml" ContentType="application/vnd.openxmlformats-officedocument.drawingml.chart+xml"/>
  <Override PartName="/ppt/theme/themeOverride12.xml" ContentType="application/vnd.openxmlformats-officedocument.themeOverride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tags/tag1130.xml" ContentType="application/vnd.openxmlformats-officedocument.presentationml.tags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charts/chart41.xml" ContentType="application/vnd.openxmlformats-officedocument.drawingml.chart+xml"/>
  <Override PartName="/ppt/theme/themeOverride13.xml" ContentType="application/vnd.openxmlformats-officedocument.themeOverride+xml"/>
  <Override PartName="/ppt/charts/chart42.xml" ContentType="application/vnd.openxmlformats-officedocument.drawingml.chart+xml"/>
  <Override PartName="/ppt/theme/themeOverride14.xml" ContentType="application/vnd.openxmlformats-officedocument.themeOverride+xml"/>
  <Override PartName="/ppt/charts/chart43.xml" ContentType="application/vnd.openxmlformats-officedocument.drawingml.chart+xml"/>
  <Override PartName="/ppt/theme/themeOverride15.xml" ContentType="application/vnd.openxmlformats-officedocument.themeOverride+xml"/>
  <Override PartName="/ppt/charts/chart44.xml" ContentType="application/vnd.openxmlformats-officedocument.drawingml.chart+xml"/>
  <Override PartName="/ppt/theme/themeOverride16.xml" ContentType="application/vnd.openxmlformats-officedocument.themeOverride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tags/tag1142.xml" ContentType="application/vnd.openxmlformats-officedocument.presentationml.tags+xml"/>
  <Override PartName="/ppt/tags/tag1143.xml" ContentType="application/vnd.openxmlformats-officedocument.presentationml.tags+xml"/>
  <Override PartName="/ppt/tags/tag1144.xml" ContentType="application/vnd.openxmlformats-officedocument.presentationml.tags+xml"/>
  <Override PartName="/ppt/tags/tag1145.xml" ContentType="application/vnd.openxmlformats-officedocument.presentationml.tags+xml"/>
  <Override PartName="/ppt/tags/tag1146.xml" ContentType="application/vnd.openxmlformats-officedocument.presentationml.tags+xml"/>
  <Override PartName="/ppt/tags/tag1147.xml" ContentType="application/vnd.openxmlformats-officedocument.presentationml.tags+xml"/>
  <Override PartName="/ppt/tags/tag1148.xml" ContentType="application/vnd.openxmlformats-officedocument.presentationml.tags+xml"/>
  <Override PartName="/ppt/tags/tag1149.xml" ContentType="application/vnd.openxmlformats-officedocument.presentationml.tags+xml"/>
  <Override PartName="/ppt/tags/tag1150.xml" ContentType="application/vnd.openxmlformats-officedocument.presentationml.tags+xml"/>
  <Override PartName="/ppt/tags/tag1151.xml" ContentType="application/vnd.openxmlformats-officedocument.presentationml.tags+xml"/>
  <Override PartName="/ppt/tags/tag1152.xml" ContentType="application/vnd.openxmlformats-officedocument.presentationml.tags+xml"/>
  <Override PartName="/ppt/tags/tag1153.xml" ContentType="application/vnd.openxmlformats-officedocument.presentationml.tags+xml"/>
  <Override PartName="/ppt/tags/tag1154.xml" ContentType="application/vnd.openxmlformats-officedocument.presentationml.tags+xml"/>
  <Override PartName="/ppt/tags/tag1155.xml" ContentType="application/vnd.openxmlformats-officedocument.presentationml.tags+xml"/>
  <Override PartName="/ppt/tags/tag1156.xml" ContentType="application/vnd.openxmlformats-officedocument.presentationml.tags+xml"/>
  <Override PartName="/ppt/tags/tag1157.xml" ContentType="application/vnd.openxmlformats-officedocument.presentationml.tags+xml"/>
  <Override PartName="/ppt/tags/tag1158.xml" ContentType="application/vnd.openxmlformats-officedocument.presentationml.tags+xml"/>
  <Override PartName="/ppt/tags/tag1159.xml" ContentType="application/vnd.openxmlformats-officedocument.presentationml.tags+xml"/>
  <Override PartName="/ppt/tags/tag1160.xml" ContentType="application/vnd.openxmlformats-officedocument.presentationml.tags+xml"/>
  <Override PartName="/ppt/tags/tag1161.xml" ContentType="application/vnd.openxmlformats-officedocument.presentationml.tags+xml"/>
  <Override PartName="/ppt/tags/tag1162.xml" ContentType="application/vnd.openxmlformats-officedocument.presentationml.tags+xml"/>
  <Override PartName="/ppt/tags/tag1163.xml" ContentType="application/vnd.openxmlformats-officedocument.presentationml.tags+xml"/>
  <Override PartName="/ppt/tags/tag1164.xml" ContentType="application/vnd.openxmlformats-officedocument.presentationml.tags+xml"/>
  <Override PartName="/ppt/tags/tag1165.xml" ContentType="application/vnd.openxmlformats-officedocument.presentationml.tags+xml"/>
  <Override PartName="/ppt/tags/tag1166.xml" ContentType="application/vnd.openxmlformats-officedocument.presentationml.tags+xml"/>
  <Override PartName="/ppt/tags/tag1167.xml" ContentType="application/vnd.openxmlformats-officedocument.presentationml.tags+xml"/>
  <Override PartName="/ppt/tags/tag1168.xml" ContentType="application/vnd.openxmlformats-officedocument.presentationml.tags+xml"/>
  <Override PartName="/ppt/tags/tag1169.xml" ContentType="application/vnd.openxmlformats-officedocument.presentationml.tags+xml"/>
  <Override PartName="/ppt/tags/tag1170.xml" ContentType="application/vnd.openxmlformats-officedocument.presentationml.tags+xml"/>
  <Override PartName="/ppt/tags/tag1171.xml" ContentType="application/vnd.openxmlformats-officedocument.presentationml.tags+xml"/>
  <Override PartName="/ppt/tags/tag1172.xml" ContentType="application/vnd.openxmlformats-officedocument.presentationml.tags+xml"/>
  <Override PartName="/ppt/tags/tag1173.xml" ContentType="application/vnd.openxmlformats-officedocument.presentationml.tags+xml"/>
  <Override PartName="/ppt/tags/tag1174.xml" ContentType="application/vnd.openxmlformats-officedocument.presentationml.tags+xml"/>
  <Override PartName="/ppt/tags/tag1175.xml" ContentType="application/vnd.openxmlformats-officedocument.presentationml.tags+xml"/>
  <Override PartName="/ppt/tags/tag1176.xml" ContentType="application/vnd.openxmlformats-officedocument.presentationml.tags+xml"/>
  <Override PartName="/ppt/tags/tag1177.xml" ContentType="application/vnd.openxmlformats-officedocument.presentationml.tags+xml"/>
  <Override PartName="/ppt/tags/tag1178.xml" ContentType="application/vnd.openxmlformats-officedocument.presentationml.tags+xml"/>
  <Override PartName="/ppt/tags/tag1179.xml" ContentType="application/vnd.openxmlformats-officedocument.presentationml.tags+xml"/>
  <Override PartName="/ppt/charts/chart45.xml" ContentType="application/vnd.openxmlformats-officedocument.drawingml.chart+xml"/>
  <Override PartName="/ppt/theme/themeOverride17.xml" ContentType="application/vnd.openxmlformats-officedocument.themeOverride+xml"/>
  <Override PartName="/ppt/charts/chart46.xml" ContentType="application/vnd.openxmlformats-officedocument.drawingml.chart+xml"/>
  <Override PartName="/ppt/theme/themeOverride18.xml" ContentType="application/vnd.openxmlformats-officedocument.themeOverride+xml"/>
  <Override PartName="/ppt/charts/chart47.xml" ContentType="application/vnd.openxmlformats-officedocument.drawingml.chart+xml"/>
  <Override PartName="/ppt/theme/themeOverride19.xml" ContentType="application/vnd.openxmlformats-officedocument.themeOverride+xml"/>
  <Override PartName="/ppt/charts/chart48.xml" ContentType="application/vnd.openxmlformats-officedocument.drawingml.chart+xml"/>
  <Override PartName="/ppt/theme/themeOverride20.xml" ContentType="application/vnd.openxmlformats-officedocument.themeOverride+xml"/>
  <Override PartName="/ppt/tags/tag1180.xml" ContentType="application/vnd.openxmlformats-officedocument.presentationml.tags+xml"/>
  <Override PartName="/ppt/tags/tag1181.xml" ContentType="application/vnd.openxmlformats-officedocument.presentationml.tags+xml"/>
  <Override PartName="/ppt/tags/tag1182.xml" ContentType="application/vnd.openxmlformats-officedocument.presentationml.tags+xml"/>
  <Override PartName="/ppt/tags/tag1183.xml" ContentType="application/vnd.openxmlformats-officedocument.presentationml.tags+xml"/>
  <Override PartName="/ppt/tags/tag1184.xml" ContentType="application/vnd.openxmlformats-officedocument.presentationml.tags+xml"/>
  <Override PartName="/ppt/tags/tag1185.xml" ContentType="application/vnd.openxmlformats-officedocument.presentationml.tags+xml"/>
  <Override PartName="/ppt/tags/tag1186.xml" ContentType="application/vnd.openxmlformats-officedocument.presentationml.tags+xml"/>
  <Override PartName="/ppt/tags/tag118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6" r:id="rId1"/>
  </p:sldMasterIdLst>
  <p:notesMasterIdLst>
    <p:notesMasterId r:id="rId81"/>
  </p:notesMasterIdLst>
  <p:handoutMasterIdLst>
    <p:handoutMasterId r:id="rId82"/>
  </p:handoutMasterIdLst>
  <p:sldIdLst>
    <p:sldId id="370" r:id="rId2"/>
    <p:sldId id="372" r:id="rId3"/>
    <p:sldId id="397" r:id="rId4"/>
    <p:sldId id="380" r:id="rId5"/>
    <p:sldId id="398" r:id="rId6"/>
    <p:sldId id="339" r:id="rId7"/>
    <p:sldId id="341" r:id="rId8"/>
    <p:sldId id="342" r:id="rId9"/>
    <p:sldId id="365" r:id="rId10"/>
    <p:sldId id="423" r:id="rId11"/>
    <p:sldId id="440" r:id="rId12"/>
    <p:sldId id="439" r:id="rId13"/>
    <p:sldId id="329" r:id="rId14"/>
    <p:sldId id="321" r:id="rId15"/>
    <p:sldId id="335" r:id="rId16"/>
    <p:sldId id="323" r:id="rId17"/>
    <p:sldId id="322" r:id="rId18"/>
    <p:sldId id="308" r:id="rId19"/>
    <p:sldId id="399" r:id="rId20"/>
    <p:sldId id="334" r:id="rId21"/>
    <p:sldId id="336" r:id="rId22"/>
    <p:sldId id="337" r:id="rId23"/>
    <p:sldId id="389" r:id="rId24"/>
    <p:sldId id="400" r:id="rId25"/>
    <p:sldId id="401" r:id="rId26"/>
    <p:sldId id="347" r:id="rId27"/>
    <p:sldId id="343" r:id="rId28"/>
    <p:sldId id="344" r:id="rId29"/>
    <p:sldId id="345" r:id="rId30"/>
    <p:sldId id="346" r:id="rId31"/>
    <p:sldId id="366" r:id="rId32"/>
    <p:sldId id="379" r:id="rId33"/>
    <p:sldId id="402" r:id="rId34"/>
    <p:sldId id="403" r:id="rId35"/>
    <p:sldId id="404" r:id="rId36"/>
    <p:sldId id="309" r:id="rId37"/>
    <p:sldId id="326" r:id="rId38"/>
    <p:sldId id="327" r:id="rId39"/>
    <p:sldId id="390" r:id="rId40"/>
    <p:sldId id="364" r:id="rId41"/>
    <p:sldId id="315" r:id="rId42"/>
    <p:sldId id="442" r:id="rId43"/>
    <p:sldId id="443" r:id="rId44"/>
    <p:sldId id="444" r:id="rId45"/>
    <p:sldId id="369" r:id="rId46"/>
    <p:sldId id="445" r:id="rId47"/>
    <p:sldId id="446" r:id="rId48"/>
    <p:sldId id="447" r:id="rId49"/>
    <p:sldId id="373" r:id="rId50"/>
    <p:sldId id="448" r:id="rId51"/>
    <p:sldId id="420" r:id="rId52"/>
    <p:sldId id="422" r:id="rId53"/>
    <p:sldId id="449" r:id="rId54"/>
    <p:sldId id="450" r:id="rId55"/>
    <p:sldId id="451" r:id="rId56"/>
    <p:sldId id="453" r:id="rId57"/>
    <p:sldId id="386" r:id="rId58"/>
    <p:sldId id="318" r:id="rId59"/>
    <p:sldId id="418" r:id="rId60"/>
    <p:sldId id="414" r:id="rId61"/>
    <p:sldId id="416" r:id="rId62"/>
    <p:sldId id="355" r:id="rId63"/>
    <p:sldId id="434" r:id="rId64"/>
    <p:sldId id="431" r:id="rId65"/>
    <p:sldId id="438" r:id="rId66"/>
    <p:sldId id="437" r:id="rId67"/>
    <p:sldId id="358" r:id="rId68"/>
    <p:sldId id="359" r:id="rId69"/>
    <p:sldId id="360" r:id="rId70"/>
    <p:sldId id="362" r:id="rId71"/>
    <p:sldId id="351" r:id="rId72"/>
    <p:sldId id="425" r:id="rId73"/>
    <p:sldId id="429" r:id="rId74"/>
    <p:sldId id="426" r:id="rId75"/>
    <p:sldId id="428" r:id="rId76"/>
    <p:sldId id="427" r:id="rId77"/>
    <p:sldId id="350" r:id="rId78"/>
    <p:sldId id="354" r:id="rId79"/>
    <p:sldId id="270" r:id="rId80"/>
  </p:sldIdLst>
  <p:sldSz cx="9144000" cy="5143500" type="screen16x9"/>
  <p:notesSz cx="6858000" cy="9144000"/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7" pos="181" userDrawn="1">
          <p15:clr>
            <a:srgbClr val="A4A3A4"/>
          </p15:clr>
        </p15:guide>
        <p15:guide id="8" orient="horz" pos="418" userDrawn="1">
          <p15:clr>
            <a:srgbClr val="A4A3A4"/>
          </p15:clr>
        </p15:guide>
        <p15:guide id="9" pos="2878">
          <p15:clr>
            <a:srgbClr val="A4A3A4"/>
          </p15:clr>
        </p15:guide>
        <p15:guide id="10" pos="550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A3568"/>
    <a:srgbClr val="1E86C8"/>
    <a:srgbClr val="A6A6A6"/>
    <a:srgbClr val="63666A"/>
    <a:srgbClr val="00A0DC"/>
    <a:srgbClr val="0073CF"/>
    <a:srgbClr val="1E85C7"/>
    <a:srgbClr val="000000"/>
    <a:srgbClr val="E8496D"/>
    <a:srgbClr val="1B68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6D9F66E-5EB9-4882-86FB-DCBF35E3C3E4}" styleName="Средний стиль 4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920" autoAdjust="0"/>
    <p:restoredTop sz="94690" autoAdjust="0"/>
  </p:normalViewPr>
  <p:slideViewPr>
    <p:cSldViewPr snapToGrid="0" showGuides="1">
      <p:cViewPr>
        <p:scale>
          <a:sx n="100" d="100"/>
          <a:sy n="100" d="100"/>
        </p:scale>
        <p:origin x="1118" y="293"/>
      </p:cViewPr>
      <p:guideLst>
        <p:guide pos="181"/>
        <p:guide orient="horz" pos="418"/>
        <p:guide pos="2878"/>
        <p:guide pos="550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8" d="100"/>
          <a:sy n="88" d="100"/>
        </p:scale>
        <p:origin x="-3870" y="-12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viewProps" Target="viewProps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notesMaster" Target="notesMasters/notesMaster1.xml"/><Relationship Id="rId86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61" Type="http://schemas.openxmlformats.org/officeDocument/2006/relationships/slide" Target="slides/slide60.xml"/><Relationship Id="rId82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2.xml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0.xlsx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1.xlsx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2.xlsx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3.xlsx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4.xlsx"/></Relationships>
</file>

<file path=ppt/charts/_rels/chart3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5.xlsx"/><Relationship Id="rId1" Type="http://schemas.openxmlformats.org/officeDocument/2006/relationships/themeOverride" Target="../theme/themeOverride8.xml"/></Relationships>
</file>

<file path=ppt/charts/_rels/chart3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6.xlsx"/><Relationship Id="rId1" Type="http://schemas.openxmlformats.org/officeDocument/2006/relationships/themeOverride" Target="../theme/themeOverride9.xml"/></Relationships>
</file>

<file path=ppt/charts/_rels/chart3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7.xlsx"/><Relationship Id="rId1" Type="http://schemas.openxmlformats.org/officeDocument/2006/relationships/themeOverride" Target="../theme/themeOverride10.xml"/></Relationships>
</file>

<file path=ppt/charts/_rels/chart3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8.xlsx"/><Relationship Id="rId1" Type="http://schemas.openxmlformats.org/officeDocument/2006/relationships/themeOverride" Target="../theme/themeOverride11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3.xml"/></Relationships>
</file>

<file path=ppt/charts/_rels/chart4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9.xlsx"/><Relationship Id="rId1" Type="http://schemas.openxmlformats.org/officeDocument/2006/relationships/themeOverride" Target="../theme/themeOverride12.xml"/></Relationships>
</file>

<file path=ppt/charts/_rels/chart4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0.xlsx"/><Relationship Id="rId1" Type="http://schemas.openxmlformats.org/officeDocument/2006/relationships/themeOverride" Target="../theme/themeOverride13.xml"/></Relationships>
</file>

<file path=ppt/charts/_rels/chart4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1.xlsx"/><Relationship Id="rId1" Type="http://schemas.openxmlformats.org/officeDocument/2006/relationships/themeOverride" Target="../theme/themeOverride14.xml"/></Relationships>
</file>

<file path=ppt/charts/_rels/chart4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2.xlsx"/><Relationship Id="rId1" Type="http://schemas.openxmlformats.org/officeDocument/2006/relationships/themeOverride" Target="../theme/themeOverride15.xml"/></Relationships>
</file>

<file path=ppt/charts/_rels/chart4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3.xlsx"/><Relationship Id="rId1" Type="http://schemas.openxmlformats.org/officeDocument/2006/relationships/themeOverride" Target="../theme/themeOverride16.xml"/></Relationships>
</file>

<file path=ppt/charts/_rels/chart4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4.xlsx"/><Relationship Id="rId1" Type="http://schemas.openxmlformats.org/officeDocument/2006/relationships/themeOverride" Target="../theme/themeOverride17.xml"/></Relationships>
</file>

<file path=ppt/charts/_rels/chart4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5.xlsx"/><Relationship Id="rId1" Type="http://schemas.openxmlformats.org/officeDocument/2006/relationships/themeOverride" Target="../theme/themeOverride18.xml"/></Relationships>
</file>

<file path=ppt/charts/_rels/chart4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6.xlsx"/><Relationship Id="rId1" Type="http://schemas.openxmlformats.org/officeDocument/2006/relationships/themeOverride" Target="../theme/themeOverride19.xml"/></Relationships>
</file>

<file path=ppt/charts/_rels/chart4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7.xlsx"/><Relationship Id="rId1" Type="http://schemas.openxmlformats.org/officeDocument/2006/relationships/themeOverride" Target="../theme/themeOverride20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4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5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6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7.xm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2.2368556811508105E-2"/>
          <c:y val="0"/>
          <c:w val="0.96149057931605497"/>
          <c:h val="0.93883185062987595"/>
        </c:manualLayout>
      </c:layout>
      <c:barChart>
        <c:barDir val="col"/>
        <c:grouping val="clustered"/>
        <c:varyColors val="0"/>
        <c:ser>
          <c:idx val="4"/>
          <c:order val="0"/>
          <c:tx>
            <c:strRef>
              <c:f>Лист1!$B$1</c:f>
              <c:strCache>
                <c:ptCount val="1"/>
                <c:pt idx="0">
                  <c:v>Производительность труда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</c:spPr>
          <c:invertIfNegative val="0"/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E9D-4471-8100-F6D4F238E7A3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6E9D-4471-8100-F6D4F238E7A3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6E9D-4471-8100-F6D4F238E7A3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6E9D-4471-8100-F6D4F238E7A3}"/>
              </c:ext>
            </c:extLst>
          </c:dPt>
          <c:dPt>
            <c:idx val="13"/>
            <c:invertIfNegative val="0"/>
            <c:bubble3D val="0"/>
            <c:spPr>
              <a:solidFill>
                <a:srgbClr val="B71B4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6E9D-4471-8100-F6D4F238E7A3}"/>
              </c:ext>
            </c:extLst>
          </c:dPt>
          <c:dLbls>
            <c:dLbl>
              <c:idx val="9"/>
              <c:layout>
                <c:manualLayout>
                  <c:x val="0"/>
                  <c:y val="6.905572346185232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E9D-4471-8100-F6D4F238E7A3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 i="0"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7</c:f>
              <c:strCache>
                <c:ptCount val="16"/>
                <c:pt idx="0">
                  <c:v>Ирландия</c:v>
                </c:pt>
                <c:pt idx="1">
                  <c:v>Люксембург</c:v>
                </c:pt>
                <c:pt idx="2">
                  <c:v>Норвегия</c:v>
                </c:pt>
                <c:pt idx="3">
                  <c:v>Германия</c:v>
                </c:pt>
                <c:pt idx="4">
                  <c:v>США</c:v>
                </c:pt>
                <c:pt idx="5">
                  <c:v>Франция</c:v>
                </c:pt>
                <c:pt idx="6">
                  <c:v>Финляндия</c:v>
                </c:pt>
                <c:pt idx="7">
                  <c:v>Великобритания</c:v>
                </c:pt>
                <c:pt idx="8">
                  <c:v>Канада</c:v>
                </c:pt>
                <c:pt idx="9">
                  <c:v>Япония</c:v>
                </c:pt>
                <c:pt idx="10">
                  <c:v>Чехия</c:v>
                </c:pt>
                <c:pt idx="11">
                  <c:v>Южная Корея</c:v>
                </c:pt>
                <c:pt idx="12">
                  <c:v>Чили</c:v>
                </c:pt>
                <c:pt idx="13">
                  <c:v>Россия</c:v>
                </c:pt>
                <c:pt idx="14">
                  <c:v>ЮАР</c:v>
                </c:pt>
                <c:pt idx="15">
                  <c:v>Мексика</c:v>
                </c:pt>
              </c:strCache>
            </c:strRef>
          </c:cat>
          <c:val>
            <c:numRef>
              <c:f>Лист1!$B$2:$B$17</c:f>
              <c:numCache>
                <c:formatCode>0.0</c:formatCode>
                <c:ptCount val="16"/>
                <c:pt idx="0">
                  <c:v>99.5</c:v>
                </c:pt>
                <c:pt idx="1">
                  <c:v>98.5</c:v>
                </c:pt>
                <c:pt idx="2">
                  <c:v>83.1</c:v>
                </c:pt>
                <c:pt idx="3">
                  <c:v>72.2</c:v>
                </c:pt>
                <c:pt idx="4">
                  <c:v>72</c:v>
                </c:pt>
                <c:pt idx="5">
                  <c:v>69.599999999999994</c:v>
                </c:pt>
                <c:pt idx="6">
                  <c:v>65.5</c:v>
                </c:pt>
                <c:pt idx="7">
                  <c:v>61.1</c:v>
                </c:pt>
                <c:pt idx="8">
                  <c:v>53.5</c:v>
                </c:pt>
                <c:pt idx="9">
                  <c:v>46.2</c:v>
                </c:pt>
                <c:pt idx="10">
                  <c:v>42.2</c:v>
                </c:pt>
                <c:pt idx="11">
                  <c:v>37</c:v>
                </c:pt>
                <c:pt idx="12">
                  <c:v>27.6</c:v>
                </c:pt>
                <c:pt idx="13">
                  <c:v>26.5</c:v>
                </c:pt>
                <c:pt idx="14">
                  <c:v>24.5</c:v>
                </c:pt>
                <c:pt idx="15">
                  <c:v>21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E9D-4471-8100-F6D4F238E7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4687616"/>
        <c:axId val="94689152"/>
      </c:barChart>
      <c:catAx>
        <c:axId val="9468761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 rot="-5400000" vert="horz"/>
          <a:lstStyle/>
          <a:p>
            <a:pPr>
              <a:defRPr sz="100">
                <a:solidFill>
                  <a:schemeClr val="bg1"/>
                </a:solidFill>
              </a:defRPr>
            </a:pPr>
            <a:endParaRPr lang="ru-RU"/>
          </a:p>
        </c:txPr>
        <c:crossAx val="94689152"/>
        <c:crosses val="autoZero"/>
        <c:auto val="1"/>
        <c:lblAlgn val="ctr"/>
        <c:lblOffset val="100"/>
        <c:noMultiLvlLbl val="0"/>
      </c:catAx>
      <c:valAx>
        <c:axId val="94689152"/>
        <c:scaling>
          <c:orientation val="minMax"/>
        </c:scaling>
        <c:delete val="1"/>
        <c:axPos val="l"/>
        <c:numFmt formatCode="0.0" sourceLinked="1"/>
        <c:majorTickMark val="out"/>
        <c:minorTickMark val="none"/>
        <c:tickLblPos val="nextTo"/>
        <c:crossAx val="9468761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4695233223811321E-2"/>
          <c:y val="0.23416346324203693"/>
          <c:w val="0.87060951071037418"/>
          <c:h val="0.5650881444337165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лан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3E4-4E3E-80F8-ACA671AF00F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3E4-4E3E-80F8-ACA671AF00FC}"/>
              </c:ext>
            </c:extLst>
          </c:dPt>
          <c:dPt>
            <c:idx val="2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solidFill>
                  <a:schemeClr val="tx1"/>
                </a:solidFill>
                <a:prstDash val="dash"/>
              </a:ln>
            </c:spPr>
            <c:extLst>
              <c:ext xmlns:c16="http://schemas.microsoft.com/office/drawing/2014/chart" uri="{C3380CC4-5D6E-409C-BE32-E72D297353CC}">
                <c16:uniqueId val="{00000003-A3E4-4E3E-80F8-ACA671AF00FC}"/>
              </c:ext>
            </c:extLst>
          </c:dPt>
          <c:dLbls>
            <c:dLbl>
              <c:idx val="1"/>
              <c:layout>
                <c:manualLayout>
                  <c:x val="-2.3635460710933484E-3"/>
                  <c:y val="2.56207204656192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1908795190859412"/>
                      <c:h val="0.1346233129446424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A3E4-4E3E-80F8-ACA671AF00FC}"/>
                </c:ext>
              </c:extLst>
            </c:dLbl>
            <c:numFmt formatCode="0" sourceLinked="0"/>
            <c:spPr>
              <a:noFill/>
              <a:ln>
                <a:noFill/>
              </a:ln>
            </c:spPr>
            <c:txPr>
              <a:bodyPr/>
              <a:lstStyle/>
              <a:p>
                <a:pPr>
                  <a:defRPr sz="800" b="0">
                    <a:solidFill>
                      <a:schemeClr val="bg2">
                        <a:lumMod val="50000"/>
                      </a:schemeClr>
                    </a:solidFill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25.06.2019
(до проекта)</c:v>
                </c:pt>
                <c:pt idx="1">
                  <c:v>11.12.2019
(закрытие проекта)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1">
                  <c:v>1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3E4-4E3E-80F8-ACA671AF00FC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Факт</c:v>
                </c:pt>
              </c:strCache>
            </c:strRef>
          </c:tx>
          <c:spPr>
            <a:solidFill>
              <a:srgbClr val="1E86C8">
                <a:alpha val="71000"/>
              </a:srgbClr>
            </a:solidFill>
            <a:ln w="28575">
              <a:noFill/>
            </a:ln>
          </c:spPr>
          <c:invertIfNegative val="0"/>
          <c:dLbls>
            <c:dLbl>
              <c:idx val="1"/>
              <c:layout>
                <c:manualLayout>
                  <c:x val="1.1819963979096348E-2"/>
                  <c:y val="0.30744424409503118"/>
                </c:manualLayout>
              </c:layout>
              <c:numFmt formatCode="0" sourceLinked="0"/>
              <c:spPr/>
              <c:txPr>
                <a:bodyPr/>
                <a:lstStyle/>
                <a:p>
                  <a:pPr>
                    <a:defRPr sz="800" b="0"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0963227854180111"/>
                      <c:h val="0.2091552509070742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A3E4-4E3E-80F8-ACA671AF00FC}"/>
                </c:ext>
              </c:extLst>
            </c:dLbl>
            <c:dLbl>
              <c:idx val="2"/>
              <c:layout>
                <c:manualLayout>
                  <c:x val="-0.12055983542661095"/>
                  <c:y val="-3.8547222222222219E-2"/>
                </c:manualLayout>
              </c:layout>
              <c:numFmt formatCode="0" sourceLinked="0"/>
              <c:spPr/>
              <c:txPr>
                <a:bodyPr/>
                <a:lstStyle/>
                <a:p>
                  <a:pPr>
                    <a:defRPr sz="800" b="1">
                      <a:solidFill>
                        <a:srgbClr val="1E86C8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3E4-4E3E-80F8-ACA671AF00FC}"/>
                </c:ext>
              </c:extLst>
            </c:dLbl>
            <c:dLbl>
              <c:idx val="3"/>
              <c:layout>
                <c:manualLayout>
                  <c:x val="-8.5101060301137135E-2"/>
                  <c:y val="-0.21166666666666667"/>
                </c:manualLayout>
              </c:layout>
              <c:numFmt formatCode="0" sourceLinked="0"/>
              <c:spPr/>
              <c:txPr>
                <a:bodyPr/>
                <a:lstStyle/>
                <a:p>
                  <a:pPr>
                    <a:defRPr sz="800" b="1">
                      <a:solidFill>
                        <a:srgbClr val="1E86C8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3E4-4E3E-80F8-ACA671AF00FC}"/>
                </c:ext>
              </c:extLst>
            </c:dLbl>
            <c:numFmt formatCode="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>
                    <a:solidFill>
                      <a:srgbClr val="1E86C8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25.06.2019
(до проекта)</c:v>
                </c:pt>
                <c:pt idx="1">
                  <c:v>11.12.2019
(закрытие проекта)</c:v>
                </c:pt>
              </c:strCache>
            </c:strRef>
          </c:cat>
          <c:val>
            <c:numRef>
              <c:f>Лист1!$C$2:$C$3</c:f>
              <c:numCache>
                <c:formatCode>General</c:formatCode>
                <c:ptCount val="2"/>
                <c:pt idx="0" formatCode="#,##0">
                  <c:v>65</c:v>
                </c:pt>
                <c:pt idx="1">
                  <c:v>1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3E4-4E3E-80F8-ACA671AF00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61"/>
        <c:axId val="71885184"/>
        <c:axId val="71886720"/>
      </c:barChart>
      <c:scatterChart>
        <c:scatterStyle val="lineMarker"/>
        <c:varyColors val="0"/>
        <c:ser>
          <c:idx val="2"/>
          <c:order val="2"/>
          <c:tx>
            <c:strRef>
              <c:f>Лист1!$D$1</c:f>
              <c:strCache>
                <c:ptCount val="1"/>
                <c:pt idx="0">
                  <c:v>Динамика, в % к старту проекта</c:v>
                </c:pt>
              </c:strCache>
            </c:strRef>
          </c:tx>
          <c:spPr>
            <a:ln w="19050">
              <a:noFill/>
            </a:ln>
          </c:spPr>
          <c:marker>
            <c:spPr>
              <a:noFill/>
              <a:ln>
                <a:noFill/>
              </a:ln>
            </c:spPr>
          </c:marker>
          <c:xVal>
            <c:strRef>
              <c:f>Лист1!$A$2:$A$3</c:f>
              <c:strCache>
                <c:ptCount val="2"/>
                <c:pt idx="0">
                  <c:v>25.06.2019
(до проекта)</c:v>
                </c:pt>
                <c:pt idx="1">
                  <c:v>11.12.2019
(закрытие проекта)</c:v>
                </c:pt>
              </c:strCache>
            </c:strRef>
          </c:xVal>
          <c:yVal>
            <c:numRef>
              <c:f>Лист1!$D$2:$D$3</c:f>
              <c:numCache>
                <c:formatCode>0%</c:formatCode>
                <c:ptCount val="2"/>
                <c:pt idx="1">
                  <c:v>0.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A3E4-4E3E-80F8-ACA671AF00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1959680"/>
        <c:axId val="71888256"/>
      </c:scatterChart>
      <c:catAx>
        <c:axId val="71885184"/>
        <c:scaling>
          <c:orientation val="minMax"/>
        </c:scaling>
        <c:delete val="0"/>
        <c:axPos val="b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500"/>
            </a:pPr>
            <a:endParaRPr lang="ru-RU"/>
          </a:p>
        </c:txPr>
        <c:crossAx val="71886720"/>
        <c:crosses val="autoZero"/>
        <c:auto val="1"/>
        <c:lblAlgn val="ctr"/>
        <c:lblOffset val="100"/>
        <c:noMultiLvlLbl val="0"/>
      </c:catAx>
      <c:valAx>
        <c:axId val="71886720"/>
        <c:scaling>
          <c:orientation val="minMax"/>
          <c:min val="0"/>
        </c:scaling>
        <c:delete val="0"/>
        <c:axPos val="l"/>
        <c:numFmt formatCode="#,##0.0" sourceLinked="0"/>
        <c:majorTickMark val="none"/>
        <c:minorTickMark val="none"/>
        <c:tickLblPos val="nextTo"/>
        <c:txPr>
          <a:bodyPr/>
          <a:lstStyle/>
          <a:p>
            <a:pPr>
              <a:defRPr sz="100">
                <a:solidFill>
                  <a:schemeClr val="bg1"/>
                </a:solidFill>
              </a:defRPr>
            </a:pPr>
            <a:endParaRPr lang="ru-RU"/>
          </a:p>
        </c:txPr>
        <c:crossAx val="71885184"/>
        <c:crosses val="autoZero"/>
        <c:crossBetween val="between"/>
      </c:valAx>
      <c:valAx>
        <c:axId val="71888256"/>
        <c:scaling>
          <c:orientation val="minMax"/>
        </c:scaling>
        <c:delete val="0"/>
        <c:axPos val="r"/>
        <c:numFmt formatCode="0%" sourceLinked="1"/>
        <c:majorTickMark val="none"/>
        <c:minorTickMark val="none"/>
        <c:tickLblPos val="none"/>
        <c:spPr>
          <a:ln>
            <a:noFill/>
          </a:ln>
        </c:spPr>
        <c:txPr>
          <a:bodyPr/>
          <a:lstStyle/>
          <a:p>
            <a:pPr>
              <a:defRPr sz="100"/>
            </a:pPr>
            <a:endParaRPr lang="ru-RU"/>
          </a:p>
        </c:txPr>
        <c:crossAx val="71959680"/>
        <c:crosses val="max"/>
        <c:crossBetween val="midCat"/>
      </c:valAx>
      <c:valAx>
        <c:axId val="71959680"/>
        <c:scaling>
          <c:orientation val="minMax"/>
        </c:scaling>
        <c:delete val="1"/>
        <c:axPos val="b"/>
        <c:majorTickMark val="out"/>
        <c:minorTickMark val="none"/>
        <c:tickLblPos val="nextTo"/>
        <c:crossAx val="71888256"/>
        <c:crosses val="autoZero"/>
        <c:crossBetween val="midCat"/>
      </c:valAx>
    </c:plotArea>
    <c:legend>
      <c:legendPos val="t"/>
      <c:legendEntry>
        <c:idx val="2"/>
        <c:delete val="1"/>
      </c:legendEntry>
      <c:layout>
        <c:manualLayout>
          <c:xMode val="edge"/>
          <c:yMode val="edge"/>
          <c:x val="0.34757138102715418"/>
          <c:y val="0"/>
          <c:w val="0.56016041884910306"/>
          <c:h val="0.12194847473512231"/>
        </c:manualLayout>
      </c:layout>
      <c:overlay val="0"/>
      <c:txPr>
        <a:bodyPr/>
        <a:lstStyle/>
        <a:p>
          <a:pPr>
            <a:defRPr sz="8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4695233223811321E-2"/>
          <c:y val="0.15024303442263096"/>
          <c:w val="0.87060951071037418"/>
          <c:h val="0.642601236551519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лан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C4A-4508-8EDE-D0603630DA9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1C4A-4508-8EDE-D0603630DA9C}"/>
              </c:ext>
            </c:extLst>
          </c:dPt>
          <c:dPt>
            <c:idx val="2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solidFill>
                  <a:schemeClr val="tx1"/>
                </a:solidFill>
                <a:prstDash val="dash"/>
              </a:ln>
            </c:spPr>
            <c:extLst>
              <c:ext xmlns:c16="http://schemas.microsoft.com/office/drawing/2014/chart" uri="{C3380CC4-5D6E-409C-BE32-E72D297353CC}">
                <c16:uniqueId val="{00000003-1C4A-4508-8EDE-D0603630DA9C}"/>
              </c:ext>
            </c:extLst>
          </c:dPt>
          <c:dLbls>
            <c:dLbl>
              <c:idx val="1"/>
              <c:layout>
                <c:manualLayout>
                  <c:x val="-1.4183510050189609E-2"/>
                  <c:y val="4.3013584472708548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691064537576624"/>
                      <c:h val="9.735734396342650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1C4A-4508-8EDE-D0603630DA9C}"/>
                </c:ext>
              </c:extLst>
            </c:dLbl>
            <c:numFmt formatCode="0" sourceLinked="0"/>
            <c:spPr>
              <a:noFill/>
              <a:ln>
                <a:noFill/>
              </a:ln>
            </c:spPr>
            <c:txPr>
              <a:bodyPr/>
              <a:lstStyle/>
              <a:p>
                <a:pPr>
                  <a:defRPr sz="800">
                    <a:solidFill>
                      <a:schemeClr val="bg2">
                        <a:lumMod val="50000"/>
                      </a:schemeClr>
                    </a:solidFill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25.06.2019
(до проекта)</c:v>
                </c:pt>
                <c:pt idx="1">
                  <c:v>11.12.2019 (закрытие проекта)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1">
                  <c:v>1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C4A-4508-8EDE-D0603630DA9C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факт</c:v>
                </c:pt>
              </c:strCache>
            </c:strRef>
          </c:tx>
          <c:spPr>
            <a:solidFill>
              <a:srgbClr val="1E86C8">
                <a:alpha val="71000"/>
              </a:srgbClr>
            </a:solidFill>
            <a:ln w="28575">
              <a:noFill/>
            </a:ln>
          </c:spPr>
          <c:invertIfNegative val="0"/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79992986421802"/>
                      <c:h val="8.804085171812255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0114-4563-B11E-80DB6F08F8B9}"/>
                </c:ext>
              </c:extLst>
            </c:dLbl>
            <c:dLbl>
              <c:idx val="1"/>
              <c:layout>
                <c:manualLayout>
                  <c:x val="3.72270605078527E-7"/>
                  <c:y val="0.12577264531160356"/>
                </c:manualLayout>
              </c:layout>
              <c:numFmt formatCode="0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800" b="0"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0963227854180111"/>
                      <c:h val="0.1066738362087305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0114-4563-B11E-80DB6F08F8B9}"/>
                </c:ext>
              </c:extLst>
            </c:dLbl>
            <c:numFmt formatCode="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 b="0">
                    <a:solidFill>
                      <a:srgbClr val="1E86C8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25.06.2019
(до проекта)</c:v>
                </c:pt>
                <c:pt idx="1">
                  <c:v>11.12.2019 (закрытие проекта)</c:v>
                </c:pt>
              </c:strCache>
            </c:strRef>
          </c:cat>
          <c:val>
            <c:numRef>
              <c:f>Лист1!$C$2:$C$3</c:f>
              <c:numCache>
                <c:formatCode>General</c:formatCode>
                <c:ptCount val="2"/>
                <c:pt idx="0" formatCode="#,##0">
                  <c:v>543</c:v>
                </c:pt>
                <c:pt idx="1">
                  <c:v>1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C4A-4508-8EDE-D0603630DA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61"/>
        <c:axId val="72180864"/>
        <c:axId val="72182400"/>
      </c:barChart>
      <c:catAx>
        <c:axId val="72180864"/>
        <c:scaling>
          <c:orientation val="minMax"/>
        </c:scaling>
        <c:delete val="0"/>
        <c:axPos val="b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600"/>
            </a:pPr>
            <a:endParaRPr lang="ru-RU"/>
          </a:p>
        </c:txPr>
        <c:crossAx val="72182400"/>
        <c:crosses val="autoZero"/>
        <c:auto val="1"/>
        <c:lblAlgn val="ctr"/>
        <c:lblOffset val="100"/>
        <c:noMultiLvlLbl val="0"/>
      </c:catAx>
      <c:valAx>
        <c:axId val="72182400"/>
        <c:scaling>
          <c:orientation val="minMax"/>
          <c:min val="0"/>
        </c:scaling>
        <c:delete val="0"/>
        <c:axPos val="l"/>
        <c:numFmt formatCode="#,##0.0" sourceLinked="0"/>
        <c:majorTickMark val="none"/>
        <c:minorTickMark val="none"/>
        <c:tickLblPos val="nextTo"/>
        <c:txPr>
          <a:bodyPr/>
          <a:lstStyle/>
          <a:p>
            <a:pPr>
              <a:defRPr sz="100">
                <a:solidFill>
                  <a:schemeClr val="bg1"/>
                </a:solidFill>
              </a:defRPr>
            </a:pPr>
            <a:endParaRPr lang="ru-RU"/>
          </a:p>
        </c:txPr>
        <c:crossAx val="72180864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49556011462956467"/>
          <c:y val="1.5126376708714818E-2"/>
          <c:w val="0.49111855404140692"/>
          <c:h val="0.10919664496180329"/>
        </c:manualLayout>
      </c:layout>
      <c:overlay val="0"/>
      <c:txPr>
        <a:bodyPr/>
        <a:lstStyle/>
        <a:p>
          <a:pPr>
            <a:defRPr sz="8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23544250371968298"/>
          <c:y val="3.941128048478116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Доля в выручке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EA6-4045-9753-F2A67AE5868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EA6-4045-9753-F2A67AE58686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EA6-4045-9753-F2A67AE58686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EA6-4045-9753-F2A67AE58686}"/>
              </c:ext>
            </c:extLst>
          </c:dPt>
          <c:cat>
            <c:strRef>
              <c:f>Лист1!$A$2:$A$5</c:f>
              <c:strCache>
                <c:ptCount val="2"/>
                <c:pt idx="0">
                  <c:v>ЖСП 70%</c:v>
                </c:pt>
                <c:pt idx="1">
                  <c:v>Прочая продукция 30%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7</c:v>
                </c:pt>
                <c:pt idx="1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027-442D-A9DE-54FD083E11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legendEntry>
        <c:idx val="3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200" b="1" baseline="0" dirty="0">
                <a:solidFill>
                  <a:schemeClr val="tx1"/>
                </a:solidFill>
              </a:rPr>
              <a:t>Повышение производительности линии </a:t>
            </a:r>
            <a:r>
              <a:rPr lang="en-US" sz="1200" b="1" baseline="0" dirty="0" err="1">
                <a:solidFill>
                  <a:schemeClr val="tx1"/>
                </a:solidFill>
              </a:rPr>
              <a:t>Sommer</a:t>
            </a:r>
            <a:r>
              <a:rPr lang="ru-RU" sz="1200" b="1" baseline="0" dirty="0">
                <a:solidFill>
                  <a:schemeClr val="tx1"/>
                </a:solidFill>
              </a:rPr>
              <a:t>, </a:t>
            </a:r>
            <a:r>
              <a:rPr lang="ru-RU" sz="1200" b="1" baseline="0" dirty="0" err="1">
                <a:solidFill>
                  <a:schemeClr val="tx1"/>
                </a:solidFill>
              </a:rPr>
              <a:t>шт</a:t>
            </a:r>
            <a:r>
              <a:rPr lang="ru-RU" sz="1200" b="1" baseline="0" dirty="0">
                <a:solidFill>
                  <a:schemeClr val="tx1"/>
                </a:solidFill>
              </a:rPr>
              <a:t>/</a:t>
            </a:r>
            <a:r>
              <a:rPr lang="ru-RU" sz="1200" b="1" baseline="0" dirty="0" err="1">
                <a:solidFill>
                  <a:schemeClr val="tx1"/>
                </a:solidFill>
              </a:rPr>
              <a:t>сут</a:t>
            </a:r>
            <a:r>
              <a:rPr lang="ru-RU" sz="1200" b="1" baseline="0" dirty="0">
                <a:solidFill>
                  <a:schemeClr val="tx1"/>
                </a:solidFill>
              </a:rPr>
              <a:t>  </a:t>
            </a:r>
            <a:endParaRPr lang="ru-RU" sz="1200" b="1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0.15889596012883059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Было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C0-41C6-BBC3-45015445428E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ало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92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6C0-41C6-BBC3-45015445428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C0-41C6-BBC3-45015445428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451804312"/>
        <c:axId val="451805952"/>
      </c:barChart>
      <c:catAx>
        <c:axId val="451804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51805952"/>
        <c:crosses val="autoZero"/>
        <c:auto val="1"/>
        <c:lblAlgn val="ctr"/>
        <c:lblOffset val="100"/>
        <c:noMultiLvlLbl val="0"/>
      </c:catAx>
      <c:valAx>
        <c:axId val="4518059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51804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200" b="1" dirty="0">
                <a:solidFill>
                  <a:schemeClr val="tx1"/>
                </a:solidFill>
              </a:rPr>
              <a:t>Расстояние</a:t>
            </a:r>
            <a:r>
              <a:rPr lang="ru-RU" sz="1200" b="1" baseline="0" dirty="0">
                <a:solidFill>
                  <a:schemeClr val="tx1"/>
                </a:solidFill>
              </a:rPr>
              <a:t> перемещений ЗД до готовности, метр</a:t>
            </a:r>
            <a:endParaRPr lang="ru-RU" sz="1200" b="1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0.15889596012883059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Было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4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3D4-4295-A42E-DDBFDE612EB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ало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3D4-4295-A42E-DDBFDE612EB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451804312"/>
        <c:axId val="451805952"/>
      </c:barChart>
      <c:catAx>
        <c:axId val="451804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51805952"/>
        <c:crosses val="autoZero"/>
        <c:auto val="1"/>
        <c:lblAlgn val="ctr"/>
        <c:lblOffset val="100"/>
        <c:noMultiLvlLbl val="0"/>
      </c:catAx>
      <c:valAx>
        <c:axId val="4518059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51804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200" b="1" dirty="0">
                <a:solidFill>
                  <a:schemeClr val="tx1"/>
                </a:solidFill>
              </a:rPr>
              <a:t>Повышение производительности</a:t>
            </a:r>
            <a:r>
              <a:rPr lang="ru-RU" sz="1200" b="1" baseline="0" dirty="0">
                <a:solidFill>
                  <a:schemeClr val="tx1"/>
                </a:solidFill>
              </a:rPr>
              <a:t>, </a:t>
            </a:r>
            <a:r>
              <a:rPr lang="ru-RU" sz="1200" b="1" baseline="0" dirty="0" err="1">
                <a:solidFill>
                  <a:schemeClr val="tx1"/>
                </a:solidFill>
              </a:rPr>
              <a:t>шт</a:t>
            </a:r>
            <a:r>
              <a:rPr lang="ru-RU" sz="1200" b="1" baseline="0" dirty="0">
                <a:solidFill>
                  <a:schemeClr val="tx1"/>
                </a:solidFill>
              </a:rPr>
              <a:t>/чел.</a:t>
            </a:r>
            <a:endParaRPr lang="ru-RU" sz="1200" b="1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Было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2.729932310576010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2EF-417E-809A-2C06624AD84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1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A-45A4-A198-59DAD4A9235D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ало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4016326938025934E-3"/>
                  <c:y val="2.183945848460812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61A-45A4-A198-59DAD4A923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1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61A-45A4-A198-59DAD4A9235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454035384"/>
        <c:axId val="454029808"/>
      </c:barChart>
      <c:catAx>
        <c:axId val="45403538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54029808"/>
        <c:crosses val="autoZero"/>
        <c:auto val="1"/>
        <c:lblAlgn val="ctr"/>
        <c:lblOffset val="100"/>
        <c:noMultiLvlLbl val="0"/>
      </c:catAx>
      <c:valAx>
        <c:axId val="4540298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540353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200" b="1" baseline="0" dirty="0">
                <a:solidFill>
                  <a:schemeClr val="tx1"/>
                </a:solidFill>
              </a:rPr>
              <a:t>Время протекания процесса, мин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было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0D79-49F3-8E4C-37008423D61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79-49F3-8E4C-37008423D61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ало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D79-49F3-8E4C-37008423D61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390197016"/>
        <c:axId val="390198656"/>
      </c:barChart>
      <c:catAx>
        <c:axId val="39019701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90198656"/>
        <c:crosses val="autoZero"/>
        <c:auto val="1"/>
        <c:lblAlgn val="ctr"/>
        <c:lblOffset val="100"/>
        <c:noMultiLvlLbl val="0"/>
      </c:catAx>
      <c:valAx>
        <c:axId val="3901986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901970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9227749741667874"/>
          <c:y val="0.27667227066314903"/>
          <c:w val="0.47917164106397997"/>
          <c:h val="0.5320232403521625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было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88A-4CAA-8929-AD364E950DDD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ало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88A-4CAA-8929-AD364E950DD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38282256"/>
        <c:axId val="538277664"/>
      </c:barChart>
      <c:catAx>
        <c:axId val="53828225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38277664"/>
        <c:crosses val="autoZero"/>
        <c:auto val="1"/>
        <c:lblAlgn val="ctr"/>
        <c:lblOffset val="100"/>
        <c:noMultiLvlLbl val="0"/>
      </c:catAx>
      <c:valAx>
        <c:axId val="538277664"/>
        <c:scaling>
          <c:orientation val="minMax"/>
          <c:max val="45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382822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ru-RU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ru-RU" sz="1200" b="1" baseline="0" dirty="0">
                <a:solidFill>
                  <a:schemeClr val="tx1"/>
                </a:solidFill>
              </a:rPr>
              <a:t>Количество заходов для комплектации паллеты, раз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29227749741667874"/>
          <c:y val="0.27667227066314903"/>
          <c:w val="0.47917164106397997"/>
          <c:h val="0.5320232403521625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было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88A-4CAA-8929-AD364E950DDD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ало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88A-4CAA-8929-AD364E950DD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38282256"/>
        <c:axId val="538277664"/>
      </c:barChart>
      <c:catAx>
        <c:axId val="53828225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38277664"/>
        <c:crosses val="autoZero"/>
        <c:auto val="1"/>
        <c:lblAlgn val="ctr"/>
        <c:lblOffset val="100"/>
        <c:noMultiLvlLbl val="0"/>
      </c:catAx>
      <c:valAx>
        <c:axId val="538277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382822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9227749741667874"/>
          <c:y val="0.27667227066314903"/>
          <c:w val="0.47917164106397997"/>
          <c:h val="0.5320232403521625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было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88A-4CAA-8929-AD364E950DDD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ало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88A-4CAA-8929-AD364E950DD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38282256"/>
        <c:axId val="538277664"/>
      </c:barChart>
      <c:catAx>
        <c:axId val="53828225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38277664"/>
        <c:crosses val="autoZero"/>
        <c:auto val="1"/>
        <c:lblAlgn val="ctr"/>
        <c:lblOffset val="100"/>
        <c:noMultiLvlLbl val="0"/>
      </c:catAx>
      <c:valAx>
        <c:axId val="538277664"/>
        <c:scaling>
          <c:orientation val="minMax"/>
          <c:max val="7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382822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1-499F-4D55-B90C-93383042F3E4}"/>
              </c:ext>
            </c:extLst>
          </c:dPt>
          <c:dPt>
            <c:idx val="1"/>
            <c:invertIfNegative val="0"/>
            <c:bubble3D val="0"/>
            <c:spPr>
              <a:noFill/>
            </c:spPr>
            <c:extLst>
              <c:ext xmlns:c16="http://schemas.microsoft.com/office/drawing/2014/chart" uri="{C3380CC4-5D6E-409C-BE32-E72D297353CC}">
                <c16:uniqueId val="{00000003-499F-4D55-B90C-93383042F3E4}"/>
              </c:ext>
            </c:extLst>
          </c:dPt>
          <c:dPt>
            <c:idx val="2"/>
            <c:invertIfNegative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5-499F-4D55-B90C-93383042F3E4}"/>
              </c:ext>
            </c:extLst>
          </c:dPt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99F-4D55-B90C-93383042F3E4}"/>
                </c:ext>
              </c:extLst>
            </c:dLbl>
            <c:dLbl>
              <c:idx val="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99F-4D55-B90C-93383042F3E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До</c:v>
                </c:pt>
                <c:pt idx="2">
                  <c:v>После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0</c:v>
                </c:pt>
                <c:pt idx="1">
                  <c:v>7</c:v>
                </c:pt>
                <c:pt idx="2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99F-4D55-B90C-93383042F3E4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До</c:v>
                </c:pt>
                <c:pt idx="2">
                  <c:v>После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1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499F-4D55-B90C-93383042F3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2"/>
        <c:overlap val="100"/>
        <c:axId val="156721536"/>
        <c:axId val="156777088"/>
      </c:barChart>
      <c:catAx>
        <c:axId val="15672153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56777088"/>
        <c:crosses val="autoZero"/>
        <c:auto val="1"/>
        <c:lblAlgn val="ctr"/>
        <c:lblOffset val="100"/>
        <c:noMultiLvlLbl val="0"/>
      </c:catAx>
      <c:valAx>
        <c:axId val="156777088"/>
        <c:scaling>
          <c:orientation val="minMax"/>
          <c:min val="0"/>
        </c:scaling>
        <c:delete val="1"/>
        <c:axPos val="l"/>
        <c:majorGridlines/>
        <c:numFmt formatCode="General" sourceLinked="1"/>
        <c:majorTickMark val="out"/>
        <c:minorTickMark val="none"/>
        <c:tickLblPos val="nextTo"/>
        <c:crossAx val="15672153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ru-RU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/>
            </a:pPr>
            <a:r>
              <a:rPr lang="ru-RU" sz="1200" dirty="0"/>
              <a:t>Динамика ВПП потока </a:t>
            </a:r>
            <a:endParaRPr lang="ru-RU" sz="1200" baseline="0" dirty="0"/>
          </a:p>
          <a:p>
            <a:pPr>
              <a:defRPr sz="1200"/>
            </a:pPr>
            <a:r>
              <a:rPr lang="ru-RU" sz="1200" baseline="0" dirty="0"/>
              <a:t>изготовления плит</a:t>
            </a:r>
            <a:r>
              <a:rPr lang="ru-RU" sz="1200" dirty="0"/>
              <a:t>, </a:t>
            </a:r>
            <a:r>
              <a:rPr lang="ru-RU" sz="1200" dirty="0" err="1"/>
              <a:t>дн</a:t>
            </a:r>
            <a:r>
              <a:rPr lang="ru-RU" sz="1200" dirty="0"/>
              <a:t>.</a:t>
            </a:r>
          </a:p>
        </c:rich>
      </c:tx>
      <c:layout>
        <c:manualLayout>
          <c:xMode val="edge"/>
          <c:yMode val="edge"/>
          <c:x val="0.27076388888888892"/>
          <c:y val="1.0078249273195547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7.6896867780974529E-2"/>
          <c:y val="0.23899209029266075"/>
          <c:w val="0.90597177420899588"/>
          <c:h val="0.5480526227522988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Факт</c:v>
                </c:pt>
              </c:strCache>
            </c:strRef>
          </c:tx>
          <c:spPr>
            <a:solidFill>
              <a:srgbClr val="002060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1-517E-436D-A41B-9C4669211233}"/>
              </c:ext>
            </c:extLst>
          </c:dPt>
          <c:dPt>
            <c:idx val="1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c:spPr>
            <c:extLst>
              <c:ext xmlns:c16="http://schemas.microsoft.com/office/drawing/2014/chart" uri="{C3380CC4-5D6E-409C-BE32-E72D297353CC}">
                <c16:uniqueId val="{00000003-517E-436D-A41B-9C4669211233}"/>
              </c:ext>
            </c:extLst>
          </c:dPt>
          <c:dPt>
            <c:idx val="2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517E-436D-A41B-9C4669211233}"/>
              </c:ext>
            </c:extLst>
          </c:dPt>
          <c:dPt>
            <c:idx val="3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7-517E-436D-A41B-9C4669211233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9-517E-436D-A41B-9C466921123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9</c:f>
              <c:strCache>
                <c:ptCount val="8"/>
                <c:pt idx="0">
                  <c:v>База
 06.19</c:v>
                </c:pt>
                <c:pt idx="1">
                  <c:v>июл.19</c:v>
                </c:pt>
                <c:pt idx="2">
                  <c:v>авг.19</c:v>
                </c:pt>
                <c:pt idx="3">
                  <c:v>сен.19</c:v>
                </c:pt>
                <c:pt idx="4">
                  <c:v>окт.19</c:v>
                </c:pt>
                <c:pt idx="5">
                  <c:v>ноя.19</c:v>
                </c:pt>
                <c:pt idx="6">
                  <c:v>дек.19</c:v>
                </c:pt>
                <c:pt idx="7">
                  <c:v>Прогноз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9</c:v>
                </c:pt>
                <c:pt idx="1">
                  <c:v>7</c:v>
                </c:pt>
                <c:pt idx="2">
                  <c:v>7</c:v>
                </c:pt>
                <c:pt idx="3">
                  <c:v>5</c:v>
                </c:pt>
                <c:pt idx="4">
                  <c:v>4</c:v>
                </c:pt>
                <c:pt idx="5">
                  <c:v>3</c:v>
                </c:pt>
                <c:pt idx="6">
                  <c:v>3</c:v>
                </c:pt>
                <c:pt idx="7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517E-436D-A41B-9C46692112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8"/>
        <c:axId val="83494784"/>
        <c:axId val="83579264"/>
      </c:barChart>
      <c:lineChart>
        <c:grouping val="standard"/>
        <c:varyColors val="0"/>
        <c:ser>
          <c:idx val="1"/>
          <c:order val="1"/>
          <c:tx>
            <c:strRef>
              <c:f>Лист1!$C$1</c:f>
              <c:strCache>
                <c:ptCount val="1"/>
                <c:pt idx="0">
                  <c:v>Цель</c:v>
                </c:pt>
              </c:strCache>
            </c:strRef>
          </c:tx>
          <c:spPr>
            <a:ln w="31750">
              <a:solidFill>
                <a:srgbClr val="C00000"/>
              </a:solidFill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9</c:f>
              <c:strCache>
                <c:ptCount val="8"/>
                <c:pt idx="0">
                  <c:v>База
 06.19</c:v>
                </c:pt>
                <c:pt idx="1">
                  <c:v>июл.19</c:v>
                </c:pt>
                <c:pt idx="2">
                  <c:v>авг.19</c:v>
                </c:pt>
                <c:pt idx="3">
                  <c:v>сен.19</c:v>
                </c:pt>
                <c:pt idx="4">
                  <c:v>окт.19</c:v>
                </c:pt>
                <c:pt idx="5">
                  <c:v>ноя.19</c:v>
                </c:pt>
                <c:pt idx="6">
                  <c:v>дек.19</c:v>
                </c:pt>
                <c:pt idx="7">
                  <c:v>Прогноз</c:v>
                </c:pt>
              </c:strCache>
            </c:strRef>
          </c:cat>
          <c:val>
            <c:numRef>
              <c:f>Лист1!$C$2:$C$9</c:f>
              <c:numCache>
                <c:formatCode>General</c:formatCode>
                <c:ptCount val="8"/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517E-436D-A41B-9C46692112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3494784"/>
        <c:axId val="83579264"/>
      </c:lineChart>
      <c:catAx>
        <c:axId val="8349478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83579264"/>
        <c:crosses val="autoZero"/>
        <c:auto val="1"/>
        <c:lblAlgn val="ctr"/>
        <c:lblOffset val="100"/>
        <c:noMultiLvlLbl val="0"/>
      </c:catAx>
      <c:valAx>
        <c:axId val="83579264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in"/>
        <c:tickLblPos val="nextTo"/>
        <c:crossAx val="83494784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22444297764510274"/>
          <c:y val="0.88750686021715008"/>
          <c:w val="0.77555694444444445"/>
          <c:h val="0.11249338036164255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900"/>
      </a:pPr>
      <a:endParaRPr lang="ru-RU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/>
            </a:pPr>
            <a:r>
              <a:rPr lang="ru-RU" sz="1200" dirty="0">
                <a:effectLst/>
              </a:rPr>
              <a:t>Динамика выработки в потоке </a:t>
            </a:r>
          </a:p>
          <a:p>
            <a:pPr>
              <a:defRPr sz="1200"/>
            </a:pPr>
            <a:r>
              <a:rPr lang="ru-RU" sz="1200" dirty="0">
                <a:effectLst/>
              </a:rPr>
              <a:t>изготовления плит, шт./в сутки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7.6896867780974529E-2"/>
          <c:y val="0.27533973060866063"/>
          <c:w val="0.90597177420899588"/>
          <c:h val="0.5117046207013342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Факт</c:v>
                </c:pt>
              </c:strCache>
            </c:strRef>
          </c:tx>
          <c:spPr>
            <a:solidFill>
              <a:srgbClr val="002060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1-E65F-4C7A-84FF-524B8C2AD6EC}"/>
              </c:ext>
            </c:extLst>
          </c:dPt>
          <c:dPt>
            <c:idx val="1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E65F-4C7A-84FF-524B8C2AD6EC}"/>
              </c:ext>
            </c:extLst>
          </c:dPt>
          <c:dPt>
            <c:idx val="2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E65F-4C7A-84FF-524B8C2AD6EC}"/>
              </c:ext>
            </c:extLst>
          </c:dPt>
          <c:dPt>
            <c:idx val="3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7-E65F-4C7A-84FF-524B8C2AD6EC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9-E65F-4C7A-84FF-524B8C2AD6E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9</c:f>
              <c:strCache>
                <c:ptCount val="8"/>
                <c:pt idx="0">
                  <c:v>База
 06.19</c:v>
                </c:pt>
                <c:pt idx="1">
                  <c:v>июл.19</c:v>
                </c:pt>
                <c:pt idx="2">
                  <c:v>авг.19</c:v>
                </c:pt>
                <c:pt idx="3">
                  <c:v>сен.19</c:v>
                </c:pt>
                <c:pt idx="4">
                  <c:v>окт.19</c:v>
                </c:pt>
                <c:pt idx="5">
                  <c:v>ноя.19</c:v>
                </c:pt>
                <c:pt idx="6">
                  <c:v>дек.19</c:v>
                </c:pt>
                <c:pt idx="7">
                  <c:v>Прогноз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65</c:v>
                </c:pt>
                <c:pt idx="1">
                  <c:v>62</c:v>
                </c:pt>
                <c:pt idx="2">
                  <c:v>66</c:v>
                </c:pt>
                <c:pt idx="3">
                  <c:v>60</c:v>
                </c:pt>
                <c:pt idx="4">
                  <c:v>72</c:v>
                </c:pt>
                <c:pt idx="5">
                  <c:v>73</c:v>
                </c:pt>
                <c:pt idx="6">
                  <c:v>110</c:v>
                </c:pt>
                <c:pt idx="7">
                  <c:v>1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E65F-4C7A-84FF-524B8C2AD6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8"/>
        <c:axId val="134735360"/>
        <c:axId val="134736896"/>
      </c:barChart>
      <c:lineChart>
        <c:grouping val="standard"/>
        <c:varyColors val="0"/>
        <c:ser>
          <c:idx val="1"/>
          <c:order val="1"/>
          <c:tx>
            <c:strRef>
              <c:f>Лист1!$C$1</c:f>
              <c:strCache>
                <c:ptCount val="1"/>
                <c:pt idx="0">
                  <c:v>Цель</c:v>
                </c:pt>
              </c:strCache>
            </c:strRef>
          </c:tx>
          <c:spPr>
            <a:ln w="31750">
              <a:solidFill>
                <a:srgbClr val="C00000"/>
              </a:solidFill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9</c:f>
              <c:strCache>
                <c:ptCount val="8"/>
                <c:pt idx="0">
                  <c:v>База
 06.19</c:v>
                </c:pt>
                <c:pt idx="1">
                  <c:v>июл.19</c:v>
                </c:pt>
                <c:pt idx="2">
                  <c:v>авг.19</c:v>
                </c:pt>
                <c:pt idx="3">
                  <c:v>сен.19</c:v>
                </c:pt>
                <c:pt idx="4">
                  <c:v>окт.19</c:v>
                </c:pt>
                <c:pt idx="5">
                  <c:v>ноя.19</c:v>
                </c:pt>
                <c:pt idx="6">
                  <c:v>дек.19</c:v>
                </c:pt>
                <c:pt idx="7">
                  <c:v>Прогноз</c:v>
                </c:pt>
              </c:strCache>
            </c:strRef>
          </c:cat>
          <c:val>
            <c:numRef>
              <c:f>Лист1!$C$2:$C$9</c:f>
              <c:numCache>
                <c:formatCode>General</c:formatCode>
                <c:ptCount val="8"/>
                <c:pt idx="1">
                  <c:v>104</c:v>
                </c:pt>
                <c:pt idx="2">
                  <c:v>104</c:v>
                </c:pt>
                <c:pt idx="3">
                  <c:v>104</c:v>
                </c:pt>
                <c:pt idx="4">
                  <c:v>104</c:v>
                </c:pt>
                <c:pt idx="5">
                  <c:v>104</c:v>
                </c:pt>
                <c:pt idx="6">
                  <c:v>104</c:v>
                </c:pt>
                <c:pt idx="7">
                  <c:v>1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E65F-4C7A-84FF-524B8C2AD6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4735360"/>
        <c:axId val="134736896"/>
      </c:lineChart>
      <c:catAx>
        <c:axId val="13473536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34736896"/>
        <c:crosses val="autoZero"/>
        <c:auto val="1"/>
        <c:lblAlgn val="ctr"/>
        <c:lblOffset val="100"/>
        <c:noMultiLvlLbl val="0"/>
      </c:catAx>
      <c:valAx>
        <c:axId val="134736896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in"/>
        <c:tickLblPos val="nextTo"/>
        <c:crossAx val="13473536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22444297764510274"/>
          <c:y val="0.88750686021715008"/>
          <c:w val="0.67839205653021439"/>
          <c:h val="7.7026509555540093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900"/>
      </a:pPr>
      <a:endParaRPr lang="ru-RU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601454041274859E-2"/>
          <c:y val="0.14370624263209761"/>
          <c:w val="0.90123451303837743"/>
          <c:h val="0.4938472075017193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ВПП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29.05.2018</c:v>
                </c:pt>
                <c:pt idx="1">
                  <c:v>29.11.2018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5.5</c:v>
                </c:pt>
                <c:pt idx="1">
                  <c:v>1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70D-4A93-8759-D67E3247F7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0401664"/>
        <c:axId val="30403200"/>
      </c:barChart>
      <c:catAx>
        <c:axId val="304016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50"/>
            </a:pPr>
            <a:endParaRPr lang="ru-RU"/>
          </a:p>
        </c:txPr>
        <c:crossAx val="30403200"/>
        <c:crosses val="autoZero"/>
        <c:auto val="1"/>
        <c:lblAlgn val="ctr"/>
        <c:lblOffset val="100"/>
        <c:noMultiLvlLbl val="0"/>
      </c:catAx>
      <c:valAx>
        <c:axId val="3040320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0401664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ВПП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29.05.2018</c:v>
                </c:pt>
                <c:pt idx="1">
                  <c:v>29.11.2018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616</c:v>
                </c:pt>
                <c:pt idx="1">
                  <c:v>1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45-4C6C-888A-535339AF0A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0468352"/>
        <c:axId val="30470144"/>
      </c:barChart>
      <c:catAx>
        <c:axId val="304683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50"/>
            </a:pPr>
            <a:endParaRPr lang="ru-RU"/>
          </a:p>
        </c:txPr>
        <c:crossAx val="30470144"/>
        <c:crosses val="autoZero"/>
        <c:auto val="1"/>
        <c:lblAlgn val="ctr"/>
        <c:lblOffset val="100"/>
        <c:noMultiLvlLbl val="0"/>
      </c:catAx>
      <c:valAx>
        <c:axId val="3047014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0468352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ВПП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4834D1AD-8089-4C81-90C5-02E9FE126A79}" type="VALUE">
                      <a:rPr lang="en-US" sz="1400"/>
                      <a:pPr/>
                      <a:t>[ЗНАЧЕНИЕ]</a:t>
                    </a:fld>
                    <a:endParaRPr lang="ru-RU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DC53-4FB4-BBAC-00FD3A73BC0D}"/>
                </c:ext>
              </c:extLst>
            </c:dLbl>
            <c:dLbl>
              <c:idx val="1"/>
              <c:tx>
                <c:rich>
                  <a:bodyPr anchorCtr="0"/>
                  <a:lstStyle/>
                  <a:p>
                    <a:pPr algn="ctr">
                      <a:defRPr sz="1200" b="1"/>
                    </a:pPr>
                    <a:fld id="{947AB8D8-5A6A-4AE5-9928-9F3C6F69C7ED}" type="VALUE">
                      <a:rPr lang="en-US" sz="1400"/>
                      <a:pPr algn="ctr">
                        <a:defRPr sz="1200" b="1"/>
                      </a:pPr>
                      <a:t>[ЗНАЧЕНИЕ]</a:t>
                    </a:fld>
                    <a:endParaRPr lang="ru-RU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DC53-4FB4-BBAC-00FD3A73BC0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29.05.2018</c:v>
                </c:pt>
                <c:pt idx="1">
                  <c:v>25.11.2018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4</c:v>
                </c:pt>
                <c:pt idx="1">
                  <c:v>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A95-4E7E-9408-F419C4B5B2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0477696"/>
        <c:axId val="30504064"/>
      </c:barChart>
      <c:catAx>
        <c:axId val="304776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50"/>
            </a:pPr>
            <a:endParaRPr lang="ru-RU"/>
          </a:p>
        </c:txPr>
        <c:crossAx val="30504064"/>
        <c:crosses val="autoZero"/>
        <c:auto val="1"/>
        <c:lblAlgn val="ctr"/>
        <c:lblOffset val="100"/>
        <c:noMultiLvlLbl val="0"/>
      </c:catAx>
      <c:valAx>
        <c:axId val="3050406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0477696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ВПП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06.09.2018</c:v>
                </c:pt>
                <c:pt idx="1">
                  <c:v>01.02.2019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2027</c:v>
                </c:pt>
                <c:pt idx="1">
                  <c:v>18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3A2-45C3-B89E-81C5F46F2F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0178688"/>
        <c:axId val="30180480"/>
      </c:barChart>
      <c:catAx>
        <c:axId val="301786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50"/>
            </a:pPr>
            <a:endParaRPr lang="ru-RU"/>
          </a:p>
        </c:txPr>
        <c:crossAx val="30180480"/>
        <c:crosses val="autoZero"/>
        <c:auto val="1"/>
        <c:lblAlgn val="ctr"/>
        <c:lblOffset val="100"/>
        <c:noMultiLvlLbl val="0"/>
      </c:catAx>
      <c:valAx>
        <c:axId val="3018048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0178688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ВПП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06.09.2018</c:v>
                </c:pt>
                <c:pt idx="1">
                  <c:v>01.02.2019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4.25</c:v>
                </c:pt>
                <c:pt idx="1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A9-4183-BBCD-80F025DF70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0196480"/>
        <c:axId val="30198016"/>
      </c:barChart>
      <c:catAx>
        <c:axId val="301964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50"/>
            </a:pPr>
            <a:endParaRPr lang="ru-RU"/>
          </a:p>
        </c:txPr>
        <c:crossAx val="30198016"/>
        <c:crosses val="autoZero"/>
        <c:auto val="1"/>
        <c:lblAlgn val="ctr"/>
        <c:lblOffset val="100"/>
        <c:noMultiLvlLbl val="0"/>
      </c:catAx>
      <c:valAx>
        <c:axId val="30198016"/>
        <c:scaling>
          <c:orientation val="minMax"/>
          <c:max val="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0196480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ВПП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06.09.2018</c:v>
                </c:pt>
                <c:pt idx="1">
                  <c:v>01.02.2019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9</c:v>
                </c:pt>
                <c:pt idx="1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A9-4106-A8D9-F88AEB5EAC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0259072"/>
        <c:axId val="30260608"/>
      </c:barChart>
      <c:catAx>
        <c:axId val="302590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50"/>
            </a:pPr>
            <a:endParaRPr lang="ru-RU"/>
          </a:p>
        </c:txPr>
        <c:crossAx val="30260608"/>
        <c:crosses val="autoZero"/>
        <c:auto val="1"/>
        <c:lblAlgn val="ctr"/>
        <c:lblOffset val="100"/>
        <c:noMultiLvlLbl val="0"/>
      </c:catAx>
      <c:valAx>
        <c:axId val="30260608"/>
        <c:scaling>
          <c:orientation val="minMax"/>
          <c:max val="10"/>
        </c:scaling>
        <c:delete val="1"/>
        <c:axPos val="l"/>
        <c:numFmt formatCode="General" sourceLinked="1"/>
        <c:majorTickMark val="out"/>
        <c:minorTickMark val="none"/>
        <c:tickLblPos val="nextTo"/>
        <c:crossAx val="30259072"/>
        <c:crosses val="autoZero"/>
        <c:crossBetween val="between"/>
        <c:majorUnit val="5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ВПП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06.09.2018</c:v>
                </c:pt>
                <c:pt idx="1">
                  <c:v>01.02.2019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25</c:v>
                </c:pt>
                <c:pt idx="1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D02-4BD3-9E09-47DCEEF2C2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0268416"/>
        <c:axId val="30294784"/>
      </c:barChart>
      <c:catAx>
        <c:axId val="302684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50"/>
            </a:pPr>
            <a:endParaRPr lang="ru-RU"/>
          </a:p>
        </c:txPr>
        <c:crossAx val="30294784"/>
        <c:crosses val="autoZero"/>
        <c:auto val="1"/>
        <c:lblAlgn val="ctr"/>
        <c:lblOffset val="100"/>
        <c:noMultiLvlLbl val="0"/>
      </c:catAx>
      <c:valAx>
        <c:axId val="30294784"/>
        <c:scaling>
          <c:orientation val="minMax"/>
          <c:min val="10"/>
        </c:scaling>
        <c:delete val="1"/>
        <c:axPos val="l"/>
        <c:numFmt formatCode="General" sourceLinked="1"/>
        <c:majorTickMark val="out"/>
        <c:minorTickMark val="none"/>
        <c:tickLblPos val="nextTo"/>
        <c:crossAx val="30268416"/>
        <c:crosses val="autoZero"/>
        <c:crossBetween val="between"/>
        <c:majorUnit val="5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ВПП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07.12.2018</c:v>
                </c:pt>
                <c:pt idx="1">
                  <c:v>07.06.2019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2.6</c:v>
                </c:pt>
                <c:pt idx="1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F0E-4DD4-A3CB-75CD1EFA91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3702912"/>
        <c:axId val="83704448"/>
      </c:barChart>
      <c:catAx>
        <c:axId val="837029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50"/>
            </a:pPr>
            <a:endParaRPr lang="ru-RU"/>
          </a:p>
        </c:txPr>
        <c:crossAx val="83704448"/>
        <c:crosses val="autoZero"/>
        <c:auto val="1"/>
        <c:lblAlgn val="ctr"/>
        <c:lblOffset val="100"/>
        <c:noMultiLvlLbl val="0"/>
      </c:catAx>
      <c:valAx>
        <c:axId val="8370444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83702912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1-FA17-406C-AF9E-15C321FDDBC3}"/>
              </c:ext>
            </c:extLst>
          </c:dPt>
          <c:dPt>
            <c:idx val="1"/>
            <c:invertIfNegative val="0"/>
            <c:bubble3D val="0"/>
            <c:spPr>
              <a:noFill/>
            </c:spPr>
            <c:extLst>
              <c:ext xmlns:c16="http://schemas.microsoft.com/office/drawing/2014/chart" uri="{C3380CC4-5D6E-409C-BE32-E72D297353CC}">
                <c16:uniqueId val="{00000003-FA17-406C-AF9E-15C321FDDBC3}"/>
              </c:ext>
            </c:extLst>
          </c:dPt>
          <c:dPt>
            <c:idx val="2"/>
            <c:invertIfNegative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5-FA17-406C-AF9E-15C321FDDBC3}"/>
              </c:ext>
            </c:extLst>
          </c:dPt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A17-406C-AF9E-15C321FDDBC3}"/>
                </c:ext>
              </c:extLst>
            </c:dLbl>
            <c:dLbl>
              <c:idx val="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A17-406C-AF9E-15C321FDDBC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До</c:v>
                </c:pt>
                <c:pt idx="2">
                  <c:v>После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0</c:v>
                </c:pt>
                <c:pt idx="1">
                  <c:v>7</c:v>
                </c:pt>
                <c:pt idx="2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A17-406C-AF9E-15C321FDDBC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До</c:v>
                </c:pt>
                <c:pt idx="2">
                  <c:v>После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1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FA17-406C-AF9E-15C321FDDB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2"/>
        <c:overlap val="100"/>
        <c:axId val="111706880"/>
        <c:axId val="114483968"/>
      </c:barChart>
      <c:catAx>
        <c:axId val="11170688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14483968"/>
        <c:crosses val="autoZero"/>
        <c:auto val="1"/>
        <c:lblAlgn val="ctr"/>
        <c:lblOffset val="100"/>
        <c:noMultiLvlLbl val="0"/>
      </c:catAx>
      <c:valAx>
        <c:axId val="114483968"/>
        <c:scaling>
          <c:orientation val="minMax"/>
          <c:min val="0"/>
        </c:scaling>
        <c:delete val="1"/>
        <c:axPos val="l"/>
        <c:majorGridlines/>
        <c:numFmt formatCode="General" sourceLinked="1"/>
        <c:majorTickMark val="out"/>
        <c:minorTickMark val="none"/>
        <c:tickLblPos val="nextTo"/>
        <c:crossAx val="11170688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ru-RU"/>
    </a:p>
  </c:txPr>
  <c:externalData r:id="rId2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ВПП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07.12.2018</c:v>
                </c:pt>
                <c:pt idx="1">
                  <c:v>07.06.2019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596</c:v>
                </c:pt>
                <c:pt idx="1">
                  <c:v>5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666-41A0-AC4C-2D65441E92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3757312"/>
        <c:axId val="83763200"/>
      </c:barChart>
      <c:catAx>
        <c:axId val="837573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50"/>
            </a:pPr>
            <a:endParaRPr lang="ru-RU"/>
          </a:p>
        </c:txPr>
        <c:crossAx val="83763200"/>
        <c:crosses val="autoZero"/>
        <c:auto val="1"/>
        <c:lblAlgn val="ctr"/>
        <c:lblOffset val="100"/>
        <c:noMultiLvlLbl val="0"/>
      </c:catAx>
      <c:valAx>
        <c:axId val="8376320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83757312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ВПП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07.12.2018</c:v>
                </c:pt>
                <c:pt idx="1">
                  <c:v>07.06.2019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8</c:v>
                </c:pt>
                <c:pt idx="1">
                  <c:v>1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8E-4B4C-A696-BA054CD530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3774848"/>
        <c:axId val="83784832"/>
      </c:barChart>
      <c:catAx>
        <c:axId val="837748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50"/>
            </a:pPr>
            <a:endParaRPr lang="ru-RU"/>
          </a:p>
        </c:txPr>
        <c:crossAx val="83784832"/>
        <c:crosses val="autoZero"/>
        <c:auto val="1"/>
        <c:lblAlgn val="ctr"/>
        <c:lblOffset val="100"/>
        <c:noMultiLvlLbl val="0"/>
      </c:catAx>
      <c:valAx>
        <c:axId val="83784832"/>
        <c:scaling>
          <c:orientation val="minMax"/>
          <c:min val="10"/>
        </c:scaling>
        <c:delete val="1"/>
        <c:axPos val="l"/>
        <c:numFmt formatCode="General" sourceLinked="1"/>
        <c:majorTickMark val="out"/>
        <c:minorTickMark val="none"/>
        <c:tickLblPos val="nextTo"/>
        <c:crossAx val="83774848"/>
        <c:crosses val="autoZero"/>
        <c:crossBetween val="between"/>
        <c:majorUnit val="5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ВПП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07.12.2018</c:v>
                </c:pt>
                <c:pt idx="1">
                  <c:v>07.06.2019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32</c:v>
                </c:pt>
                <c:pt idx="1">
                  <c:v>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21B-4D14-B7FB-3305EC4FB8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9920256"/>
        <c:axId val="89921792"/>
      </c:barChart>
      <c:catAx>
        <c:axId val="899202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50"/>
            </a:pPr>
            <a:endParaRPr lang="ru-RU"/>
          </a:p>
        </c:txPr>
        <c:crossAx val="89921792"/>
        <c:crosses val="autoZero"/>
        <c:auto val="1"/>
        <c:lblAlgn val="ctr"/>
        <c:lblOffset val="100"/>
        <c:noMultiLvlLbl val="0"/>
      </c:catAx>
      <c:valAx>
        <c:axId val="8992179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89920256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ВПП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04.09.2018</c:v>
                </c:pt>
                <c:pt idx="1">
                  <c:v>15.04.2019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.08</c:v>
                </c:pt>
                <c:pt idx="1">
                  <c:v>1.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B4-4F88-B244-1A24A25A40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0629888"/>
        <c:axId val="30631424"/>
      </c:barChart>
      <c:catAx>
        <c:axId val="306298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50"/>
            </a:pPr>
            <a:endParaRPr lang="ru-RU"/>
          </a:p>
        </c:txPr>
        <c:crossAx val="30631424"/>
        <c:crosses val="autoZero"/>
        <c:auto val="1"/>
        <c:lblAlgn val="ctr"/>
        <c:lblOffset val="100"/>
        <c:noMultiLvlLbl val="0"/>
      </c:catAx>
      <c:valAx>
        <c:axId val="3063142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0629888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ВПП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07.12.2018</c:v>
                </c:pt>
                <c:pt idx="1">
                  <c:v>01.06.2019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0</c:v>
                </c:pt>
                <c:pt idx="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9BA-473B-A8D6-E2906BDC3D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0692480"/>
        <c:axId val="30694016"/>
      </c:barChart>
      <c:catAx>
        <c:axId val="306924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50"/>
            </a:pPr>
            <a:endParaRPr lang="ru-RU"/>
          </a:p>
        </c:txPr>
        <c:crossAx val="30694016"/>
        <c:crosses val="autoZero"/>
        <c:auto val="1"/>
        <c:lblAlgn val="ctr"/>
        <c:lblOffset val="100"/>
        <c:noMultiLvlLbl val="0"/>
      </c:catAx>
      <c:valAx>
        <c:axId val="3069401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0692480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ВПП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07.12.2018</c:v>
                </c:pt>
                <c:pt idx="1">
                  <c:v>01.06.2019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702</c:v>
                </c:pt>
                <c:pt idx="1">
                  <c:v>1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9A2-43D9-867D-4D1D57A87D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0722304"/>
        <c:axId val="30724096"/>
      </c:barChart>
      <c:catAx>
        <c:axId val="307223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50"/>
            </a:pPr>
            <a:endParaRPr lang="ru-RU"/>
          </a:p>
        </c:txPr>
        <c:crossAx val="30724096"/>
        <c:crosses val="autoZero"/>
        <c:auto val="1"/>
        <c:lblAlgn val="ctr"/>
        <c:lblOffset val="100"/>
        <c:noMultiLvlLbl val="0"/>
      </c:catAx>
      <c:valAx>
        <c:axId val="30724096"/>
        <c:scaling>
          <c:orientation val="minMax"/>
          <c:min val="10"/>
        </c:scaling>
        <c:delete val="1"/>
        <c:axPos val="l"/>
        <c:numFmt formatCode="General" sourceLinked="1"/>
        <c:majorTickMark val="out"/>
        <c:minorTickMark val="none"/>
        <c:tickLblPos val="nextTo"/>
        <c:crossAx val="30722304"/>
        <c:crosses val="autoZero"/>
        <c:crossBetween val="between"/>
        <c:majorUnit val="5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8140589569160998E-2"/>
          <c:y val="6.25E-2"/>
          <c:w val="0.96371882086167804"/>
          <c:h val="0.3437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D6D7D9"/>
            </a:solidFill>
            <a:ln w="9524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137-4628-9F00-4DA188D7BD15}"/>
                </c:ext>
              </c:extLst>
            </c:dLbl>
            <c:dLbl>
              <c:idx val="1"/>
              <c:layout>
                <c:manualLayout>
                  <c:x val="1.1496684149549992E-2"/>
                  <c:y val="-0.18756770910883261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137-4628-9F00-4DA188D7BD15}"/>
                </c:ext>
              </c:extLst>
            </c:dLbl>
            <c:spPr>
              <a:noFill/>
              <a:ln w="19047">
                <a:noFill/>
              </a:ln>
            </c:spPr>
            <c:txPr>
              <a:bodyPr/>
              <a:lstStyle/>
              <a:p>
                <a:pPr>
                  <a:defRPr sz="1400" b="1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C$1</c:f>
              <c:numCache>
                <c:formatCode>General</c:formatCode>
                <c:ptCount val="2"/>
              </c:numCache>
            </c:numRef>
          </c:cat>
          <c:val>
            <c:numRef>
              <c:f>Sheet1!$B$2:$C$2</c:f>
              <c:numCache>
                <c:formatCode>""#,##0"";""\-""#,##0""</c:formatCode>
                <c:ptCount val="2"/>
                <c:pt idx="0" formatCode="General">
                  <c:v>6300.0000000007167</c:v>
                </c:pt>
                <c:pt idx="1">
                  <c:v>6.00000000000068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137-4628-9F00-4DA188D7BD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7112448"/>
        <c:axId val="187147008"/>
      </c:barChart>
      <c:catAx>
        <c:axId val="1871124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9524">
            <a:solidFill>
              <a:schemeClr val="tx1"/>
            </a:solidFill>
            <a:prstDash val="solid"/>
          </a:ln>
        </c:spPr>
        <c:crossAx val="18714700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87147008"/>
        <c:scaling>
          <c:orientation val="minMax"/>
          <c:max val="6300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7143">
            <a:noFill/>
          </a:ln>
        </c:spPr>
        <c:crossAx val="187112448"/>
        <c:crosses val="autoZero"/>
        <c:crossBetween val="between"/>
      </c:valAx>
      <c:spPr>
        <a:noFill/>
        <a:ln w="19047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2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8140589569160998E-2"/>
          <c:y val="6.25E-2"/>
          <c:w val="0.96371882086167804"/>
          <c:h val="0.3437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D6D7D9"/>
            </a:solidFill>
            <a:ln w="9524">
              <a:solidFill>
                <a:srgbClr val="000000"/>
              </a:solidFill>
              <a:prstDash val="solid"/>
            </a:ln>
          </c:spPr>
          <c:invertIfNegative val="0"/>
          <c:cat>
            <c:numRef>
              <c:f>Sheet1!$B$1:$C$1</c:f>
              <c:numCache>
                <c:formatCode>General</c:formatCode>
                <c:ptCount val="2"/>
              </c:numCache>
            </c:numRef>
          </c:cat>
          <c:val>
            <c:numRef>
              <c:f>Sheet1!$B$2:$C$2</c:f>
              <c:numCache>
                <c:formatCode>""#,##0"";""\-""#,##0""</c:formatCode>
                <c:ptCount val="2"/>
                <c:pt idx="0" formatCode="General">
                  <c:v>6300.0000000007167</c:v>
                </c:pt>
                <c:pt idx="1">
                  <c:v>6.00000000000068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EC-46D2-A98C-7CD3184EB5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7704832"/>
        <c:axId val="187706368"/>
      </c:barChart>
      <c:catAx>
        <c:axId val="187704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9524">
            <a:solidFill>
              <a:schemeClr val="tx1"/>
            </a:solidFill>
            <a:prstDash val="solid"/>
          </a:ln>
        </c:spPr>
        <c:crossAx val="18770636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87706368"/>
        <c:scaling>
          <c:orientation val="minMax"/>
          <c:max val="6300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7143">
            <a:noFill/>
          </a:ln>
        </c:spPr>
        <c:crossAx val="187704832"/>
        <c:crosses val="autoZero"/>
        <c:crossBetween val="between"/>
      </c:valAx>
      <c:spPr>
        <a:noFill/>
        <a:ln w="19047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2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8140589569160998E-2"/>
          <c:y val="0.4296875"/>
          <c:w val="0.96371882086167804"/>
          <c:h val="0.335937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D6D7D9"/>
            </a:solidFill>
            <a:ln w="9524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-3.9878666126390407E-3"/>
                  <c:y val="-6.2330887676043684E-3"/>
                </c:manualLayout>
              </c:layout>
              <c:spPr>
                <a:noFill/>
                <a:ln w="19047">
                  <a:noFill/>
                </a:ln>
              </c:spPr>
              <c:txPr>
                <a:bodyPr/>
                <a:lstStyle/>
                <a:p>
                  <a:pPr>
                    <a:defRPr sz="1400" b="1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F26-47F2-A61D-4E2DB4646B0B}"/>
                </c:ext>
              </c:extLst>
            </c:dLbl>
            <c:dLbl>
              <c:idx val="1"/>
              <c:layout>
                <c:manualLayout>
                  <c:x val="-5.1164542658045072E-3"/>
                  <c:y val="-3.6774710294865147E-3"/>
                </c:manualLayout>
              </c:layout>
              <c:spPr>
                <a:noFill/>
                <a:ln w="19047">
                  <a:noFill/>
                </a:ln>
              </c:spPr>
              <c:txPr>
                <a:bodyPr/>
                <a:lstStyle/>
                <a:p>
                  <a:pPr>
                    <a:defRPr sz="1400" b="1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F26-47F2-A61D-4E2DB4646B0B}"/>
                </c:ext>
              </c:extLst>
            </c:dLbl>
            <c:spPr>
              <a:noFill/>
              <a:ln w="19047">
                <a:noFill/>
              </a:ln>
            </c:spPr>
            <c:txPr>
              <a:bodyPr/>
              <a:lstStyle/>
              <a:p>
                <a:pPr>
                  <a:defRPr sz="1400" b="1" i="0" u="none" strike="noStrike" baseline="0">
                    <a:solidFill>
                      <a:schemeClr val="tx1"/>
                    </a:solidFill>
                    <a:latin typeface="Calibri"/>
                    <a:ea typeface="Calibri"/>
                    <a:cs typeface="Calibri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C$1</c:f>
              <c:numCache>
                <c:formatCode>General</c:formatCode>
                <c:ptCount val="2"/>
              </c:numCache>
            </c:numRef>
          </c:cat>
          <c:val>
            <c:numRef>
              <c:f>Sheet1!$B$2:$C$2</c:f>
              <c:numCache>
                <c:formatCode>""#,##0"";""\-""#,##0""</c:formatCode>
                <c:ptCount val="2"/>
                <c:pt idx="0">
                  <c:v>480.00000000005457</c:v>
                </c:pt>
                <c:pt idx="1">
                  <c:v>398.000000000045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F26-47F2-A61D-4E2DB4646B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7634048"/>
        <c:axId val="187635584"/>
      </c:barChart>
      <c:catAx>
        <c:axId val="1876340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9524">
            <a:solidFill>
              <a:schemeClr val="tx1"/>
            </a:solidFill>
            <a:prstDash val="solid"/>
          </a:ln>
        </c:spPr>
        <c:crossAx val="187635584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87635584"/>
        <c:scaling>
          <c:orientation val="minMax"/>
          <c:max val="480.00000000000006"/>
          <c:min val="0"/>
        </c:scaling>
        <c:delete val="0"/>
        <c:axPos val="l"/>
        <c:numFmt formatCode="&quot;&quot;#,##0&quot;&quot;;&quot;&quot;\-&quot;&quot;#,##0&quot;&quot;" sourceLinked="1"/>
        <c:majorTickMark val="none"/>
        <c:minorTickMark val="none"/>
        <c:tickLblPos val="none"/>
        <c:spPr>
          <a:ln w="7143">
            <a:noFill/>
          </a:ln>
        </c:spPr>
        <c:crossAx val="187634048"/>
        <c:crosses val="autoZero"/>
        <c:crossBetween val="between"/>
      </c:valAx>
      <c:spPr>
        <a:noFill/>
        <a:ln w="19047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2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8140589569160998E-2"/>
          <c:y val="0.4296875"/>
          <c:w val="0.96371882086167804"/>
          <c:h val="0.335937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D6D7D9"/>
            </a:solidFill>
            <a:ln w="9524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-6.8385848566650878E-3"/>
                  <c:y val="-6.2330887676043684E-3"/>
                </c:manualLayout>
              </c:layout>
              <c:tx>
                <c:rich>
                  <a:bodyPr/>
                  <a:lstStyle/>
                  <a:p>
                    <a:pPr>
                      <a:defRPr sz="1400" b="1" i="0" u="none" strike="noStrike" baseline="0">
                        <a:solidFill>
                          <a:schemeClr val="tx1"/>
                        </a:solidFill>
                        <a:latin typeface="Arial"/>
                        <a:ea typeface="Arial"/>
                        <a:cs typeface="Arial"/>
                      </a:defRPr>
                    </a:pPr>
                    <a:r>
                      <a:rPr lang="en-US" sz="1400" b="1" dirty="0"/>
                      <a:t>25</a:t>
                    </a:r>
                    <a:endParaRPr lang="en-US" dirty="0"/>
                  </a:p>
                </c:rich>
              </c:tx>
              <c:spPr>
                <a:noFill/>
                <a:ln w="19047"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BDF-4FB1-8B3E-1F24E0CE8777}"/>
                </c:ext>
              </c:extLst>
            </c:dLbl>
            <c:dLbl>
              <c:idx val="1"/>
              <c:layout>
                <c:manualLayout>
                  <c:x val="-1.2497574463956534E-2"/>
                  <c:y val="-2.2949216242998043E-2"/>
                </c:manualLayout>
              </c:layout>
              <c:tx>
                <c:rich>
                  <a:bodyPr/>
                  <a:lstStyle/>
                  <a:p>
                    <a:pPr>
                      <a:defRPr sz="1400" b="1" i="0" u="none" strike="noStrike" baseline="0">
                        <a:solidFill>
                          <a:schemeClr val="tx1"/>
                        </a:solidFill>
                        <a:latin typeface="Arial"/>
                        <a:ea typeface="Arial"/>
                        <a:cs typeface="Arial"/>
                      </a:defRPr>
                    </a:pPr>
                    <a:r>
                      <a:rPr lang="en-US" sz="1400" b="1" dirty="0"/>
                      <a:t>17</a:t>
                    </a:r>
                    <a:endParaRPr lang="en-US" dirty="0"/>
                  </a:p>
                </c:rich>
              </c:tx>
              <c:spPr>
                <a:noFill/>
                <a:ln w="19047"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BDF-4FB1-8B3E-1F24E0CE877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C$1</c:f>
              <c:numCache>
                <c:formatCode>General</c:formatCode>
                <c:ptCount val="2"/>
              </c:numCache>
            </c:numRef>
          </c:cat>
          <c:val>
            <c:numRef>
              <c:f>Sheet1!$B$2:$C$2</c:f>
              <c:numCache>
                <c:formatCode>""#,##0.00"";""\-""#,##0.00""</c:formatCode>
                <c:ptCount val="2"/>
                <c:pt idx="0">
                  <c:v>25.000000000002842</c:v>
                </c:pt>
                <c:pt idx="1">
                  <c:v>17.0000000000019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BDF-4FB1-8B3E-1F24E0CE87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8106624"/>
        <c:axId val="188108160"/>
      </c:barChart>
      <c:catAx>
        <c:axId val="188106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9524">
            <a:solidFill>
              <a:schemeClr val="tx1"/>
            </a:solidFill>
            <a:prstDash val="solid"/>
          </a:ln>
        </c:spPr>
        <c:crossAx val="188108160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88108160"/>
        <c:scaling>
          <c:orientation val="minMax"/>
          <c:max val="25"/>
          <c:min val="0"/>
        </c:scaling>
        <c:delete val="0"/>
        <c:axPos val="l"/>
        <c:numFmt formatCode="&quot;&quot;#,##0.00&quot;&quot;;&quot;&quot;\-&quot;&quot;#,##0.00&quot;&quot;" sourceLinked="1"/>
        <c:majorTickMark val="none"/>
        <c:minorTickMark val="none"/>
        <c:tickLblPos val="none"/>
        <c:spPr>
          <a:ln w="7143">
            <a:noFill/>
          </a:ln>
        </c:spPr>
        <c:crossAx val="188106624"/>
        <c:crosses val="autoZero"/>
        <c:crossBetween val="between"/>
      </c:valAx>
      <c:spPr>
        <a:noFill/>
        <a:ln w="19047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1-32BE-4D50-ABB5-8EECAD5FBE27}"/>
              </c:ext>
            </c:extLst>
          </c:dPt>
          <c:dPt>
            <c:idx val="1"/>
            <c:invertIfNegative val="0"/>
            <c:bubble3D val="0"/>
            <c:spPr>
              <a:noFill/>
            </c:spPr>
            <c:extLst>
              <c:ext xmlns:c16="http://schemas.microsoft.com/office/drawing/2014/chart" uri="{C3380CC4-5D6E-409C-BE32-E72D297353CC}">
                <c16:uniqueId val="{00000003-32BE-4D50-ABB5-8EECAD5FBE27}"/>
              </c:ext>
            </c:extLst>
          </c:dPt>
          <c:dPt>
            <c:idx val="2"/>
            <c:invertIfNegative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5-32BE-4D50-ABB5-8EECAD5FBE27}"/>
              </c:ext>
            </c:extLst>
          </c:dPt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2BE-4D50-ABB5-8EECAD5FBE27}"/>
                </c:ext>
              </c:extLst>
            </c:dLbl>
            <c:dLbl>
              <c:idx val="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2BE-4D50-ABB5-8EECAD5FBE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До</c:v>
                </c:pt>
                <c:pt idx="2">
                  <c:v>После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5</c:v>
                </c:pt>
                <c:pt idx="1">
                  <c:v>15</c:v>
                </c:pt>
                <c:pt idx="2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2BE-4D50-ABB5-8EECAD5FBE27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До</c:v>
                </c:pt>
                <c:pt idx="2">
                  <c:v>После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</c:numCache>
            </c:numRef>
          </c:val>
          <c:extLst>
            <c:ext xmlns:c16="http://schemas.microsoft.com/office/drawing/2014/chart" uri="{C3380CC4-5D6E-409C-BE32-E72D297353CC}">
              <c16:uniqueId val="{00000007-32BE-4D50-ABB5-8EECAD5FBE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2"/>
        <c:overlap val="100"/>
        <c:axId val="116641152"/>
        <c:axId val="116686208"/>
      </c:barChart>
      <c:catAx>
        <c:axId val="11664115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16686208"/>
        <c:crosses val="autoZero"/>
        <c:auto val="1"/>
        <c:lblAlgn val="ctr"/>
        <c:lblOffset val="100"/>
        <c:noMultiLvlLbl val="0"/>
      </c:catAx>
      <c:valAx>
        <c:axId val="116686208"/>
        <c:scaling>
          <c:orientation val="minMax"/>
          <c:min val="0"/>
        </c:scaling>
        <c:delete val="1"/>
        <c:axPos val="l"/>
        <c:majorGridlines/>
        <c:numFmt formatCode="General" sourceLinked="1"/>
        <c:majorTickMark val="out"/>
        <c:minorTickMark val="none"/>
        <c:tickLblPos val="nextTo"/>
        <c:crossAx val="1166411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ru-RU"/>
    </a:p>
  </c:txPr>
  <c:externalData r:id="rId2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8140589569160998E-2"/>
          <c:y val="6.25E-2"/>
          <c:w val="0.96371882086167804"/>
          <c:h val="0.3437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D6D7D9"/>
            </a:solidFill>
            <a:ln w="9525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40F-423B-9988-651DE4CFDD36}"/>
                </c:ext>
              </c:extLst>
            </c:dLbl>
            <c:dLbl>
              <c:idx val="1"/>
              <c:layout>
                <c:manualLayout>
                  <c:x val="-1.2495643771243778E-2"/>
                  <c:y val="-0.11526922084441152"/>
                </c:manualLayout>
              </c:layout>
              <c:tx>
                <c:rich>
                  <a:bodyPr/>
                  <a:lstStyle/>
                  <a:p>
                    <a:pPr>
                      <a:defRPr sz="1400" b="1" i="0" u="none" strike="noStrike" baseline="0">
                        <a:solidFill>
                          <a:schemeClr val="tx1"/>
                        </a:solidFill>
                        <a:latin typeface="Arial"/>
                        <a:ea typeface="Arial"/>
                        <a:cs typeface="Arial"/>
                      </a:defRPr>
                    </a:pPr>
                    <a:r>
                      <a:rPr lang="en-US" sz="1400" b="1" dirty="0"/>
                      <a:t>60</a:t>
                    </a:r>
                    <a:endParaRPr lang="en-US" dirty="0"/>
                  </a:p>
                </c:rich>
              </c:tx>
              <c:spPr>
                <a:noFill/>
                <a:ln w="19050"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40F-423B-9988-651DE4CFDD36}"/>
                </c:ext>
              </c:extLst>
            </c:dLbl>
            <c:spPr>
              <a:noFill/>
              <a:ln w="19050">
                <a:noFill/>
              </a:ln>
            </c:spPr>
            <c:txPr>
              <a:bodyPr/>
              <a:lstStyle/>
              <a:p>
                <a:pPr>
                  <a:defRPr sz="1400" b="1" i="0" u="none" strike="noStrike" baseline="0">
                    <a:solidFill>
                      <a:schemeClr val="tx1"/>
                    </a:solidFill>
                    <a:latin typeface="Calibri"/>
                    <a:ea typeface="Calibri"/>
                    <a:cs typeface="Calibri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C$1</c:f>
              <c:numCache>
                <c:formatCode>General</c:formatCode>
                <c:ptCount val="2"/>
              </c:numCache>
            </c:numRef>
          </c:cat>
          <c:val>
            <c:numRef>
              <c:f>Sheet1!$B$2:$C$2</c:f>
              <c:numCache>
                <c:formatCode>""#,##0.00"";""\-""#,##0.00""</c:formatCode>
                <c:ptCount val="2"/>
                <c:pt idx="0" formatCode="General">
                  <c:v>480.00000000005457</c:v>
                </c:pt>
                <c:pt idx="1">
                  <c:v>60.0000000000068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40F-423B-9988-651DE4CFDD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7985280"/>
        <c:axId val="187995264"/>
      </c:barChart>
      <c:catAx>
        <c:axId val="187985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87995264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87995264"/>
        <c:scaling>
          <c:orientation val="minMax"/>
          <c:max val="480.00000000000006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7144">
            <a:noFill/>
          </a:ln>
        </c:spPr>
        <c:crossAx val="187985280"/>
        <c:crosses val="autoZero"/>
        <c:crossBetween val="between"/>
      </c:valAx>
      <c:spPr>
        <a:noFill/>
        <a:ln w="1905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2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9073569482288829E-2"/>
          <c:y val="0.17924528301886791"/>
          <c:w val="0.96457765667574935"/>
          <c:h val="0.3396226415094339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D6D7D9"/>
            </a:solidFill>
            <a:ln w="7622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-1.8869449174107971E-2"/>
                  <c:y val="-0.25126859501463056"/>
                </c:manualLayout>
              </c:layout>
              <c:tx>
                <c:rich>
                  <a:bodyPr/>
                  <a:lstStyle/>
                  <a:p>
                    <a:pPr>
                      <a:defRPr sz="1400" b="1" i="0" u="none" strike="noStrike" baseline="0">
                        <a:solidFill>
                          <a:schemeClr val="tx1"/>
                        </a:solidFill>
                        <a:latin typeface="Arial"/>
                        <a:ea typeface="Arial"/>
                        <a:cs typeface="Arial"/>
                      </a:defRPr>
                    </a:pPr>
                    <a:r>
                      <a:rPr lang="en-US" dirty="0"/>
                      <a:t>1,5</a:t>
                    </a:r>
                  </a:p>
                </c:rich>
              </c:tx>
              <c:spPr>
                <a:noFill/>
                <a:ln w="15243"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2B1-4310-99E1-C47829BF617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50" b="1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C$1</c:f>
              <c:numCache>
                <c:formatCode>General</c:formatCode>
                <c:ptCount val="2"/>
              </c:numCache>
            </c:numRef>
          </c:cat>
          <c:val>
            <c:numRef>
              <c:f>Sheet1!$B$2:$C$2</c:f>
              <c:numCache>
                <c:formatCode>""#,##0.00"";""\-""#,##0.00""</c:formatCode>
                <c:ptCount val="2"/>
                <c:pt idx="0" formatCode="General">
                  <c:v>5.1600000000005863</c:v>
                </c:pt>
                <c:pt idx="1">
                  <c:v>1.37000000000015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2B1-4310-99E1-C47829BF61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5404032"/>
        <c:axId val="165430400"/>
      </c:barChart>
      <c:catAx>
        <c:axId val="165404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7622">
            <a:solidFill>
              <a:schemeClr val="tx1"/>
            </a:solidFill>
            <a:prstDash val="solid"/>
          </a:ln>
        </c:spPr>
        <c:crossAx val="165430400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65430400"/>
        <c:scaling>
          <c:orientation val="minMax"/>
          <c:max val="5.1599999999999993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5716">
            <a:noFill/>
          </a:ln>
        </c:spPr>
        <c:crossAx val="165404032"/>
        <c:crosses val="autoZero"/>
        <c:crossBetween val="between"/>
      </c:valAx>
      <c:spPr>
        <a:noFill/>
        <a:ln w="1524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72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2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9073569482288829E-2"/>
          <c:y val="6.6037735849056617E-2"/>
          <c:w val="0.96457765667574935"/>
          <c:h val="0.3396226415094339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D6D7D9"/>
            </a:solidFill>
            <a:ln w="7622">
              <a:solidFill>
                <a:srgbClr val="000000"/>
              </a:solidFill>
              <a:prstDash val="solid"/>
            </a:ln>
          </c:spPr>
          <c:invertIfNegative val="0"/>
          <c:cat>
            <c:numRef>
              <c:f>Sheet1!$B$1:$C$1</c:f>
              <c:numCache>
                <c:formatCode>General</c:formatCode>
                <c:ptCount val="2"/>
              </c:numCache>
            </c:numRef>
          </c:cat>
          <c:val>
            <c:numRef>
              <c:f>Sheet1!$B$2:$C$2</c:f>
              <c:numCache>
                <c:formatCode>General</c:formatCode>
                <c:ptCount val="2"/>
                <c:pt idx="0">
                  <c:v>21189.000000002408</c:v>
                </c:pt>
                <c:pt idx="1">
                  <c:v>5662.00000000064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0F-4914-A908-1A9E6B2B9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7775616"/>
        <c:axId val="188080512"/>
      </c:barChart>
      <c:catAx>
        <c:axId val="1877756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7622">
            <a:solidFill>
              <a:schemeClr val="tx1"/>
            </a:solidFill>
            <a:prstDash val="solid"/>
          </a:ln>
        </c:spPr>
        <c:crossAx val="188080512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88080512"/>
        <c:scaling>
          <c:orientation val="minMax"/>
          <c:max val="21189.000000000004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5716">
            <a:noFill/>
          </a:ln>
        </c:spPr>
        <c:crossAx val="187775616"/>
        <c:crosses val="autoZero"/>
        <c:crossBetween val="between"/>
      </c:valAx>
      <c:spPr>
        <a:noFill/>
        <a:ln w="1524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72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2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9073569482288829E-2"/>
          <c:y val="0.33962264150943394"/>
          <c:w val="0.96457765667574935"/>
          <c:h val="0.3301886792452830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D6D7D9"/>
            </a:solidFill>
            <a:ln w="7622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261-419F-A99F-098B184E6079}"/>
                </c:ext>
              </c:extLst>
            </c:dLbl>
            <c:dLbl>
              <c:idx val="1"/>
              <c:layout>
                <c:manualLayout>
                  <c:x val="2.9881615919664654E-2"/>
                  <c:y val="-0.30836156639916401"/>
                </c:manualLayout>
              </c:layout>
              <c:tx>
                <c:rich>
                  <a:bodyPr/>
                  <a:lstStyle/>
                  <a:p>
                    <a:pPr>
                      <a:defRPr sz="1400" b="1" i="0" u="none" strike="noStrike" baseline="0">
                        <a:solidFill>
                          <a:schemeClr val="tx1"/>
                        </a:solidFill>
                        <a:latin typeface="Arial"/>
                        <a:ea typeface="Arial"/>
                        <a:cs typeface="Arial"/>
                      </a:defRPr>
                    </a:pPr>
                    <a:r>
                      <a:rPr lang="en-US" sz="1400" b="1" dirty="0"/>
                      <a:t>4</a:t>
                    </a:r>
                    <a:endParaRPr lang="en-US" dirty="0"/>
                  </a:p>
                </c:rich>
              </c:tx>
              <c:spPr>
                <a:noFill/>
                <a:ln w="15243"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261-419F-A99F-098B184E6079}"/>
                </c:ext>
              </c:extLst>
            </c:dLbl>
            <c:spPr>
              <a:noFill/>
              <a:ln w="15243">
                <a:noFill/>
              </a:ln>
            </c:spPr>
            <c:txPr>
              <a:bodyPr/>
              <a:lstStyle/>
              <a:p>
                <a:pPr>
                  <a:defRPr sz="1400" b="1" i="0" u="none" strike="noStrike" baseline="0">
                    <a:solidFill>
                      <a:schemeClr val="tx1"/>
                    </a:solidFill>
                    <a:latin typeface="Calibri"/>
                    <a:ea typeface="Calibri"/>
                    <a:cs typeface="Calibri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C$1</c:f>
              <c:numCache>
                <c:formatCode>General</c:formatCode>
                <c:ptCount val="2"/>
              </c:numCache>
            </c:numRef>
          </c:cat>
          <c:val>
            <c:numRef>
              <c:f>Sheet1!$B$2:$C$2</c:f>
              <c:numCache>
                <c:formatCode>""#,##0.00"";""\-""#,##0.00""</c:formatCode>
                <c:ptCount val="2"/>
                <c:pt idx="0" formatCode="General">
                  <c:v>5.5000000000006253</c:v>
                </c:pt>
                <c:pt idx="1">
                  <c:v>4.00000000000045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261-419F-A99F-098B184E60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8837248"/>
        <c:axId val="188851328"/>
      </c:barChart>
      <c:catAx>
        <c:axId val="1888372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7622">
            <a:solidFill>
              <a:schemeClr val="tx1"/>
            </a:solidFill>
            <a:prstDash val="solid"/>
          </a:ln>
        </c:spPr>
        <c:crossAx val="18885132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88851328"/>
        <c:scaling>
          <c:orientation val="minMax"/>
          <c:max val="5.5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5716">
            <a:noFill/>
          </a:ln>
        </c:spPr>
        <c:crossAx val="188837248"/>
        <c:crosses val="autoZero"/>
        <c:crossBetween val="between"/>
      </c:valAx>
      <c:spPr>
        <a:noFill/>
        <a:ln w="1524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72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2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9073569482288829E-2"/>
          <c:y val="6.6037735849056617E-2"/>
          <c:w val="0.96457765667574935"/>
          <c:h val="0.3396226415094339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D6D7D9"/>
            </a:solidFill>
            <a:ln w="7622">
              <a:solidFill>
                <a:srgbClr val="000000"/>
              </a:solidFill>
              <a:prstDash val="solid"/>
            </a:ln>
          </c:spPr>
          <c:invertIfNegative val="0"/>
          <c:cat>
            <c:numRef>
              <c:f>Sheet1!$B$1:$C$1</c:f>
              <c:numCache>
                <c:formatCode>General</c:formatCode>
                <c:ptCount val="2"/>
              </c:numCache>
            </c:numRef>
          </c:cat>
          <c:val>
            <c:numRef>
              <c:f>Sheet1!$B$2:$C$2</c:f>
              <c:numCache>
                <c:formatCode>""#,##0.00"";""\-""#,##0.00""</c:formatCode>
                <c:ptCount val="2"/>
                <c:pt idx="0">
                  <c:v>44796.000000005093</c:v>
                </c:pt>
                <c:pt idx="1">
                  <c:v>58236.0000000066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774-49B6-863A-7D028BB5BE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9643008"/>
        <c:axId val="189677568"/>
      </c:barChart>
      <c:catAx>
        <c:axId val="189643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7622">
            <a:solidFill>
              <a:schemeClr val="tx1"/>
            </a:solidFill>
            <a:prstDash val="solid"/>
          </a:ln>
        </c:spPr>
        <c:crossAx val="18967756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89677568"/>
        <c:scaling>
          <c:orientation val="minMax"/>
          <c:max val="58236"/>
          <c:min val="0"/>
        </c:scaling>
        <c:delete val="0"/>
        <c:axPos val="l"/>
        <c:numFmt formatCode="&quot;&quot;#,##0.00&quot;&quot;;&quot;&quot;\-&quot;&quot;#,##0.00&quot;&quot;" sourceLinked="1"/>
        <c:majorTickMark val="none"/>
        <c:minorTickMark val="none"/>
        <c:tickLblPos val="none"/>
        <c:spPr>
          <a:ln w="5716">
            <a:noFill/>
          </a:ln>
        </c:spPr>
        <c:crossAx val="189643008"/>
        <c:crosses val="autoZero"/>
        <c:crossBetween val="between"/>
      </c:valAx>
      <c:spPr>
        <a:noFill/>
        <a:ln w="1524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72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2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8140589569161026E-2"/>
          <c:y val="0.42968750000000028"/>
          <c:w val="0.96371882086167804"/>
          <c:h val="0.3359375000000002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D6D7D9"/>
            </a:solidFill>
            <a:ln w="9524">
              <a:noFill/>
              <a:prstDash val="solid"/>
            </a:ln>
          </c:spPr>
          <c:invertIfNegative val="0"/>
          <c:cat>
            <c:numRef>
              <c:f>Sheet1!$B$1:$C$1</c:f>
              <c:numCache>
                <c:formatCode>General</c:formatCode>
                <c:ptCount val="2"/>
              </c:numCache>
            </c:numRef>
          </c:cat>
          <c:val>
            <c:numRef>
              <c:f>Sheet1!$B$2:$C$2</c:f>
              <c:numCache>
                <c:formatCode>""#,##0.00"";""\-""#,##0.00""</c:formatCode>
                <c:ptCount val="2"/>
                <c:pt idx="0">
                  <c:v>16</c:v>
                </c:pt>
                <c:pt idx="1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83E-4244-B975-2B16EFABDD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8248448"/>
        <c:axId val="148249984"/>
      </c:barChart>
      <c:catAx>
        <c:axId val="1482484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9524">
            <a:solidFill>
              <a:schemeClr val="tx1"/>
            </a:solidFill>
            <a:prstDash val="solid"/>
          </a:ln>
        </c:spPr>
        <c:crossAx val="148249984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48249984"/>
        <c:scaling>
          <c:orientation val="minMax"/>
          <c:max val="25"/>
          <c:min val="0"/>
        </c:scaling>
        <c:delete val="0"/>
        <c:axPos val="l"/>
        <c:numFmt formatCode="&quot;&quot;#,##0.00&quot;&quot;;&quot;&quot;\-&quot;&quot;#,##0.00&quot;&quot;" sourceLinked="1"/>
        <c:majorTickMark val="none"/>
        <c:minorTickMark val="none"/>
        <c:tickLblPos val="none"/>
        <c:spPr>
          <a:ln w="7143">
            <a:noFill/>
          </a:ln>
        </c:spPr>
        <c:crossAx val="148248448"/>
        <c:crosses val="autoZero"/>
        <c:crossBetween val="between"/>
      </c:valAx>
      <c:spPr>
        <a:noFill/>
        <a:ln w="19047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2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2.961275626423689E-2"/>
          <c:y val="0.1473087818696884"/>
          <c:w val="0.9407744874715267"/>
          <c:h val="0.7053824362606232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6D7D9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1400" b="1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1 721</a:t>
                    </a:r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E5C-4CA2-8067-C869CE2B66D2}"/>
                </c:ext>
              </c:extLst>
            </c:dLbl>
            <c:dLbl>
              <c:idx val="1"/>
              <c:layout>
                <c:manualLayout>
                  <c:x val="-4.5558086560364463E-3"/>
                  <c:y val="-4.532573859540176E-2"/>
                </c:manualLayout>
              </c:layout>
              <c:tx>
                <c:rich>
                  <a:bodyPr wrap="none"/>
                  <a:lstStyle/>
                  <a:p>
                    <a:pPr>
                      <a:defRPr sz="1400" b="1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728</a:t>
                    </a:r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E5C-4CA2-8067-C869CE2B66D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721</c:v>
                </c:pt>
                <c:pt idx="1">
                  <c:v>7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E5C-4CA2-8067-C869CE2B66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8185472"/>
        <c:axId val="148187008"/>
      </c:barChart>
      <c:catAx>
        <c:axId val="1481854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48187008"/>
        <c:crosses val="min"/>
        <c:auto val="0"/>
        <c:lblAlgn val="ctr"/>
        <c:lblOffset val="100"/>
        <c:noMultiLvlLbl val="0"/>
      </c:catAx>
      <c:valAx>
        <c:axId val="148187008"/>
        <c:scaling>
          <c:orientation val="minMax"/>
          <c:max val="315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48185472"/>
        <c:crosses val="min"/>
        <c:crossBetween val="between"/>
      </c:valAx>
    </c:plotArea>
    <c:plotVisOnly val="0"/>
    <c:dispBlanksAs val="gap"/>
    <c:showDLblsOverMax val="1"/>
  </c:chart>
  <c:externalData r:id="rId2">
    <c:autoUpdate val="0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8.8838268792710701E-2"/>
          <c:y val="0.12682926829268293"/>
          <c:w val="0.8815489749430524"/>
          <c:h val="0.7463414634146341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6D7D9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1400" b="1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48</a:t>
                    </a:r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33C-46A3-82DE-4041D34D6E54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1400" b="1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22</a:t>
                    </a:r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33C-46A3-82DE-4041D34D6E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75</c:v>
                </c:pt>
                <c:pt idx="1">
                  <c:v>1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33C-46A3-82DE-4041D34D6E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8314752"/>
        <c:axId val="148324736"/>
      </c:barChart>
      <c:catAx>
        <c:axId val="1483147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48324736"/>
        <c:crosses val="min"/>
        <c:auto val="0"/>
        <c:lblAlgn val="ctr"/>
        <c:lblOffset val="100"/>
        <c:noMultiLvlLbl val="0"/>
      </c:catAx>
      <c:valAx>
        <c:axId val="148324736"/>
        <c:scaling>
          <c:orientation val="minMax"/>
          <c:max val="9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48314752"/>
        <c:crosses val="min"/>
        <c:crossBetween val="between"/>
      </c:valAx>
    </c:plotArea>
    <c:plotVisOnly val="0"/>
    <c:dispBlanksAs val="gap"/>
    <c:showDLblsOverMax val="1"/>
  </c:chart>
  <c:externalData r:id="rId2">
    <c:autoUpdate val="0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8.8838268792710701E-2"/>
          <c:y val="0.12682926829268293"/>
          <c:w val="0.8815489749430524"/>
          <c:h val="0.7463414634146341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6D7D9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1400" b="1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61</a:t>
                    </a:r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8DE-45D3-8535-49A46040030B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1400" b="1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37</a:t>
                    </a:r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8DE-45D3-8535-49A46040030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60.5</c:v>
                </c:pt>
                <c:pt idx="1">
                  <c:v>36.7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8DE-45D3-8535-49A4604003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8354560"/>
        <c:axId val="148356096"/>
      </c:barChart>
      <c:catAx>
        <c:axId val="1483545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48356096"/>
        <c:crosses val="min"/>
        <c:auto val="0"/>
        <c:lblAlgn val="ctr"/>
        <c:lblOffset val="100"/>
        <c:noMultiLvlLbl val="0"/>
      </c:catAx>
      <c:valAx>
        <c:axId val="148356096"/>
        <c:scaling>
          <c:orientation val="minMax"/>
          <c:max val="9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48354560"/>
        <c:crosses val="min"/>
        <c:crossBetween val="between"/>
      </c:valAx>
    </c:plotArea>
    <c:plotVisOnly val="0"/>
    <c:dispBlanksAs val="gap"/>
    <c:showDLblsOverMax val="1"/>
  </c:chart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1-6370-4901-AB14-190E51022E2B}"/>
              </c:ext>
            </c:extLst>
          </c:dPt>
          <c:dPt>
            <c:idx val="1"/>
            <c:invertIfNegative val="0"/>
            <c:bubble3D val="0"/>
            <c:spPr>
              <a:noFill/>
            </c:spPr>
            <c:extLst>
              <c:ext xmlns:c16="http://schemas.microsoft.com/office/drawing/2014/chart" uri="{C3380CC4-5D6E-409C-BE32-E72D297353CC}">
                <c16:uniqueId val="{00000003-6370-4901-AB14-190E51022E2B}"/>
              </c:ext>
            </c:extLst>
          </c:dPt>
          <c:dPt>
            <c:idx val="2"/>
            <c:invertIfNegative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5-6370-4901-AB14-190E51022E2B}"/>
              </c:ext>
            </c:extLst>
          </c:dPt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370-4901-AB14-190E51022E2B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1,5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370-4901-AB14-190E51022E2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До</c:v>
                </c:pt>
                <c:pt idx="2">
                  <c:v>После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3</c:v>
                </c:pt>
                <c:pt idx="1">
                  <c:v>3</c:v>
                </c:pt>
                <c:pt idx="2" formatCode="d\-mmm">
                  <c:v>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370-4901-AB14-190E51022E2B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До</c:v>
                </c:pt>
                <c:pt idx="2">
                  <c:v>После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</c:numCache>
            </c:numRef>
          </c:val>
          <c:extLst>
            <c:ext xmlns:c16="http://schemas.microsoft.com/office/drawing/2014/chart" uri="{C3380CC4-5D6E-409C-BE32-E72D297353CC}">
              <c16:uniqueId val="{00000007-6370-4901-AB14-190E51022E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2"/>
        <c:overlap val="100"/>
        <c:axId val="204178560"/>
        <c:axId val="207602432"/>
      </c:barChart>
      <c:catAx>
        <c:axId val="20417856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07602432"/>
        <c:crosses val="autoZero"/>
        <c:auto val="1"/>
        <c:lblAlgn val="ctr"/>
        <c:lblOffset val="100"/>
        <c:noMultiLvlLbl val="0"/>
      </c:catAx>
      <c:valAx>
        <c:axId val="207602432"/>
        <c:scaling>
          <c:orientation val="minMax"/>
          <c:min val="0"/>
        </c:scaling>
        <c:delete val="1"/>
        <c:axPos val="l"/>
        <c:majorGridlines/>
        <c:numFmt formatCode="General" sourceLinked="1"/>
        <c:majorTickMark val="out"/>
        <c:minorTickMark val="none"/>
        <c:tickLblPos val="nextTo"/>
        <c:crossAx val="20417856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ru-RU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1-8A21-40E6-8270-54E4A7572FA6}"/>
              </c:ext>
            </c:extLst>
          </c:dPt>
          <c:dPt>
            <c:idx val="1"/>
            <c:invertIfNegative val="0"/>
            <c:bubble3D val="0"/>
            <c:spPr>
              <a:noFill/>
            </c:spPr>
            <c:extLst>
              <c:ext xmlns:c16="http://schemas.microsoft.com/office/drawing/2014/chart" uri="{C3380CC4-5D6E-409C-BE32-E72D297353CC}">
                <c16:uniqueId val="{00000003-8A21-40E6-8270-54E4A7572FA6}"/>
              </c:ext>
            </c:extLst>
          </c:dPt>
          <c:dPt>
            <c:idx val="2"/>
            <c:invertIfNegative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5-8A21-40E6-8270-54E4A7572FA6}"/>
              </c:ext>
            </c:extLst>
          </c:dPt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A21-40E6-8270-54E4A7572FA6}"/>
                </c:ext>
              </c:extLst>
            </c:dLbl>
            <c:dLbl>
              <c:idx val="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A21-40E6-8270-54E4A7572FA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До</c:v>
                </c:pt>
                <c:pt idx="2">
                  <c:v>После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28</c:v>
                </c:pt>
                <c:pt idx="2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A21-40E6-8270-54E4A7572FA6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До</c:v>
                </c:pt>
                <c:pt idx="2">
                  <c:v>После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</c:numCache>
            </c:numRef>
          </c:val>
          <c:extLst>
            <c:ext xmlns:c16="http://schemas.microsoft.com/office/drawing/2014/chart" uri="{C3380CC4-5D6E-409C-BE32-E72D297353CC}">
              <c16:uniqueId val="{00000007-8A21-40E6-8270-54E4A7572F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2"/>
        <c:overlap val="100"/>
        <c:axId val="158332800"/>
        <c:axId val="168184832"/>
      </c:barChart>
      <c:catAx>
        <c:axId val="15833280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68184832"/>
        <c:crosses val="autoZero"/>
        <c:auto val="1"/>
        <c:lblAlgn val="ctr"/>
        <c:lblOffset val="100"/>
        <c:noMultiLvlLbl val="0"/>
      </c:catAx>
      <c:valAx>
        <c:axId val="168184832"/>
        <c:scaling>
          <c:orientation val="minMax"/>
          <c:min val="0"/>
        </c:scaling>
        <c:delete val="1"/>
        <c:axPos val="l"/>
        <c:majorGridlines/>
        <c:numFmt formatCode="General" sourceLinked="1"/>
        <c:majorTickMark val="out"/>
        <c:minorTickMark val="none"/>
        <c:tickLblPos val="nextTo"/>
        <c:crossAx val="15833280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ru-RU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1-4336-4317-AD8B-FE6E34AA900B}"/>
              </c:ext>
            </c:extLst>
          </c:dPt>
          <c:dPt>
            <c:idx val="1"/>
            <c:invertIfNegative val="0"/>
            <c:bubble3D val="0"/>
            <c:spPr>
              <a:noFill/>
            </c:spPr>
            <c:extLst>
              <c:ext xmlns:c16="http://schemas.microsoft.com/office/drawing/2014/chart" uri="{C3380CC4-5D6E-409C-BE32-E72D297353CC}">
                <c16:uniqueId val="{00000003-4336-4317-AD8B-FE6E34AA900B}"/>
              </c:ext>
            </c:extLst>
          </c:dPt>
          <c:dPt>
            <c:idx val="2"/>
            <c:invertIfNegative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5-4336-4317-AD8B-FE6E34AA900B}"/>
              </c:ext>
            </c:extLst>
          </c:dPt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336-4317-AD8B-FE6E34AA900B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6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336-4317-AD8B-FE6E34AA900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До</c:v>
                </c:pt>
                <c:pt idx="2">
                  <c:v>После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2</c:v>
                </c:pt>
                <c:pt idx="2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336-4317-AD8B-FE6E34AA900B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До</c:v>
                </c:pt>
                <c:pt idx="2">
                  <c:v>После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</c:numCache>
            </c:numRef>
          </c:val>
          <c:extLst>
            <c:ext xmlns:c16="http://schemas.microsoft.com/office/drawing/2014/chart" uri="{C3380CC4-5D6E-409C-BE32-E72D297353CC}">
              <c16:uniqueId val="{00000007-4336-4317-AD8B-FE6E34AA90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2"/>
        <c:overlap val="100"/>
        <c:axId val="209371520"/>
        <c:axId val="209374208"/>
      </c:barChart>
      <c:catAx>
        <c:axId val="20937152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09374208"/>
        <c:crosses val="autoZero"/>
        <c:auto val="1"/>
        <c:lblAlgn val="ctr"/>
        <c:lblOffset val="100"/>
        <c:noMultiLvlLbl val="0"/>
      </c:catAx>
      <c:valAx>
        <c:axId val="209374208"/>
        <c:scaling>
          <c:orientation val="minMax"/>
          <c:min val="0"/>
        </c:scaling>
        <c:delete val="1"/>
        <c:axPos val="l"/>
        <c:majorGridlines/>
        <c:numFmt formatCode="General" sourceLinked="1"/>
        <c:majorTickMark val="out"/>
        <c:minorTickMark val="none"/>
        <c:tickLblPos val="nextTo"/>
        <c:crossAx val="20937152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ru-RU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1-1683-47F0-B9D4-4263CAC8A4D7}"/>
              </c:ext>
            </c:extLst>
          </c:dPt>
          <c:dPt>
            <c:idx val="1"/>
            <c:invertIfNegative val="0"/>
            <c:bubble3D val="0"/>
            <c:spPr>
              <a:noFill/>
            </c:spPr>
            <c:extLst>
              <c:ext xmlns:c16="http://schemas.microsoft.com/office/drawing/2014/chart" uri="{C3380CC4-5D6E-409C-BE32-E72D297353CC}">
                <c16:uniqueId val="{00000003-1683-47F0-B9D4-4263CAC8A4D7}"/>
              </c:ext>
            </c:extLst>
          </c:dPt>
          <c:dPt>
            <c:idx val="2"/>
            <c:invertIfNegative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5-1683-47F0-B9D4-4263CAC8A4D7}"/>
              </c:ext>
            </c:extLst>
          </c:dPt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683-47F0-B9D4-4263CAC8A4D7}"/>
                </c:ext>
              </c:extLst>
            </c:dLbl>
            <c:dLbl>
              <c:idx val="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683-47F0-B9D4-4263CAC8A4D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До</c:v>
                </c:pt>
                <c:pt idx="2">
                  <c:v>После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6</c:v>
                </c:pt>
                <c:pt idx="2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683-47F0-B9D4-4263CAC8A4D7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До</c:v>
                </c:pt>
                <c:pt idx="2">
                  <c:v>После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</c:numCache>
            </c:numRef>
          </c:val>
          <c:extLst>
            <c:ext xmlns:c16="http://schemas.microsoft.com/office/drawing/2014/chart" uri="{C3380CC4-5D6E-409C-BE32-E72D297353CC}">
              <c16:uniqueId val="{00000007-1683-47F0-B9D4-4263CAC8A4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2"/>
        <c:overlap val="100"/>
        <c:axId val="204050816"/>
        <c:axId val="204055296"/>
      </c:barChart>
      <c:catAx>
        <c:axId val="20405081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04055296"/>
        <c:crosses val="autoZero"/>
        <c:auto val="1"/>
        <c:lblAlgn val="ctr"/>
        <c:lblOffset val="100"/>
        <c:noMultiLvlLbl val="0"/>
      </c:catAx>
      <c:valAx>
        <c:axId val="204055296"/>
        <c:scaling>
          <c:orientation val="minMax"/>
          <c:min val="0"/>
        </c:scaling>
        <c:delete val="1"/>
        <c:axPos val="l"/>
        <c:majorGridlines/>
        <c:numFmt formatCode="General" sourceLinked="1"/>
        <c:majorTickMark val="out"/>
        <c:minorTickMark val="none"/>
        <c:tickLblPos val="nextTo"/>
        <c:crossAx val="20405081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ru-RU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4695233223811321E-2"/>
          <c:y val="0.17615579188730904"/>
          <c:w val="0.87060951071037418"/>
          <c:h val="0.624641584398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лан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169-46DA-A59D-B2E84A9ABAB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7169-46DA-A59D-B2E84A9ABAB7}"/>
              </c:ext>
            </c:extLst>
          </c:dPt>
          <c:dPt>
            <c:idx val="2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solidFill>
                  <a:schemeClr val="tx1"/>
                </a:solidFill>
                <a:prstDash val="dash"/>
              </a:ln>
            </c:spPr>
            <c:extLst>
              <c:ext xmlns:c16="http://schemas.microsoft.com/office/drawing/2014/chart" uri="{C3380CC4-5D6E-409C-BE32-E72D297353CC}">
                <c16:uniqueId val="{00000003-7169-46DA-A59D-B2E84A9ABAB7}"/>
              </c:ext>
            </c:extLst>
          </c:dPt>
          <c:dLbls>
            <c:dLbl>
              <c:idx val="1"/>
              <c:layout>
                <c:manualLayout>
                  <c:x val="-7.091755025094848E-3"/>
                  <c:y val="1.9920421017419639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3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169-46DA-A59D-B2E84A9ABAB7}"/>
                </c:ext>
              </c:extLst>
            </c:dLbl>
            <c:numFmt formatCode="#,##0" sourceLinked="0"/>
            <c:spPr>
              <a:noFill/>
              <a:ln>
                <a:noFill/>
              </a:ln>
            </c:spPr>
            <c:txPr>
              <a:bodyPr/>
              <a:lstStyle/>
              <a:p>
                <a:pPr>
                  <a:defRPr sz="800">
                    <a:solidFill>
                      <a:schemeClr val="bg2">
                        <a:lumMod val="50000"/>
                      </a:schemeClr>
                    </a:solidFill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25.06.2019
(до проекта)</c:v>
                </c:pt>
                <c:pt idx="1">
                  <c:v>11.12.2019
(закрытие проекта)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1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169-46DA-A59D-B2E84A9ABAB7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Факт</c:v>
                </c:pt>
              </c:strCache>
            </c:strRef>
          </c:tx>
          <c:spPr>
            <a:solidFill>
              <a:srgbClr val="1E86C8">
                <a:alpha val="74000"/>
              </a:srgbClr>
            </a:solidFill>
          </c:spPr>
          <c:invertIfNegative val="0"/>
          <c:dLbls>
            <c:dLbl>
              <c:idx val="1"/>
              <c:layout>
                <c:manualLayout>
                  <c:x val="-8.6676004573668126E-17"/>
                  <c:y val="0.16898503052434979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800" b="0"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169-46DA-A59D-B2E84A9ABAB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 b="0">
                    <a:solidFill>
                      <a:srgbClr val="1E86C8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25.06.2019
(до проекта)</c:v>
                </c:pt>
                <c:pt idx="1">
                  <c:v>11.12.2019
(закрытие проекта)</c:v>
                </c:pt>
              </c:strCache>
            </c:strRef>
          </c:cat>
          <c:val>
            <c:numRef>
              <c:f>Лист1!$C$2:$C$3</c:f>
              <c:numCache>
                <c:formatCode>General</c:formatCode>
                <c:ptCount val="2"/>
                <c:pt idx="0">
                  <c:v>9</c:v>
                </c:pt>
                <c:pt idx="1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169-46DA-A59D-B2E84A9ABA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61"/>
        <c:axId val="72139904"/>
        <c:axId val="72141440"/>
      </c:barChart>
      <c:catAx>
        <c:axId val="72139904"/>
        <c:scaling>
          <c:orientation val="minMax"/>
        </c:scaling>
        <c:delete val="0"/>
        <c:axPos val="b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500"/>
            </a:pPr>
            <a:endParaRPr lang="ru-RU"/>
          </a:p>
        </c:txPr>
        <c:crossAx val="72141440"/>
        <c:crosses val="autoZero"/>
        <c:auto val="1"/>
        <c:lblAlgn val="ctr"/>
        <c:lblOffset val="100"/>
        <c:noMultiLvlLbl val="0"/>
      </c:catAx>
      <c:valAx>
        <c:axId val="72141440"/>
        <c:scaling>
          <c:orientation val="minMax"/>
          <c:min val="0"/>
        </c:scaling>
        <c:delete val="0"/>
        <c:axPos val="l"/>
        <c:numFmt formatCode="#,##0.0" sourceLinked="0"/>
        <c:majorTickMark val="none"/>
        <c:minorTickMark val="none"/>
        <c:tickLblPos val="nextTo"/>
        <c:txPr>
          <a:bodyPr/>
          <a:lstStyle/>
          <a:p>
            <a:pPr>
              <a:defRPr sz="100">
                <a:solidFill>
                  <a:schemeClr val="bg1"/>
                </a:solidFill>
              </a:defRPr>
            </a:pPr>
            <a:endParaRPr lang="ru-RU"/>
          </a:p>
        </c:txPr>
        <c:crossAx val="72139904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48534128652253838"/>
          <c:y val="1.7127310440066812E-3"/>
          <c:w val="0.49737325861117754"/>
          <c:h val="0.10919664496180329"/>
        </c:manualLayout>
      </c:layout>
      <c:overlay val="0"/>
      <c:txPr>
        <a:bodyPr/>
        <a:lstStyle/>
        <a:p>
          <a:pPr>
            <a:defRPr sz="8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CDBFF75-F88D-4074-8AD4-7F86F5F19576}" type="doc">
      <dgm:prSet loTypeId="urn:microsoft.com/office/officeart/2005/8/layout/list1" loCatId="list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ru-RU"/>
        </a:p>
      </dgm:t>
    </dgm:pt>
    <dgm:pt modelId="{43C6A91E-3E5D-4D52-B00F-B07FC77EEACE}">
      <dgm:prSet phldrT="[Текст]"/>
      <dgm:spPr/>
      <dgm:t>
        <a:bodyPr/>
        <a:lstStyle/>
        <a:p>
          <a:pPr algn="ctr"/>
          <a:r>
            <a:rPr lang="ru-RU" b="1" dirty="0"/>
            <a:t>5%</a:t>
          </a:r>
        </a:p>
      </dgm:t>
    </dgm:pt>
    <dgm:pt modelId="{E87439B1-3A8A-4379-94B1-9775A2B20120}" type="parTrans" cxnId="{755A1462-165A-424C-B400-7EBCADA41C1D}">
      <dgm:prSet/>
      <dgm:spPr/>
      <dgm:t>
        <a:bodyPr/>
        <a:lstStyle/>
        <a:p>
          <a:endParaRPr lang="ru-RU"/>
        </a:p>
      </dgm:t>
    </dgm:pt>
    <dgm:pt modelId="{4BB189C2-45C0-49B6-8D11-86DBDB0CD68D}" type="sibTrans" cxnId="{755A1462-165A-424C-B400-7EBCADA41C1D}">
      <dgm:prSet/>
      <dgm:spPr/>
      <dgm:t>
        <a:bodyPr/>
        <a:lstStyle/>
        <a:p>
          <a:endParaRPr lang="ru-RU"/>
        </a:p>
      </dgm:t>
    </dgm:pt>
    <dgm:pt modelId="{DD12A768-6243-486F-BBBB-632AD35D296C}">
      <dgm:prSet phldrT="[Текст]"/>
      <dgm:spPr/>
      <dgm:t>
        <a:bodyPr/>
        <a:lstStyle/>
        <a:p>
          <a:pPr algn="ctr"/>
          <a:r>
            <a:rPr lang="ru-RU" b="1" dirty="0"/>
            <a:t>10 000</a:t>
          </a:r>
        </a:p>
      </dgm:t>
    </dgm:pt>
    <dgm:pt modelId="{AEA825A5-5152-4AC2-BC0B-780468749AE2}" type="parTrans" cxnId="{D366937F-0ECC-40F0-B2F0-3165C297D4B5}">
      <dgm:prSet/>
      <dgm:spPr/>
      <dgm:t>
        <a:bodyPr/>
        <a:lstStyle/>
        <a:p>
          <a:endParaRPr lang="ru-RU"/>
        </a:p>
      </dgm:t>
    </dgm:pt>
    <dgm:pt modelId="{3A2317AA-B75D-4ADC-A09E-3A419B13C8AD}" type="sibTrans" cxnId="{D366937F-0ECC-40F0-B2F0-3165C297D4B5}">
      <dgm:prSet/>
      <dgm:spPr/>
      <dgm:t>
        <a:bodyPr/>
        <a:lstStyle/>
        <a:p>
          <a:endParaRPr lang="ru-RU"/>
        </a:p>
      </dgm:t>
    </dgm:pt>
    <dgm:pt modelId="{374079C0-A165-43AF-ABCB-B6E595494DA1}">
      <dgm:prSet phldrT="[Текст]"/>
      <dgm:spPr/>
      <dgm:t>
        <a:bodyPr/>
        <a:lstStyle/>
        <a:p>
          <a:pPr algn="ctr"/>
          <a:r>
            <a:rPr lang="ru-RU" b="1" dirty="0"/>
            <a:t>85</a:t>
          </a:r>
        </a:p>
      </dgm:t>
    </dgm:pt>
    <dgm:pt modelId="{9D32E8D5-3336-4E34-BC44-724494484050}" type="parTrans" cxnId="{20327DE1-1088-4765-8BFD-1F956644083A}">
      <dgm:prSet/>
      <dgm:spPr/>
      <dgm:t>
        <a:bodyPr/>
        <a:lstStyle/>
        <a:p>
          <a:endParaRPr lang="ru-RU"/>
        </a:p>
      </dgm:t>
    </dgm:pt>
    <dgm:pt modelId="{F9413768-0B1B-46D9-8DB1-DA74D46DEF7D}" type="sibTrans" cxnId="{20327DE1-1088-4765-8BFD-1F956644083A}">
      <dgm:prSet/>
      <dgm:spPr/>
      <dgm:t>
        <a:bodyPr/>
        <a:lstStyle/>
        <a:p>
          <a:endParaRPr lang="ru-RU"/>
        </a:p>
      </dgm:t>
    </dgm:pt>
    <dgm:pt modelId="{00CA1FB9-6FE2-4D39-8878-9DFB7CA8B6DC}">
      <dgm:prSet custT="1"/>
      <dgm:spPr/>
      <dgm:t>
        <a:bodyPr/>
        <a:lstStyle/>
        <a:p>
          <a:r>
            <a:rPr lang="ru-RU" sz="2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ежегодный прирост производительности труда на средних и крупных предприятиях базовых несырьевых отраслей экономики </a:t>
          </a:r>
          <a:endParaRPr lang="ru-RU" sz="2000" dirty="0"/>
        </a:p>
      </dgm:t>
    </dgm:pt>
    <dgm:pt modelId="{2C605374-1D12-4496-AC4D-2C87CD591D42}" type="parTrans" cxnId="{6B615CC7-DD38-483E-8A38-FD4470692F0C}">
      <dgm:prSet/>
      <dgm:spPr/>
      <dgm:t>
        <a:bodyPr/>
        <a:lstStyle/>
        <a:p>
          <a:endParaRPr lang="ru-RU"/>
        </a:p>
      </dgm:t>
    </dgm:pt>
    <dgm:pt modelId="{353B38A8-5A60-46CE-92E2-59C4753A770F}" type="sibTrans" cxnId="{6B615CC7-DD38-483E-8A38-FD4470692F0C}">
      <dgm:prSet/>
      <dgm:spPr/>
      <dgm:t>
        <a:bodyPr/>
        <a:lstStyle/>
        <a:p>
          <a:endParaRPr lang="ru-RU"/>
        </a:p>
      </dgm:t>
    </dgm:pt>
    <dgm:pt modelId="{7BD8BDE0-B632-4B1E-ABE9-5C0DA79A15E5}">
      <dgm:prSet custT="1"/>
      <dgm:spPr/>
      <dgm:t>
        <a:bodyPr/>
        <a:lstStyle/>
        <a:p>
          <a:r>
            <a:rPr lang="ru-RU" sz="2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предприятий-участников</a:t>
          </a:r>
          <a:endParaRPr lang="ru-RU" sz="2000" dirty="0"/>
        </a:p>
      </dgm:t>
    </dgm:pt>
    <dgm:pt modelId="{E8102AEE-78BA-4D9A-91F4-878E0543AF2F}" type="parTrans" cxnId="{D0AD48A9-2A0E-418C-AFF6-38D71004C189}">
      <dgm:prSet/>
      <dgm:spPr/>
      <dgm:t>
        <a:bodyPr/>
        <a:lstStyle/>
        <a:p>
          <a:endParaRPr lang="ru-RU"/>
        </a:p>
      </dgm:t>
    </dgm:pt>
    <dgm:pt modelId="{F45E3015-2430-42B2-B90E-5A230EB64729}" type="sibTrans" cxnId="{D0AD48A9-2A0E-418C-AFF6-38D71004C189}">
      <dgm:prSet/>
      <dgm:spPr/>
      <dgm:t>
        <a:bodyPr/>
        <a:lstStyle/>
        <a:p>
          <a:endParaRPr lang="ru-RU"/>
        </a:p>
      </dgm:t>
    </dgm:pt>
    <dgm:pt modelId="{8B8822ED-55EA-468F-A83B-0042B29FA1F2}">
      <dgm:prSet custT="1"/>
      <dgm:spPr/>
      <dgm:t>
        <a:bodyPr/>
        <a:lstStyle/>
        <a:p>
          <a:r>
            <a:rPr lang="ru-RU" sz="2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субъектов РФ </a:t>
          </a:r>
          <a:endParaRPr lang="ru-RU" sz="2000" dirty="0"/>
        </a:p>
      </dgm:t>
    </dgm:pt>
    <dgm:pt modelId="{70D2132F-0AA0-46D1-8FCF-DD3BA94FC522}" type="parTrans" cxnId="{79B6C0DD-5D7F-4354-898E-0BD01EDB00CB}">
      <dgm:prSet/>
      <dgm:spPr/>
      <dgm:t>
        <a:bodyPr/>
        <a:lstStyle/>
        <a:p>
          <a:endParaRPr lang="ru-RU"/>
        </a:p>
      </dgm:t>
    </dgm:pt>
    <dgm:pt modelId="{254F4A19-933F-40C1-8D9A-36B0B8683330}" type="sibTrans" cxnId="{79B6C0DD-5D7F-4354-898E-0BD01EDB00CB}">
      <dgm:prSet/>
      <dgm:spPr/>
      <dgm:t>
        <a:bodyPr/>
        <a:lstStyle/>
        <a:p>
          <a:endParaRPr lang="ru-RU"/>
        </a:p>
      </dgm:t>
    </dgm:pt>
    <dgm:pt modelId="{08A429CB-56CE-4F88-A73A-5A148C08A9B4}" type="pres">
      <dgm:prSet presAssocID="{4CDBFF75-F88D-4074-8AD4-7F86F5F19576}" presName="linear" presStyleCnt="0">
        <dgm:presLayoutVars>
          <dgm:dir/>
          <dgm:animLvl val="lvl"/>
          <dgm:resizeHandles val="exact"/>
        </dgm:presLayoutVars>
      </dgm:prSet>
      <dgm:spPr/>
    </dgm:pt>
    <dgm:pt modelId="{8892818C-DCC4-4D08-8FB3-314ADC736E22}" type="pres">
      <dgm:prSet presAssocID="{43C6A91E-3E5D-4D52-B00F-B07FC77EEACE}" presName="parentLin" presStyleCnt="0"/>
      <dgm:spPr/>
    </dgm:pt>
    <dgm:pt modelId="{0BD31CFC-4BA1-47A3-A1E7-DE29C1E63043}" type="pres">
      <dgm:prSet presAssocID="{43C6A91E-3E5D-4D52-B00F-B07FC77EEACE}" presName="parentLeftMargin" presStyleLbl="node1" presStyleIdx="0" presStyleCnt="3"/>
      <dgm:spPr/>
    </dgm:pt>
    <dgm:pt modelId="{1C2D8924-ED2F-4356-8660-2FCC8554FCEB}" type="pres">
      <dgm:prSet presAssocID="{43C6A91E-3E5D-4D52-B00F-B07FC77EEACE}" presName="parentText" presStyleLbl="node1" presStyleIdx="0" presStyleCnt="3" custScaleX="39025" custScaleY="71567">
        <dgm:presLayoutVars>
          <dgm:chMax val="0"/>
          <dgm:bulletEnabled val="1"/>
        </dgm:presLayoutVars>
      </dgm:prSet>
      <dgm:spPr/>
    </dgm:pt>
    <dgm:pt modelId="{EE46F68F-6944-48A8-B6BE-401FD97F83D9}" type="pres">
      <dgm:prSet presAssocID="{43C6A91E-3E5D-4D52-B00F-B07FC77EEACE}" presName="negativeSpace" presStyleCnt="0"/>
      <dgm:spPr/>
    </dgm:pt>
    <dgm:pt modelId="{86FA81D0-A037-4652-A68D-981EA680DAC2}" type="pres">
      <dgm:prSet presAssocID="{43C6A91E-3E5D-4D52-B00F-B07FC77EEACE}" presName="childText" presStyleLbl="conFgAcc1" presStyleIdx="0" presStyleCnt="3">
        <dgm:presLayoutVars>
          <dgm:bulletEnabled val="1"/>
        </dgm:presLayoutVars>
      </dgm:prSet>
      <dgm:spPr/>
    </dgm:pt>
    <dgm:pt modelId="{2758085B-6E82-488E-997F-1CC7EAD5175B}" type="pres">
      <dgm:prSet presAssocID="{4BB189C2-45C0-49B6-8D11-86DBDB0CD68D}" presName="spaceBetweenRectangles" presStyleCnt="0"/>
      <dgm:spPr/>
    </dgm:pt>
    <dgm:pt modelId="{A52084B7-0205-4CA0-93C5-F0F6768C224C}" type="pres">
      <dgm:prSet presAssocID="{DD12A768-6243-486F-BBBB-632AD35D296C}" presName="parentLin" presStyleCnt="0"/>
      <dgm:spPr/>
    </dgm:pt>
    <dgm:pt modelId="{1314AC31-A806-473C-B065-42235D094FBC}" type="pres">
      <dgm:prSet presAssocID="{DD12A768-6243-486F-BBBB-632AD35D296C}" presName="parentLeftMargin" presStyleLbl="node1" presStyleIdx="0" presStyleCnt="3"/>
      <dgm:spPr/>
    </dgm:pt>
    <dgm:pt modelId="{DCB1FBD3-0588-41C0-A000-D6EBA5B1CDC4}" type="pres">
      <dgm:prSet presAssocID="{DD12A768-6243-486F-BBBB-632AD35D296C}" presName="parentText" presStyleLbl="node1" presStyleIdx="1" presStyleCnt="3" custScaleX="37305" custScaleY="64336">
        <dgm:presLayoutVars>
          <dgm:chMax val="0"/>
          <dgm:bulletEnabled val="1"/>
        </dgm:presLayoutVars>
      </dgm:prSet>
      <dgm:spPr/>
    </dgm:pt>
    <dgm:pt modelId="{0D925086-FA4E-4F7B-B8C0-4CD0C45E98B6}" type="pres">
      <dgm:prSet presAssocID="{DD12A768-6243-486F-BBBB-632AD35D296C}" presName="negativeSpace" presStyleCnt="0"/>
      <dgm:spPr/>
    </dgm:pt>
    <dgm:pt modelId="{ADD9E0CF-43CF-4510-B329-CE464E591C68}" type="pres">
      <dgm:prSet presAssocID="{DD12A768-6243-486F-BBBB-632AD35D296C}" presName="childText" presStyleLbl="conFgAcc1" presStyleIdx="1" presStyleCnt="3" custScaleY="100248">
        <dgm:presLayoutVars>
          <dgm:bulletEnabled val="1"/>
        </dgm:presLayoutVars>
      </dgm:prSet>
      <dgm:spPr/>
    </dgm:pt>
    <dgm:pt modelId="{8B178CA5-9B87-4070-88F7-941ACD5467C2}" type="pres">
      <dgm:prSet presAssocID="{3A2317AA-B75D-4ADC-A09E-3A419B13C8AD}" presName="spaceBetweenRectangles" presStyleCnt="0"/>
      <dgm:spPr/>
    </dgm:pt>
    <dgm:pt modelId="{EB291482-FA57-46E3-92FF-3BCE11270125}" type="pres">
      <dgm:prSet presAssocID="{374079C0-A165-43AF-ABCB-B6E595494DA1}" presName="parentLin" presStyleCnt="0"/>
      <dgm:spPr/>
    </dgm:pt>
    <dgm:pt modelId="{F10B9DFA-10FB-4AFF-AA3C-200B70CE8737}" type="pres">
      <dgm:prSet presAssocID="{374079C0-A165-43AF-ABCB-B6E595494DA1}" presName="parentLeftMargin" presStyleLbl="node1" presStyleIdx="1" presStyleCnt="3"/>
      <dgm:spPr/>
    </dgm:pt>
    <dgm:pt modelId="{D0E39218-E6E9-4A94-ADBE-96A0F62D8489}" type="pres">
      <dgm:prSet presAssocID="{374079C0-A165-43AF-ABCB-B6E595494DA1}" presName="parentText" presStyleLbl="node1" presStyleIdx="2" presStyleCnt="3" custScaleX="36915" custScaleY="58591">
        <dgm:presLayoutVars>
          <dgm:chMax val="0"/>
          <dgm:bulletEnabled val="1"/>
        </dgm:presLayoutVars>
      </dgm:prSet>
      <dgm:spPr/>
    </dgm:pt>
    <dgm:pt modelId="{C22B7980-B379-4304-A324-EA93A0CD0750}" type="pres">
      <dgm:prSet presAssocID="{374079C0-A165-43AF-ABCB-B6E595494DA1}" presName="negativeSpace" presStyleCnt="0"/>
      <dgm:spPr/>
    </dgm:pt>
    <dgm:pt modelId="{CD2F1BE6-06EF-4DAC-946D-95D3C77469E9}" type="pres">
      <dgm:prSet presAssocID="{374079C0-A165-43AF-ABCB-B6E595494DA1}" presName="childText" presStyleLbl="conFgAcc1" presStyleIdx="2" presStyleCnt="3" custLinFactNeighborY="4257">
        <dgm:presLayoutVars>
          <dgm:bulletEnabled val="1"/>
        </dgm:presLayoutVars>
      </dgm:prSet>
      <dgm:spPr/>
    </dgm:pt>
  </dgm:ptLst>
  <dgm:cxnLst>
    <dgm:cxn modelId="{1F76A00C-013E-40EC-93A4-28A189AD109B}" type="presOf" srcId="{DD12A768-6243-486F-BBBB-632AD35D296C}" destId="{1314AC31-A806-473C-B065-42235D094FBC}" srcOrd="0" destOrd="0" presId="urn:microsoft.com/office/officeart/2005/8/layout/list1"/>
    <dgm:cxn modelId="{7E9C8F1A-90BC-4F4B-A838-667295C57875}" type="presOf" srcId="{8B8822ED-55EA-468F-A83B-0042B29FA1F2}" destId="{CD2F1BE6-06EF-4DAC-946D-95D3C77469E9}" srcOrd="0" destOrd="0" presId="urn:microsoft.com/office/officeart/2005/8/layout/list1"/>
    <dgm:cxn modelId="{9D3C9525-DD0A-49E6-802B-471038969C80}" type="presOf" srcId="{374079C0-A165-43AF-ABCB-B6E595494DA1}" destId="{F10B9DFA-10FB-4AFF-AA3C-200B70CE8737}" srcOrd="0" destOrd="0" presId="urn:microsoft.com/office/officeart/2005/8/layout/list1"/>
    <dgm:cxn modelId="{755A1462-165A-424C-B400-7EBCADA41C1D}" srcId="{4CDBFF75-F88D-4074-8AD4-7F86F5F19576}" destId="{43C6A91E-3E5D-4D52-B00F-B07FC77EEACE}" srcOrd="0" destOrd="0" parTransId="{E87439B1-3A8A-4379-94B1-9775A2B20120}" sibTransId="{4BB189C2-45C0-49B6-8D11-86DBDB0CD68D}"/>
    <dgm:cxn modelId="{D366937F-0ECC-40F0-B2F0-3165C297D4B5}" srcId="{4CDBFF75-F88D-4074-8AD4-7F86F5F19576}" destId="{DD12A768-6243-486F-BBBB-632AD35D296C}" srcOrd="1" destOrd="0" parTransId="{AEA825A5-5152-4AC2-BC0B-780468749AE2}" sibTransId="{3A2317AA-B75D-4ADC-A09E-3A419B13C8AD}"/>
    <dgm:cxn modelId="{F75CCC8E-E81E-4CBB-8283-D084CAF733BE}" type="presOf" srcId="{4CDBFF75-F88D-4074-8AD4-7F86F5F19576}" destId="{08A429CB-56CE-4F88-A73A-5A148C08A9B4}" srcOrd="0" destOrd="0" presId="urn:microsoft.com/office/officeart/2005/8/layout/list1"/>
    <dgm:cxn modelId="{00A6B094-7D6A-4451-A7B3-D1577117DA94}" type="presOf" srcId="{374079C0-A165-43AF-ABCB-B6E595494DA1}" destId="{D0E39218-E6E9-4A94-ADBE-96A0F62D8489}" srcOrd="1" destOrd="0" presId="urn:microsoft.com/office/officeart/2005/8/layout/list1"/>
    <dgm:cxn modelId="{5360FB95-801D-431B-B7F6-0ECB1B0D140F}" type="presOf" srcId="{7BD8BDE0-B632-4B1E-ABE9-5C0DA79A15E5}" destId="{ADD9E0CF-43CF-4510-B329-CE464E591C68}" srcOrd="0" destOrd="0" presId="urn:microsoft.com/office/officeart/2005/8/layout/list1"/>
    <dgm:cxn modelId="{8C183A98-0914-499E-9836-3453AD84B26A}" type="presOf" srcId="{43C6A91E-3E5D-4D52-B00F-B07FC77EEACE}" destId="{1C2D8924-ED2F-4356-8660-2FCC8554FCEB}" srcOrd="1" destOrd="0" presId="urn:microsoft.com/office/officeart/2005/8/layout/list1"/>
    <dgm:cxn modelId="{E9F2F0A2-6A89-479F-B312-14ECC8AB17A1}" type="presOf" srcId="{DD12A768-6243-486F-BBBB-632AD35D296C}" destId="{DCB1FBD3-0588-41C0-A000-D6EBA5B1CDC4}" srcOrd="1" destOrd="0" presId="urn:microsoft.com/office/officeart/2005/8/layout/list1"/>
    <dgm:cxn modelId="{D0AD48A9-2A0E-418C-AFF6-38D71004C189}" srcId="{DD12A768-6243-486F-BBBB-632AD35D296C}" destId="{7BD8BDE0-B632-4B1E-ABE9-5C0DA79A15E5}" srcOrd="0" destOrd="0" parTransId="{E8102AEE-78BA-4D9A-91F4-878E0543AF2F}" sibTransId="{F45E3015-2430-42B2-B90E-5A230EB64729}"/>
    <dgm:cxn modelId="{6B615CC7-DD38-483E-8A38-FD4470692F0C}" srcId="{43C6A91E-3E5D-4D52-B00F-B07FC77EEACE}" destId="{00CA1FB9-6FE2-4D39-8878-9DFB7CA8B6DC}" srcOrd="0" destOrd="0" parTransId="{2C605374-1D12-4496-AC4D-2C87CD591D42}" sibTransId="{353B38A8-5A60-46CE-92E2-59C4753A770F}"/>
    <dgm:cxn modelId="{83DCB0CE-3345-4F12-909A-385C6DEC2245}" type="presOf" srcId="{00CA1FB9-6FE2-4D39-8878-9DFB7CA8B6DC}" destId="{86FA81D0-A037-4652-A68D-981EA680DAC2}" srcOrd="0" destOrd="0" presId="urn:microsoft.com/office/officeart/2005/8/layout/list1"/>
    <dgm:cxn modelId="{79B6C0DD-5D7F-4354-898E-0BD01EDB00CB}" srcId="{374079C0-A165-43AF-ABCB-B6E595494DA1}" destId="{8B8822ED-55EA-468F-A83B-0042B29FA1F2}" srcOrd="0" destOrd="0" parTransId="{70D2132F-0AA0-46D1-8FCF-DD3BA94FC522}" sibTransId="{254F4A19-933F-40C1-8D9A-36B0B8683330}"/>
    <dgm:cxn modelId="{20327DE1-1088-4765-8BFD-1F956644083A}" srcId="{4CDBFF75-F88D-4074-8AD4-7F86F5F19576}" destId="{374079C0-A165-43AF-ABCB-B6E595494DA1}" srcOrd="2" destOrd="0" parTransId="{9D32E8D5-3336-4E34-BC44-724494484050}" sibTransId="{F9413768-0B1B-46D9-8DB1-DA74D46DEF7D}"/>
    <dgm:cxn modelId="{32BAB9E9-05AF-4D71-838A-D24380026B78}" type="presOf" srcId="{43C6A91E-3E5D-4D52-B00F-B07FC77EEACE}" destId="{0BD31CFC-4BA1-47A3-A1E7-DE29C1E63043}" srcOrd="0" destOrd="0" presId="urn:microsoft.com/office/officeart/2005/8/layout/list1"/>
    <dgm:cxn modelId="{FC70C0C8-3E16-4097-915E-F1417317ABF3}" type="presParOf" srcId="{08A429CB-56CE-4F88-A73A-5A148C08A9B4}" destId="{8892818C-DCC4-4D08-8FB3-314ADC736E22}" srcOrd="0" destOrd="0" presId="urn:microsoft.com/office/officeart/2005/8/layout/list1"/>
    <dgm:cxn modelId="{680908FF-759E-4DFB-AB82-9DC2B773F288}" type="presParOf" srcId="{8892818C-DCC4-4D08-8FB3-314ADC736E22}" destId="{0BD31CFC-4BA1-47A3-A1E7-DE29C1E63043}" srcOrd="0" destOrd="0" presId="urn:microsoft.com/office/officeart/2005/8/layout/list1"/>
    <dgm:cxn modelId="{2CC4E551-4521-4156-924D-9278A23DC721}" type="presParOf" srcId="{8892818C-DCC4-4D08-8FB3-314ADC736E22}" destId="{1C2D8924-ED2F-4356-8660-2FCC8554FCEB}" srcOrd="1" destOrd="0" presId="urn:microsoft.com/office/officeart/2005/8/layout/list1"/>
    <dgm:cxn modelId="{D8EF8C1F-DE98-4469-886A-97DEAEA73FD1}" type="presParOf" srcId="{08A429CB-56CE-4F88-A73A-5A148C08A9B4}" destId="{EE46F68F-6944-48A8-B6BE-401FD97F83D9}" srcOrd="1" destOrd="0" presId="urn:microsoft.com/office/officeart/2005/8/layout/list1"/>
    <dgm:cxn modelId="{7014A924-636F-4444-95DA-DCC56682D96C}" type="presParOf" srcId="{08A429CB-56CE-4F88-A73A-5A148C08A9B4}" destId="{86FA81D0-A037-4652-A68D-981EA680DAC2}" srcOrd="2" destOrd="0" presId="urn:microsoft.com/office/officeart/2005/8/layout/list1"/>
    <dgm:cxn modelId="{222D8754-A9BF-457D-AD5B-EA3F4DD28B78}" type="presParOf" srcId="{08A429CB-56CE-4F88-A73A-5A148C08A9B4}" destId="{2758085B-6E82-488E-997F-1CC7EAD5175B}" srcOrd="3" destOrd="0" presId="urn:microsoft.com/office/officeart/2005/8/layout/list1"/>
    <dgm:cxn modelId="{E35A48D7-603E-4B9B-91B0-13C7CDC337B6}" type="presParOf" srcId="{08A429CB-56CE-4F88-A73A-5A148C08A9B4}" destId="{A52084B7-0205-4CA0-93C5-F0F6768C224C}" srcOrd="4" destOrd="0" presId="urn:microsoft.com/office/officeart/2005/8/layout/list1"/>
    <dgm:cxn modelId="{82569218-E35D-4755-A1CC-548F8EE70EAB}" type="presParOf" srcId="{A52084B7-0205-4CA0-93C5-F0F6768C224C}" destId="{1314AC31-A806-473C-B065-42235D094FBC}" srcOrd="0" destOrd="0" presId="urn:microsoft.com/office/officeart/2005/8/layout/list1"/>
    <dgm:cxn modelId="{9B68BEC7-243B-4B9C-8EA9-C98A5AB6539E}" type="presParOf" srcId="{A52084B7-0205-4CA0-93C5-F0F6768C224C}" destId="{DCB1FBD3-0588-41C0-A000-D6EBA5B1CDC4}" srcOrd="1" destOrd="0" presId="urn:microsoft.com/office/officeart/2005/8/layout/list1"/>
    <dgm:cxn modelId="{2B977686-FABC-4DD4-90D1-E51B89A40AFF}" type="presParOf" srcId="{08A429CB-56CE-4F88-A73A-5A148C08A9B4}" destId="{0D925086-FA4E-4F7B-B8C0-4CD0C45E98B6}" srcOrd="5" destOrd="0" presId="urn:microsoft.com/office/officeart/2005/8/layout/list1"/>
    <dgm:cxn modelId="{A215926C-B1DE-4DC2-8B64-E3C2B46F5173}" type="presParOf" srcId="{08A429CB-56CE-4F88-A73A-5A148C08A9B4}" destId="{ADD9E0CF-43CF-4510-B329-CE464E591C68}" srcOrd="6" destOrd="0" presId="urn:microsoft.com/office/officeart/2005/8/layout/list1"/>
    <dgm:cxn modelId="{2EE931F4-CAB4-40AE-A6F9-4583B2229874}" type="presParOf" srcId="{08A429CB-56CE-4F88-A73A-5A148C08A9B4}" destId="{8B178CA5-9B87-4070-88F7-941ACD5467C2}" srcOrd="7" destOrd="0" presId="urn:microsoft.com/office/officeart/2005/8/layout/list1"/>
    <dgm:cxn modelId="{D3CA99B1-8DA3-4D90-B565-36A1EBBE5A1C}" type="presParOf" srcId="{08A429CB-56CE-4F88-A73A-5A148C08A9B4}" destId="{EB291482-FA57-46E3-92FF-3BCE11270125}" srcOrd="8" destOrd="0" presId="urn:microsoft.com/office/officeart/2005/8/layout/list1"/>
    <dgm:cxn modelId="{0ADA3C95-5507-41A6-94A5-D2B710B2196A}" type="presParOf" srcId="{EB291482-FA57-46E3-92FF-3BCE11270125}" destId="{F10B9DFA-10FB-4AFF-AA3C-200B70CE8737}" srcOrd="0" destOrd="0" presId="urn:microsoft.com/office/officeart/2005/8/layout/list1"/>
    <dgm:cxn modelId="{5FE30CF1-8740-422A-BBF4-C4660D1EFCEF}" type="presParOf" srcId="{EB291482-FA57-46E3-92FF-3BCE11270125}" destId="{D0E39218-E6E9-4A94-ADBE-96A0F62D8489}" srcOrd="1" destOrd="0" presId="urn:microsoft.com/office/officeart/2005/8/layout/list1"/>
    <dgm:cxn modelId="{BD41587E-5032-4953-B0CE-5A8FF54317DC}" type="presParOf" srcId="{08A429CB-56CE-4F88-A73A-5A148C08A9B4}" destId="{C22B7980-B379-4304-A324-EA93A0CD0750}" srcOrd="9" destOrd="0" presId="urn:microsoft.com/office/officeart/2005/8/layout/list1"/>
    <dgm:cxn modelId="{7C61EFDA-7026-4E68-9A02-4F197DE92F43}" type="presParOf" srcId="{08A429CB-56CE-4F88-A73A-5A148C08A9B4}" destId="{CD2F1BE6-06EF-4DAC-946D-95D3C77469E9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6FA81D0-A037-4652-A68D-981EA680DAC2}">
      <dsp:nvSpPr>
        <dsp:cNvPr id="0" name=""/>
        <dsp:cNvSpPr/>
      </dsp:nvSpPr>
      <dsp:spPr>
        <a:xfrm>
          <a:off x="0" y="172821"/>
          <a:ext cx="7833646" cy="1512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7978" tIns="499872" rIns="607978" bIns="14224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2000" kern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ежегодный прирост производительности труда на средних и крупных предприятиях базовых несырьевых отраслей экономики </a:t>
          </a:r>
          <a:endParaRPr lang="ru-RU" sz="2000" kern="1200" dirty="0"/>
        </a:p>
      </dsp:txBody>
      <dsp:txXfrm>
        <a:off x="0" y="172821"/>
        <a:ext cx="7833646" cy="1512000"/>
      </dsp:txXfrm>
    </dsp:sp>
    <dsp:sp modelId="{1C2D8924-ED2F-4356-8660-2FCC8554FCEB}">
      <dsp:nvSpPr>
        <dsp:cNvPr id="0" name=""/>
        <dsp:cNvSpPr/>
      </dsp:nvSpPr>
      <dsp:spPr>
        <a:xfrm>
          <a:off x="391682" y="20023"/>
          <a:ext cx="2139956" cy="507037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7265" tIns="0" rIns="207265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b="1" kern="1200" dirty="0"/>
            <a:t>5%</a:t>
          </a:r>
        </a:p>
      </dsp:txBody>
      <dsp:txXfrm>
        <a:off x="416434" y="44775"/>
        <a:ext cx="2090452" cy="457533"/>
      </dsp:txXfrm>
    </dsp:sp>
    <dsp:sp modelId="{ADD9E0CF-43CF-4510-B329-CE464E591C68}">
      <dsp:nvSpPr>
        <dsp:cNvPr id="0" name=""/>
        <dsp:cNvSpPr/>
      </dsp:nvSpPr>
      <dsp:spPr>
        <a:xfrm>
          <a:off x="0" y="1915989"/>
          <a:ext cx="7833646" cy="928396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7978" tIns="499872" rIns="607978" bIns="14224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2000" kern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предприятий-участников</a:t>
          </a:r>
          <a:endParaRPr lang="ru-RU" sz="2000" kern="1200" dirty="0"/>
        </a:p>
      </dsp:txBody>
      <dsp:txXfrm>
        <a:off x="0" y="1915989"/>
        <a:ext cx="7833646" cy="928396"/>
      </dsp:txXfrm>
    </dsp:sp>
    <dsp:sp modelId="{DCB1FBD3-0588-41C0-A000-D6EBA5B1CDC4}">
      <dsp:nvSpPr>
        <dsp:cNvPr id="0" name=""/>
        <dsp:cNvSpPr/>
      </dsp:nvSpPr>
      <dsp:spPr>
        <a:xfrm>
          <a:off x="391682" y="1814421"/>
          <a:ext cx="2045639" cy="455807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7265" tIns="0" rIns="207265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b="1" kern="1200" dirty="0"/>
            <a:t>10 000</a:t>
          </a:r>
        </a:p>
      </dsp:txBody>
      <dsp:txXfrm>
        <a:off x="413933" y="1836672"/>
        <a:ext cx="2001137" cy="411305"/>
      </dsp:txXfrm>
    </dsp:sp>
    <dsp:sp modelId="{CD2F1BE6-06EF-4DAC-946D-95D3C77469E9}">
      <dsp:nvSpPr>
        <dsp:cNvPr id="0" name=""/>
        <dsp:cNvSpPr/>
      </dsp:nvSpPr>
      <dsp:spPr>
        <a:xfrm>
          <a:off x="0" y="3049931"/>
          <a:ext cx="7833646" cy="9261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7978" tIns="499872" rIns="607978" bIns="14224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2000" kern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субъектов РФ </a:t>
          </a:r>
          <a:endParaRPr lang="ru-RU" sz="2000" kern="1200" dirty="0"/>
        </a:p>
      </dsp:txBody>
      <dsp:txXfrm>
        <a:off x="0" y="3049931"/>
        <a:ext cx="7833646" cy="926100"/>
      </dsp:txXfrm>
    </dsp:sp>
    <dsp:sp modelId="{D0E39218-E6E9-4A94-ADBE-96A0F62D8489}">
      <dsp:nvSpPr>
        <dsp:cNvPr id="0" name=""/>
        <dsp:cNvSpPr/>
      </dsp:nvSpPr>
      <dsp:spPr>
        <a:xfrm>
          <a:off x="391682" y="2973985"/>
          <a:ext cx="2024253" cy="415105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7265" tIns="0" rIns="207265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b="1" kern="1200" dirty="0"/>
            <a:t>85</a:t>
          </a:r>
        </a:p>
      </dsp:txBody>
      <dsp:txXfrm>
        <a:off x="411946" y="2994249"/>
        <a:ext cx="1983725" cy="37457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FBF1F0BC-44F1-403B-A0C2-2940A59F436B}" type="datetimeFigureOut">
              <a:rPr lang="ru-RU"/>
              <a:pPr>
                <a:defRPr/>
              </a:pPr>
              <a:t>11.02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90A28900-B483-4F9E-ABE4-63AC8ACE09B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87897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8ED2BD2A-0D7B-4CBD-B717-6438AEFC8B6C}" type="datetimeFigureOut">
              <a:rPr lang="ru-RU"/>
              <a:pPr>
                <a:defRPr/>
              </a:pPr>
              <a:t>11.02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D3C44EF1-BA2A-4711-9682-10147DCA456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923708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3C44EF1-BA2A-4711-9682-10147DCA456E}" type="slidenum">
              <a:rPr lang="ru-RU" smtClean="0"/>
              <a:pPr>
                <a:defRPr/>
              </a:pPr>
              <a:t>4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77167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3C44EF1-BA2A-4711-9682-10147DCA456E}" type="slidenum">
              <a:rPr lang="ru-RU" smtClean="0"/>
              <a:pPr>
                <a:defRPr/>
              </a:pPr>
              <a:t>6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58418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383" t="12453" r="-2" b="12623"/>
          <a:stretch/>
        </p:blipFill>
        <p:spPr bwMode="auto">
          <a:xfrm>
            <a:off x="5641975" y="5166"/>
            <a:ext cx="3502025" cy="5138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Рисунок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682" y="478466"/>
            <a:ext cx="3859213" cy="617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8844" y="637579"/>
            <a:ext cx="2808288" cy="297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402682" y="2560209"/>
            <a:ext cx="4924172" cy="3416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Tx/>
              <a:buNone/>
              <a:defRPr sz="1800" b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ru-RU" noProof="0" dirty="0"/>
              <a:t>Образец заголовка</a:t>
            </a:r>
          </a:p>
        </p:txBody>
      </p:sp>
      <p:sp>
        <p:nvSpPr>
          <p:cNvPr id="14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402682" y="3436144"/>
            <a:ext cx="4934070" cy="2347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cap="none" baseline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ru-RU" noProof="0" dirty="0"/>
              <a:t>Образец подзаголовка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02682" y="4650582"/>
            <a:ext cx="1944000" cy="273844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75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6" name="Прямоугольник 15"/>
          <p:cNvSpPr/>
          <p:nvPr userDrawn="1"/>
        </p:nvSpPr>
        <p:spPr>
          <a:xfrm>
            <a:off x="5554663" y="5166"/>
            <a:ext cx="87312" cy="5143500"/>
          </a:xfrm>
          <a:prstGeom prst="rect">
            <a:avLst/>
          </a:prstGeom>
          <a:solidFill>
            <a:srgbClr val="A9A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00A0D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16066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83889D-8CE8-48D9-92DB-97055B8D5AE0}" type="datetime1">
              <a:rPr lang="ru-RU" smtClean="0"/>
              <a:t>11.02.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3C34FD-A43B-634A-9B8C-9626670F7CE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77983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Заголовок и Конт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ru-RU" dirty="0"/>
              <a:t>Вставить сюда текст/таблицу/диаграмму/картинку/</a:t>
            </a:r>
            <a:r>
              <a:rPr lang="en-US" dirty="0"/>
              <a:t>SmartArt</a:t>
            </a:r>
          </a:p>
          <a:p>
            <a:pPr lvl="1"/>
            <a:r>
              <a:rPr lang="en-US" dirty="0"/>
              <a:t>Level 2</a:t>
            </a:r>
            <a:endParaRPr lang="ru-RU" dirty="0"/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0A0A9-CA88-4F23-B081-385A00694A70}" type="datetime1">
              <a:rPr lang="ru-RU" smtClean="0"/>
              <a:t>11.02.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3C34FD-A43B-634A-9B8C-9626670F7CE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05720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33" t="6989" b="17863"/>
          <a:stretch/>
        </p:blipFill>
        <p:spPr bwMode="auto">
          <a:xfrm>
            <a:off x="5567363" y="-10104"/>
            <a:ext cx="3576637" cy="5153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Рисунок 12">
            <a:extLst>
              <a:ext uri="{FF2B5EF4-FFF2-40B4-BE49-F238E27FC236}">
                <a16:creationId xmlns:a16="http://schemas.microsoft.com/office/drawing/2014/main" id="{27D5DF4E-AF1B-EB46-8B65-932C60C6A98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682" y="478466"/>
            <a:ext cx="3859213" cy="617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5567363" y="0"/>
            <a:ext cx="92075" cy="5143500"/>
          </a:xfrm>
          <a:prstGeom prst="rect">
            <a:avLst/>
          </a:prstGeom>
          <a:solidFill>
            <a:srgbClr val="00A0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00A0DC"/>
              </a:solidFill>
            </a:endParaRPr>
          </a:p>
        </p:txBody>
      </p:sp>
      <p:sp>
        <p:nvSpPr>
          <p:cNvPr id="22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402264" y="2563342"/>
            <a:ext cx="4864711" cy="3416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Tx/>
              <a:buNone/>
              <a:defRPr sz="1800" b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ru-RU" noProof="0" dirty="0"/>
              <a:t>Образец заголовка</a:t>
            </a:r>
          </a:p>
        </p:txBody>
      </p:sp>
      <p:sp>
        <p:nvSpPr>
          <p:cNvPr id="23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402264" y="3436144"/>
            <a:ext cx="4864711" cy="2347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cap="none" baseline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ru-RU" noProof="0" dirty="0"/>
              <a:t>Образец подзаголовка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10"/>
          </p:nvPr>
        </p:nvSpPr>
        <p:spPr>
          <a:xfrm>
            <a:off x="402263" y="4650582"/>
            <a:ext cx="2057400" cy="273844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75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pic>
        <p:nvPicPr>
          <p:cNvPr id="10" name="Picture 1">
            <a:extLst>
              <a:ext uri="{FF2B5EF4-FFF2-40B4-BE49-F238E27FC236}">
                <a16:creationId xmlns:a16="http://schemas.microsoft.com/office/drawing/2014/main" id="{F7D477FE-B47B-A94B-ABFB-36030AB5F53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8844" y="637579"/>
            <a:ext cx="2808288" cy="297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092767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9" y="114300"/>
            <a:ext cx="6091236" cy="438790"/>
          </a:xfrm>
        </p:spPr>
        <p:txBody>
          <a:bodyPr/>
          <a:lstStyle>
            <a:lvl1pPr>
              <a:defRPr sz="2400">
                <a:solidFill>
                  <a:srgbClr val="1E86C8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5289" y="627459"/>
            <a:ext cx="8335962" cy="4158853"/>
          </a:xfrm>
        </p:spPr>
        <p:txBody>
          <a:bodyPr anchor="ctr">
            <a:norm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ru-RU" sz="1200" kern="1200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1…………………………………………………………………………………………………………….. 1</a:t>
            </a: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2 …………………………………………………………………………………………………………... 2</a:t>
            </a: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3…………………………………………………………………………………………………………….. 3</a:t>
            </a: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4 ……………………………………………………………………………………………………………. 4</a:t>
            </a: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5 ……………………………………………………………………………………………………………. 5</a:t>
            </a: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6……………………………………………………………………………………………………………… 6</a:t>
            </a: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7 ……………………………………………………………………………………………………………. 7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F7D477FE-B47B-A94B-ABFB-36030AB5F5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7852" y="205858"/>
            <a:ext cx="2506098" cy="265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35739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9" y="114300"/>
            <a:ext cx="8329611" cy="436039"/>
          </a:xfrm>
        </p:spPr>
        <p:txBody>
          <a:bodyPr/>
          <a:lstStyle>
            <a:lvl1pPr>
              <a:defRPr sz="2400" b="0">
                <a:solidFill>
                  <a:srgbClr val="1E86C8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289" y="642152"/>
            <a:ext cx="8335962" cy="4150114"/>
          </a:xfrm>
        </p:spPr>
        <p:txBody>
          <a:bodyPr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rgbClr val="000000"/>
                </a:solidFill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2222339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1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383" t="12453" r="-2" b="12623"/>
          <a:stretch/>
        </p:blipFill>
        <p:spPr bwMode="auto">
          <a:xfrm>
            <a:off x="0" y="5166"/>
            <a:ext cx="3502025" cy="5138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3414713" y="0"/>
            <a:ext cx="87312" cy="5143500"/>
          </a:xfrm>
          <a:prstGeom prst="rect">
            <a:avLst/>
          </a:prstGeom>
          <a:solidFill>
            <a:srgbClr val="A9A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00A0DC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414713" y="0"/>
            <a:ext cx="87312" cy="5143500"/>
          </a:xfrm>
          <a:prstGeom prst="rect">
            <a:avLst/>
          </a:prstGeom>
          <a:solidFill>
            <a:srgbClr val="A9A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00A0DC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920" y="2571750"/>
            <a:ext cx="4799330" cy="321682"/>
          </a:xfrm>
        </p:spPr>
        <p:txBody>
          <a:bodyPr anchor="b"/>
          <a:lstStyle>
            <a:lvl1pPr>
              <a:defRPr sz="2400">
                <a:solidFill>
                  <a:srgbClr val="1E86C8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43703" y="3056709"/>
            <a:ext cx="4805010" cy="1729604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402376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с маркер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290" y="114301"/>
            <a:ext cx="8335961" cy="432197"/>
          </a:xfrm>
        </p:spPr>
        <p:txBody>
          <a:bodyPr/>
          <a:lstStyle>
            <a:lvl1pPr>
              <a:defRPr sz="2400">
                <a:solidFill>
                  <a:srgbClr val="1E86C8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4019" y="621712"/>
            <a:ext cx="8335962" cy="2082300"/>
          </a:xfrm>
        </p:spPr>
        <p:txBody>
          <a:bodyPr>
            <a:normAutofit/>
          </a:bodyPr>
          <a:lstStyle>
            <a:lvl1pPr marL="257175" indent="-257175" algn="l">
              <a:buFontTx/>
              <a:buBlip>
                <a:blip r:embed="rId2"/>
              </a:buBlip>
              <a:defRPr sz="1600"/>
            </a:lvl1pPr>
            <a:lvl2pPr marL="557213" marR="0" indent="-214313" algn="l" defTabSz="685800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200"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900113" indent="-214313" algn="l">
              <a:buFontTx/>
              <a:buBlip>
                <a:blip r:embed="rId2"/>
              </a:buBlip>
              <a:defRPr sz="1050"/>
            </a:lvl3pPr>
            <a:lvl4pPr marL="1243013" indent="-214313" algn="l">
              <a:buFontTx/>
              <a:buBlip>
                <a:blip r:embed="rId2"/>
              </a:buBlip>
              <a:defRPr sz="1000"/>
            </a:lvl4pPr>
            <a:lvl5pPr marL="1500188" indent="-128588" algn="l">
              <a:buFontTx/>
              <a:buBlip>
                <a:blip r:embed="rId2"/>
              </a:buBlip>
              <a:defRPr sz="9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 altLang="ru-RU" dirty="0"/>
              <a:t>Текст уровень 1</a:t>
            </a:r>
            <a:endParaRPr lang="en-US" altLang="ru-RU" dirty="0"/>
          </a:p>
          <a:p>
            <a:pPr lvl="1" fontAlgn="base">
              <a:spcAft>
                <a:spcPct val="0"/>
              </a:spcAft>
            </a:pPr>
            <a:r>
              <a:rPr lang="ru-RU" altLang="ru-RU" dirty="0"/>
              <a:t>Текст уровень 2</a:t>
            </a:r>
            <a:endParaRPr lang="en-US" altLang="ru-RU" dirty="0"/>
          </a:p>
          <a:p>
            <a:pPr lvl="2"/>
            <a:r>
              <a:rPr lang="ru-RU" altLang="ru-RU" dirty="0"/>
              <a:t>Текст уровень 3</a:t>
            </a:r>
            <a:endParaRPr lang="en-US" altLang="ru-RU" dirty="0"/>
          </a:p>
          <a:p>
            <a:pPr lvl="3"/>
            <a:r>
              <a:rPr lang="ru-RU" altLang="ru-RU" dirty="0"/>
              <a:t>Текст уровень 4</a:t>
            </a:r>
            <a:endParaRPr lang="en-US" altLang="ru-RU" dirty="0"/>
          </a:p>
          <a:p>
            <a:pPr lvl="4"/>
            <a:r>
              <a:rPr lang="ru-RU" altLang="ru-RU" dirty="0"/>
              <a:t>Текст уровень 5</a:t>
            </a:r>
            <a:endParaRPr lang="en-US" altLang="ru-RU" dirty="0"/>
          </a:p>
        </p:txBody>
      </p:sp>
      <p:sp>
        <p:nvSpPr>
          <p:cNvPr id="6" name="Text Placeholder 2"/>
          <p:cNvSpPr>
            <a:spLocks noGrp="1"/>
          </p:cNvSpPr>
          <p:nvPr>
            <p:ph idx="14"/>
          </p:nvPr>
        </p:nvSpPr>
        <p:spPr>
          <a:xfrm>
            <a:off x="395289" y="2704012"/>
            <a:ext cx="8353425" cy="2082300"/>
          </a:xfrm>
          <a:prstGeom prst="rect">
            <a:avLst/>
          </a:prstGeom>
        </p:spPr>
        <p:txBody>
          <a:bodyPr rtlCol="0">
            <a:normAutofit/>
          </a:bodyPr>
          <a:lstStyle>
            <a:lvl1pPr marL="257175" indent="-257175">
              <a:buClr>
                <a:srgbClr val="1E86C8"/>
              </a:buClr>
              <a:buFont typeface="+mj-lt"/>
              <a:buAutoNum type="arabicPeriod"/>
              <a:defRPr sz="160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600075" indent="-257175">
              <a:buClr>
                <a:srgbClr val="1E86C8"/>
              </a:buClr>
              <a:buFont typeface="+mj-lt"/>
              <a:buAutoNum type="arabicPeriod"/>
              <a:defRPr sz="1200"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857250" indent="-171450">
              <a:buClr>
                <a:srgbClr val="1E86C8"/>
              </a:buClr>
              <a:buFont typeface="+mj-lt"/>
              <a:buAutoNum type="arabicPeriod"/>
              <a:defRPr sz="1050"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marL="1200150" indent="-171450">
              <a:buClr>
                <a:srgbClr val="1E86C8"/>
              </a:buClr>
              <a:buFont typeface="+mj-lt"/>
              <a:buAutoNum type="arabicPeriod"/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marL="1543050" indent="-171450">
              <a:buClr>
                <a:srgbClr val="1E86C8"/>
              </a:buClr>
              <a:buFont typeface="+mj-lt"/>
              <a:buAutoNum type="arabicPeriod"/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20066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solidFill>
            <a:schemeClr val="bg1"/>
          </a:solidFill>
          <a:ln>
            <a:solidFill>
              <a:schemeClr val="bg1"/>
            </a:solidFill>
          </a:ln>
        </p:spPr>
        <p:txBody>
          <a:bodyPr/>
          <a:lstStyle>
            <a:lvl1pPr>
              <a:defRPr sz="2400">
                <a:solidFill>
                  <a:srgbClr val="1E86C8"/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 hasCustomPrompt="1"/>
          </p:nvPr>
        </p:nvSpPr>
        <p:spPr>
          <a:xfrm>
            <a:off x="395289" y="617220"/>
            <a:ext cx="4052615" cy="4169092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ru-RU" dirty="0"/>
              <a:t>Текст/таблица/диаграмма/</a:t>
            </a:r>
          </a:p>
          <a:p>
            <a:pPr lvl="0"/>
            <a:r>
              <a:rPr lang="ru-RU" dirty="0"/>
              <a:t>картинка/</a:t>
            </a:r>
            <a:r>
              <a:rPr lang="en-US" dirty="0"/>
              <a:t>SmartAr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1" hasCustomPrompt="1"/>
          </p:nvPr>
        </p:nvSpPr>
        <p:spPr>
          <a:xfrm>
            <a:off x="4715691" y="617220"/>
            <a:ext cx="4015558" cy="4169092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ru-RU" dirty="0"/>
              <a:t>Текст/таблица/диаграмма/</a:t>
            </a:r>
          </a:p>
          <a:p>
            <a:pPr lvl="0"/>
            <a:r>
              <a:rPr lang="ru-RU" dirty="0"/>
              <a:t>картинка/</a:t>
            </a:r>
            <a:r>
              <a:rPr lang="en-US" dirty="0"/>
              <a:t>SmartArt</a:t>
            </a:r>
          </a:p>
        </p:txBody>
      </p:sp>
    </p:spTree>
    <p:extLst>
      <p:ext uri="{BB962C8B-B14F-4D97-AF65-F5344CB8AC3E}">
        <p14:creationId xmlns:p14="http://schemas.microsoft.com/office/powerpoint/2010/main" val="3490975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solidFill>
            <a:schemeClr val="bg1"/>
          </a:solidFill>
          <a:ln>
            <a:solidFill>
              <a:schemeClr val="bg1"/>
            </a:solidFill>
          </a:ln>
        </p:spPr>
        <p:txBody>
          <a:bodyPr/>
          <a:lstStyle>
            <a:lvl1pPr>
              <a:defRPr sz="2400">
                <a:solidFill>
                  <a:srgbClr val="1E86C8"/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58937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63062A01-4F12-407D-80FA-EE90B9A97044}" type="datetime1">
              <a:rPr lang="ru-RU" smtClean="0"/>
              <a:t>11.02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797583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3" name="Рисунок 10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2706" y="4861177"/>
            <a:ext cx="651244" cy="165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95289" y="114301"/>
            <a:ext cx="8335961" cy="432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/>
              <a:t>Образец заголовка</a:t>
            </a:r>
            <a:endParaRPr lang="en-US" altLang="ru-RU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95289" y="641713"/>
            <a:ext cx="8335962" cy="4137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/>
              <a:t>Образец текста</a:t>
            </a:r>
          </a:p>
          <a:p>
            <a:pPr lvl="1"/>
            <a:r>
              <a:rPr lang="ru-RU" altLang="ru-RU" dirty="0"/>
              <a:t>Второй уровень</a:t>
            </a:r>
          </a:p>
          <a:p>
            <a:pPr lvl="2"/>
            <a:r>
              <a:rPr lang="ru-RU" altLang="ru-RU" dirty="0"/>
              <a:t>Третий уровень</a:t>
            </a:r>
          </a:p>
          <a:p>
            <a:pPr lvl="3"/>
            <a:r>
              <a:rPr lang="ru-RU" altLang="ru-RU" dirty="0"/>
              <a:t>Четвертый уровень</a:t>
            </a:r>
          </a:p>
          <a:p>
            <a:pPr lvl="4"/>
            <a:r>
              <a:rPr lang="ru-RU" altLang="ru-RU" dirty="0"/>
              <a:t>Пятый уровень</a:t>
            </a:r>
            <a:endParaRPr lang="en-US" altLang="ru-RU" dirty="0"/>
          </a:p>
        </p:txBody>
      </p:sp>
      <p:cxnSp>
        <p:nvCxnSpPr>
          <p:cNvPr id="7" name="Straight Connector 85">
            <a:extLst>
              <a:ext uri="{FF2B5EF4-FFF2-40B4-BE49-F238E27FC236}">
                <a16:creationId xmlns:a16="http://schemas.microsoft.com/office/drawing/2014/main" id="{3D514510-0222-4D1F-854C-9071A2FAA94C}"/>
              </a:ext>
            </a:extLst>
          </p:cNvPr>
          <p:cNvCxnSpPr>
            <a:cxnSpLocks/>
          </p:cNvCxnSpPr>
          <p:nvPr userDrawn="1"/>
        </p:nvCxnSpPr>
        <p:spPr>
          <a:xfrm>
            <a:off x="626301" y="4940820"/>
            <a:ext cx="7394013" cy="0"/>
          </a:xfrm>
          <a:prstGeom prst="line">
            <a:avLst/>
          </a:prstGeom>
          <a:ln w="6350">
            <a:solidFill>
              <a:srgbClr val="0186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">
            <a:extLst>
              <a:ext uri="{FF2B5EF4-FFF2-40B4-BE49-F238E27FC236}">
                <a16:creationId xmlns:a16="http://schemas.microsoft.com/office/drawing/2014/main" id="{EF5C1852-B2CB-4781-96AF-9949CD9C2F6A}"/>
              </a:ext>
            </a:extLst>
          </p:cNvPr>
          <p:cNvSpPr txBox="1">
            <a:spLocks/>
          </p:cNvSpPr>
          <p:nvPr/>
        </p:nvSpPr>
        <p:spPr bwMode="gray">
          <a:xfrm>
            <a:off x="403225" y="4897904"/>
            <a:ext cx="346075" cy="92333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45A4B01A-27D0-4DB5-A045-8D6724009A4B}" type="slidenum">
              <a:rPr lang="ru-RU" sz="600" smtClean="0">
                <a:solidFill>
                  <a:srgbClr val="0073C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600" dirty="0">
              <a:solidFill>
                <a:srgbClr val="0073CF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695" r:id="rId3"/>
    <p:sldLayoutId id="2147483703" r:id="rId4"/>
    <p:sldLayoutId id="2147483704" r:id="rId5"/>
    <p:sldLayoutId id="2147483696" r:id="rId6"/>
    <p:sldLayoutId id="2147483706" r:id="rId7"/>
    <p:sldLayoutId id="2147483707" r:id="rId8"/>
    <p:sldLayoutId id="2147483708" r:id="rId9"/>
    <p:sldLayoutId id="2147483709" r:id="rId10"/>
    <p:sldLayoutId id="2147483710" r:id="rId11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0" kern="1200">
          <a:solidFill>
            <a:srgbClr val="1E86C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342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685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102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titleStyle>
    <p:bodyStyle>
      <a:lvl1pPr algn="l" rtl="0" eaLnBrk="1" fontAlgn="base" hangingPunct="1">
        <a:lnSpc>
          <a:spcPct val="90000"/>
        </a:lnSpc>
        <a:spcBef>
          <a:spcPts val="750"/>
        </a:spcBef>
        <a:spcAft>
          <a:spcPct val="0"/>
        </a:spcAft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342900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defRPr sz="10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685800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defRPr sz="9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028700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defRPr sz="825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371600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defRPr sz="825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2" userDrawn="1">
          <p15:clr>
            <a:srgbClr val="F26B43"/>
          </p15:clr>
        </p15:guide>
        <p15:guide id="2" pos="5511" userDrawn="1">
          <p15:clr>
            <a:srgbClr val="F26B43"/>
          </p15:clr>
        </p15:guide>
        <p15:guide id="3" pos="249" userDrawn="1">
          <p15:clr>
            <a:srgbClr val="F26B43"/>
          </p15:clr>
        </p15:guide>
        <p15:guide id="4" orient="horz" pos="301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13" Type="http://schemas.openxmlformats.org/officeDocument/2006/relationships/image" Target="../media/image50.jpeg"/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12" Type="http://schemas.openxmlformats.org/officeDocument/2006/relationships/image" Target="../media/image49.pn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3.jpeg"/><Relationship Id="rId11" Type="http://schemas.openxmlformats.org/officeDocument/2006/relationships/image" Target="../media/image48.jpeg"/><Relationship Id="rId5" Type="http://schemas.openxmlformats.org/officeDocument/2006/relationships/image" Target="../media/image42.jpeg"/><Relationship Id="rId10" Type="http://schemas.openxmlformats.org/officeDocument/2006/relationships/image" Target="../media/image47.png"/><Relationship Id="rId4" Type="http://schemas.openxmlformats.org/officeDocument/2006/relationships/image" Target="../media/image41.png"/><Relationship Id="rId9" Type="http://schemas.openxmlformats.org/officeDocument/2006/relationships/image" Target="../media/image46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jpeg"/><Relationship Id="rId13" Type="http://schemas.openxmlformats.org/officeDocument/2006/relationships/image" Target="../media/image62.jpeg"/><Relationship Id="rId3" Type="http://schemas.openxmlformats.org/officeDocument/2006/relationships/image" Target="../media/image52.jpeg"/><Relationship Id="rId7" Type="http://schemas.openxmlformats.org/officeDocument/2006/relationships/image" Target="../media/image56.png"/><Relationship Id="rId12" Type="http://schemas.openxmlformats.org/officeDocument/2006/relationships/image" Target="../media/image61.jpe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55.png"/><Relationship Id="rId11" Type="http://schemas.openxmlformats.org/officeDocument/2006/relationships/image" Target="../media/image60.jpg"/><Relationship Id="rId5" Type="http://schemas.openxmlformats.org/officeDocument/2006/relationships/image" Target="../media/image54.png"/><Relationship Id="rId15" Type="http://schemas.openxmlformats.org/officeDocument/2006/relationships/image" Target="../media/image64.png"/><Relationship Id="rId10" Type="http://schemas.openxmlformats.org/officeDocument/2006/relationships/image" Target="../media/image59.png"/><Relationship Id="rId4" Type="http://schemas.openxmlformats.org/officeDocument/2006/relationships/image" Target="../media/image53.jpeg"/><Relationship Id="rId9" Type="http://schemas.openxmlformats.org/officeDocument/2006/relationships/image" Target="../media/image58.png"/><Relationship Id="rId14" Type="http://schemas.openxmlformats.org/officeDocument/2006/relationships/image" Target="../media/image63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image" Target="../media/image67.png"/><Relationship Id="rId7" Type="http://schemas.openxmlformats.org/officeDocument/2006/relationships/image" Target="../media/image71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0.png"/><Relationship Id="rId5" Type="http://schemas.openxmlformats.org/officeDocument/2006/relationships/image" Target="../media/image69.png"/><Relationship Id="rId4" Type="http://schemas.openxmlformats.org/officeDocument/2006/relationships/image" Target="../media/image68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image" Target="../media/image73.png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slideLayout" Target="../slideLayouts/slideLayout6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image" Target="../media/image7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7.jpeg"/></Relationships>
</file>

<file path=ppt/slides/_rels/slide18.xml.rels><?xml version="1.0" encoding="UTF-8" standalone="yes"?>
<Relationships xmlns="http://schemas.openxmlformats.org/package/2006/relationships"><Relationship Id="rId26" Type="http://schemas.openxmlformats.org/officeDocument/2006/relationships/tags" Target="../tags/tag50.xml"/><Relationship Id="rId21" Type="http://schemas.openxmlformats.org/officeDocument/2006/relationships/tags" Target="../tags/tag45.xml"/><Relationship Id="rId42" Type="http://schemas.openxmlformats.org/officeDocument/2006/relationships/tags" Target="../tags/tag66.xml"/><Relationship Id="rId47" Type="http://schemas.openxmlformats.org/officeDocument/2006/relationships/tags" Target="../tags/tag71.xml"/><Relationship Id="rId63" Type="http://schemas.openxmlformats.org/officeDocument/2006/relationships/tags" Target="../tags/tag87.xml"/><Relationship Id="rId68" Type="http://schemas.openxmlformats.org/officeDocument/2006/relationships/tags" Target="../tags/tag92.xml"/><Relationship Id="rId84" Type="http://schemas.openxmlformats.org/officeDocument/2006/relationships/tags" Target="../tags/tag108.xml"/><Relationship Id="rId89" Type="http://schemas.openxmlformats.org/officeDocument/2006/relationships/tags" Target="../tags/tag113.xml"/><Relationship Id="rId16" Type="http://schemas.openxmlformats.org/officeDocument/2006/relationships/tags" Target="../tags/tag40.xml"/><Relationship Id="rId11" Type="http://schemas.openxmlformats.org/officeDocument/2006/relationships/tags" Target="../tags/tag35.xml"/><Relationship Id="rId32" Type="http://schemas.openxmlformats.org/officeDocument/2006/relationships/tags" Target="../tags/tag56.xml"/><Relationship Id="rId37" Type="http://schemas.openxmlformats.org/officeDocument/2006/relationships/tags" Target="../tags/tag61.xml"/><Relationship Id="rId53" Type="http://schemas.openxmlformats.org/officeDocument/2006/relationships/tags" Target="../tags/tag77.xml"/><Relationship Id="rId58" Type="http://schemas.openxmlformats.org/officeDocument/2006/relationships/tags" Target="../tags/tag82.xml"/><Relationship Id="rId74" Type="http://schemas.openxmlformats.org/officeDocument/2006/relationships/tags" Target="../tags/tag98.xml"/><Relationship Id="rId79" Type="http://schemas.openxmlformats.org/officeDocument/2006/relationships/tags" Target="../tags/tag103.xml"/><Relationship Id="rId102" Type="http://schemas.openxmlformats.org/officeDocument/2006/relationships/tags" Target="../tags/tag126.xml"/><Relationship Id="rId5" Type="http://schemas.openxmlformats.org/officeDocument/2006/relationships/tags" Target="../tags/tag29.xml"/><Relationship Id="rId90" Type="http://schemas.openxmlformats.org/officeDocument/2006/relationships/tags" Target="../tags/tag114.xml"/><Relationship Id="rId95" Type="http://schemas.openxmlformats.org/officeDocument/2006/relationships/tags" Target="../tags/tag119.xml"/><Relationship Id="rId22" Type="http://schemas.openxmlformats.org/officeDocument/2006/relationships/tags" Target="../tags/tag46.xml"/><Relationship Id="rId27" Type="http://schemas.openxmlformats.org/officeDocument/2006/relationships/tags" Target="../tags/tag51.xml"/><Relationship Id="rId43" Type="http://schemas.openxmlformats.org/officeDocument/2006/relationships/tags" Target="../tags/tag67.xml"/><Relationship Id="rId48" Type="http://schemas.openxmlformats.org/officeDocument/2006/relationships/tags" Target="../tags/tag72.xml"/><Relationship Id="rId64" Type="http://schemas.openxmlformats.org/officeDocument/2006/relationships/tags" Target="../tags/tag88.xml"/><Relationship Id="rId69" Type="http://schemas.openxmlformats.org/officeDocument/2006/relationships/tags" Target="../tags/tag93.xml"/><Relationship Id="rId80" Type="http://schemas.openxmlformats.org/officeDocument/2006/relationships/tags" Target="../tags/tag104.xml"/><Relationship Id="rId85" Type="http://schemas.openxmlformats.org/officeDocument/2006/relationships/tags" Target="../tags/tag109.xml"/><Relationship Id="rId12" Type="http://schemas.openxmlformats.org/officeDocument/2006/relationships/tags" Target="../tags/tag36.xml"/><Relationship Id="rId17" Type="http://schemas.openxmlformats.org/officeDocument/2006/relationships/tags" Target="../tags/tag41.xml"/><Relationship Id="rId33" Type="http://schemas.openxmlformats.org/officeDocument/2006/relationships/tags" Target="../tags/tag57.xml"/><Relationship Id="rId38" Type="http://schemas.openxmlformats.org/officeDocument/2006/relationships/tags" Target="../tags/tag62.xml"/><Relationship Id="rId59" Type="http://schemas.openxmlformats.org/officeDocument/2006/relationships/tags" Target="../tags/tag83.xml"/><Relationship Id="rId103" Type="http://schemas.openxmlformats.org/officeDocument/2006/relationships/tags" Target="../tags/tag127.xml"/><Relationship Id="rId20" Type="http://schemas.openxmlformats.org/officeDocument/2006/relationships/tags" Target="../tags/tag44.xml"/><Relationship Id="rId41" Type="http://schemas.openxmlformats.org/officeDocument/2006/relationships/tags" Target="../tags/tag65.xml"/><Relationship Id="rId54" Type="http://schemas.openxmlformats.org/officeDocument/2006/relationships/tags" Target="../tags/tag78.xml"/><Relationship Id="rId62" Type="http://schemas.openxmlformats.org/officeDocument/2006/relationships/tags" Target="../tags/tag86.xml"/><Relationship Id="rId70" Type="http://schemas.openxmlformats.org/officeDocument/2006/relationships/tags" Target="../tags/tag94.xml"/><Relationship Id="rId75" Type="http://schemas.openxmlformats.org/officeDocument/2006/relationships/tags" Target="../tags/tag99.xml"/><Relationship Id="rId83" Type="http://schemas.openxmlformats.org/officeDocument/2006/relationships/tags" Target="../tags/tag107.xml"/><Relationship Id="rId88" Type="http://schemas.openxmlformats.org/officeDocument/2006/relationships/tags" Target="../tags/tag112.xml"/><Relationship Id="rId91" Type="http://schemas.openxmlformats.org/officeDocument/2006/relationships/tags" Target="../tags/tag115.xml"/><Relationship Id="rId96" Type="http://schemas.openxmlformats.org/officeDocument/2006/relationships/tags" Target="../tags/tag120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5" Type="http://schemas.openxmlformats.org/officeDocument/2006/relationships/tags" Target="../tags/tag39.xml"/><Relationship Id="rId23" Type="http://schemas.openxmlformats.org/officeDocument/2006/relationships/tags" Target="../tags/tag47.xml"/><Relationship Id="rId28" Type="http://schemas.openxmlformats.org/officeDocument/2006/relationships/tags" Target="../tags/tag52.xml"/><Relationship Id="rId36" Type="http://schemas.openxmlformats.org/officeDocument/2006/relationships/tags" Target="../tags/tag60.xml"/><Relationship Id="rId49" Type="http://schemas.openxmlformats.org/officeDocument/2006/relationships/tags" Target="../tags/tag73.xml"/><Relationship Id="rId57" Type="http://schemas.openxmlformats.org/officeDocument/2006/relationships/tags" Target="../tags/tag81.xml"/><Relationship Id="rId106" Type="http://schemas.openxmlformats.org/officeDocument/2006/relationships/slideLayout" Target="../slideLayouts/slideLayout7.xml"/><Relationship Id="rId10" Type="http://schemas.openxmlformats.org/officeDocument/2006/relationships/tags" Target="../tags/tag34.xml"/><Relationship Id="rId31" Type="http://schemas.openxmlformats.org/officeDocument/2006/relationships/tags" Target="../tags/tag55.xml"/><Relationship Id="rId44" Type="http://schemas.openxmlformats.org/officeDocument/2006/relationships/tags" Target="../tags/tag68.xml"/><Relationship Id="rId52" Type="http://schemas.openxmlformats.org/officeDocument/2006/relationships/tags" Target="../tags/tag76.xml"/><Relationship Id="rId60" Type="http://schemas.openxmlformats.org/officeDocument/2006/relationships/tags" Target="../tags/tag84.xml"/><Relationship Id="rId65" Type="http://schemas.openxmlformats.org/officeDocument/2006/relationships/tags" Target="../tags/tag89.xml"/><Relationship Id="rId73" Type="http://schemas.openxmlformats.org/officeDocument/2006/relationships/tags" Target="../tags/tag97.xml"/><Relationship Id="rId78" Type="http://schemas.openxmlformats.org/officeDocument/2006/relationships/tags" Target="../tags/tag102.xml"/><Relationship Id="rId81" Type="http://schemas.openxmlformats.org/officeDocument/2006/relationships/tags" Target="../tags/tag105.xml"/><Relationship Id="rId86" Type="http://schemas.openxmlformats.org/officeDocument/2006/relationships/tags" Target="../tags/tag110.xml"/><Relationship Id="rId94" Type="http://schemas.openxmlformats.org/officeDocument/2006/relationships/tags" Target="../tags/tag118.xml"/><Relationship Id="rId99" Type="http://schemas.openxmlformats.org/officeDocument/2006/relationships/tags" Target="../tags/tag123.xml"/><Relationship Id="rId101" Type="http://schemas.openxmlformats.org/officeDocument/2006/relationships/tags" Target="../tags/tag125.xml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3" Type="http://schemas.openxmlformats.org/officeDocument/2006/relationships/tags" Target="../tags/tag37.xml"/><Relationship Id="rId18" Type="http://schemas.openxmlformats.org/officeDocument/2006/relationships/tags" Target="../tags/tag42.xml"/><Relationship Id="rId39" Type="http://schemas.openxmlformats.org/officeDocument/2006/relationships/tags" Target="../tags/tag63.xml"/><Relationship Id="rId34" Type="http://schemas.openxmlformats.org/officeDocument/2006/relationships/tags" Target="../tags/tag58.xml"/><Relationship Id="rId50" Type="http://schemas.openxmlformats.org/officeDocument/2006/relationships/tags" Target="../tags/tag74.xml"/><Relationship Id="rId55" Type="http://schemas.openxmlformats.org/officeDocument/2006/relationships/tags" Target="../tags/tag79.xml"/><Relationship Id="rId76" Type="http://schemas.openxmlformats.org/officeDocument/2006/relationships/tags" Target="../tags/tag100.xml"/><Relationship Id="rId97" Type="http://schemas.openxmlformats.org/officeDocument/2006/relationships/tags" Target="../tags/tag121.xml"/><Relationship Id="rId104" Type="http://schemas.openxmlformats.org/officeDocument/2006/relationships/tags" Target="../tags/tag128.xml"/><Relationship Id="rId7" Type="http://schemas.openxmlformats.org/officeDocument/2006/relationships/tags" Target="../tags/tag31.xml"/><Relationship Id="rId71" Type="http://schemas.openxmlformats.org/officeDocument/2006/relationships/tags" Target="../tags/tag95.xml"/><Relationship Id="rId92" Type="http://schemas.openxmlformats.org/officeDocument/2006/relationships/tags" Target="../tags/tag116.xml"/><Relationship Id="rId2" Type="http://schemas.openxmlformats.org/officeDocument/2006/relationships/tags" Target="../tags/tag26.xml"/><Relationship Id="rId29" Type="http://schemas.openxmlformats.org/officeDocument/2006/relationships/tags" Target="../tags/tag53.xml"/><Relationship Id="rId24" Type="http://schemas.openxmlformats.org/officeDocument/2006/relationships/tags" Target="../tags/tag48.xml"/><Relationship Id="rId40" Type="http://schemas.openxmlformats.org/officeDocument/2006/relationships/tags" Target="../tags/tag64.xml"/><Relationship Id="rId45" Type="http://schemas.openxmlformats.org/officeDocument/2006/relationships/tags" Target="../tags/tag69.xml"/><Relationship Id="rId66" Type="http://schemas.openxmlformats.org/officeDocument/2006/relationships/tags" Target="../tags/tag90.xml"/><Relationship Id="rId87" Type="http://schemas.openxmlformats.org/officeDocument/2006/relationships/tags" Target="../tags/tag111.xml"/><Relationship Id="rId61" Type="http://schemas.openxmlformats.org/officeDocument/2006/relationships/tags" Target="../tags/tag85.xml"/><Relationship Id="rId82" Type="http://schemas.openxmlformats.org/officeDocument/2006/relationships/tags" Target="../tags/tag106.xml"/><Relationship Id="rId19" Type="http://schemas.openxmlformats.org/officeDocument/2006/relationships/tags" Target="../tags/tag43.xml"/><Relationship Id="rId14" Type="http://schemas.openxmlformats.org/officeDocument/2006/relationships/tags" Target="../tags/tag38.xml"/><Relationship Id="rId30" Type="http://schemas.openxmlformats.org/officeDocument/2006/relationships/tags" Target="../tags/tag54.xml"/><Relationship Id="rId35" Type="http://schemas.openxmlformats.org/officeDocument/2006/relationships/tags" Target="../tags/tag59.xml"/><Relationship Id="rId56" Type="http://schemas.openxmlformats.org/officeDocument/2006/relationships/tags" Target="../tags/tag80.xml"/><Relationship Id="rId77" Type="http://schemas.openxmlformats.org/officeDocument/2006/relationships/tags" Target="../tags/tag101.xml"/><Relationship Id="rId100" Type="http://schemas.openxmlformats.org/officeDocument/2006/relationships/tags" Target="../tags/tag124.xml"/><Relationship Id="rId105" Type="http://schemas.openxmlformats.org/officeDocument/2006/relationships/tags" Target="../tags/tag129.xml"/><Relationship Id="rId8" Type="http://schemas.openxmlformats.org/officeDocument/2006/relationships/tags" Target="../tags/tag32.xml"/><Relationship Id="rId51" Type="http://schemas.openxmlformats.org/officeDocument/2006/relationships/tags" Target="../tags/tag75.xml"/><Relationship Id="rId72" Type="http://schemas.openxmlformats.org/officeDocument/2006/relationships/tags" Target="../tags/tag96.xml"/><Relationship Id="rId93" Type="http://schemas.openxmlformats.org/officeDocument/2006/relationships/tags" Target="../tags/tag117.xml"/><Relationship Id="rId98" Type="http://schemas.openxmlformats.org/officeDocument/2006/relationships/tags" Target="../tags/tag122.xml"/><Relationship Id="rId3" Type="http://schemas.openxmlformats.org/officeDocument/2006/relationships/tags" Target="../tags/tag27.xml"/><Relationship Id="rId25" Type="http://schemas.openxmlformats.org/officeDocument/2006/relationships/tags" Target="../tags/tag49.xml"/><Relationship Id="rId46" Type="http://schemas.openxmlformats.org/officeDocument/2006/relationships/tags" Target="../tags/tag70.xml"/><Relationship Id="rId67" Type="http://schemas.openxmlformats.org/officeDocument/2006/relationships/tags" Target="../tags/tag91.xml"/></Relationships>
</file>

<file path=ppt/slides/_rels/slide19.xml.rels><?xml version="1.0" encoding="UTF-8" standalone="yes"?>
<Relationships xmlns="http://schemas.openxmlformats.org/package/2006/relationships"><Relationship Id="rId26" Type="http://schemas.openxmlformats.org/officeDocument/2006/relationships/tags" Target="../tags/tag155.xml"/><Relationship Id="rId21" Type="http://schemas.openxmlformats.org/officeDocument/2006/relationships/tags" Target="../tags/tag150.xml"/><Relationship Id="rId42" Type="http://schemas.openxmlformats.org/officeDocument/2006/relationships/tags" Target="../tags/tag171.xml"/><Relationship Id="rId47" Type="http://schemas.openxmlformats.org/officeDocument/2006/relationships/tags" Target="../tags/tag176.xml"/><Relationship Id="rId63" Type="http://schemas.openxmlformats.org/officeDocument/2006/relationships/tags" Target="../tags/tag192.xml"/><Relationship Id="rId68" Type="http://schemas.openxmlformats.org/officeDocument/2006/relationships/tags" Target="../tags/tag197.xml"/><Relationship Id="rId84" Type="http://schemas.openxmlformats.org/officeDocument/2006/relationships/tags" Target="../tags/tag213.xml"/><Relationship Id="rId89" Type="http://schemas.openxmlformats.org/officeDocument/2006/relationships/tags" Target="../tags/tag218.xml"/><Relationship Id="rId16" Type="http://schemas.openxmlformats.org/officeDocument/2006/relationships/tags" Target="../tags/tag145.xml"/><Relationship Id="rId11" Type="http://schemas.openxmlformats.org/officeDocument/2006/relationships/tags" Target="../tags/tag140.xml"/><Relationship Id="rId32" Type="http://schemas.openxmlformats.org/officeDocument/2006/relationships/tags" Target="../tags/tag161.xml"/><Relationship Id="rId37" Type="http://schemas.openxmlformats.org/officeDocument/2006/relationships/tags" Target="../tags/tag166.xml"/><Relationship Id="rId53" Type="http://schemas.openxmlformats.org/officeDocument/2006/relationships/tags" Target="../tags/tag182.xml"/><Relationship Id="rId58" Type="http://schemas.openxmlformats.org/officeDocument/2006/relationships/tags" Target="../tags/tag187.xml"/><Relationship Id="rId74" Type="http://schemas.openxmlformats.org/officeDocument/2006/relationships/tags" Target="../tags/tag203.xml"/><Relationship Id="rId79" Type="http://schemas.openxmlformats.org/officeDocument/2006/relationships/tags" Target="../tags/tag208.xml"/><Relationship Id="rId102" Type="http://schemas.openxmlformats.org/officeDocument/2006/relationships/tags" Target="../tags/tag231.xml"/><Relationship Id="rId5" Type="http://schemas.openxmlformats.org/officeDocument/2006/relationships/tags" Target="../tags/tag134.xml"/><Relationship Id="rId90" Type="http://schemas.openxmlformats.org/officeDocument/2006/relationships/tags" Target="../tags/tag219.xml"/><Relationship Id="rId95" Type="http://schemas.openxmlformats.org/officeDocument/2006/relationships/tags" Target="../tags/tag224.xml"/><Relationship Id="rId22" Type="http://schemas.openxmlformats.org/officeDocument/2006/relationships/tags" Target="../tags/tag151.xml"/><Relationship Id="rId27" Type="http://schemas.openxmlformats.org/officeDocument/2006/relationships/tags" Target="../tags/tag156.xml"/><Relationship Id="rId43" Type="http://schemas.openxmlformats.org/officeDocument/2006/relationships/tags" Target="../tags/tag172.xml"/><Relationship Id="rId48" Type="http://schemas.openxmlformats.org/officeDocument/2006/relationships/tags" Target="../tags/tag177.xml"/><Relationship Id="rId64" Type="http://schemas.openxmlformats.org/officeDocument/2006/relationships/tags" Target="../tags/tag193.xml"/><Relationship Id="rId69" Type="http://schemas.openxmlformats.org/officeDocument/2006/relationships/tags" Target="../tags/tag198.xml"/><Relationship Id="rId80" Type="http://schemas.openxmlformats.org/officeDocument/2006/relationships/tags" Target="../tags/tag209.xml"/><Relationship Id="rId85" Type="http://schemas.openxmlformats.org/officeDocument/2006/relationships/tags" Target="../tags/tag214.xml"/><Relationship Id="rId12" Type="http://schemas.openxmlformats.org/officeDocument/2006/relationships/tags" Target="../tags/tag141.xml"/><Relationship Id="rId17" Type="http://schemas.openxmlformats.org/officeDocument/2006/relationships/tags" Target="../tags/tag146.xml"/><Relationship Id="rId33" Type="http://schemas.openxmlformats.org/officeDocument/2006/relationships/tags" Target="../tags/tag162.xml"/><Relationship Id="rId38" Type="http://schemas.openxmlformats.org/officeDocument/2006/relationships/tags" Target="../tags/tag167.xml"/><Relationship Id="rId59" Type="http://schemas.openxmlformats.org/officeDocument/2006/relationships/tags" Target="../tags/tag188.xml"/><Relationship Id="rId103" Type="http://schemas.openxmlformats.org/officeDocument/2006/relationships/tags" Target="../tags/tag232.xml"/><Relationship Id="rId20" Type="http://schemas.openxmlformats.org/officeDocument/2006/relationships/tags" Target="../tags/tag149.xml"/><Relationship Id="rId41" Type="http://schemas.openxmlformats.org/officeDocument/2006/relationships/tags" Target="../tags/tag170.xml"/><Relationship Id="rId54" Type="http://schemas.openxmlformats.org/officeDocument/2006/relationships/tags" Target="../tags/tag183.xml"/><Relationship Id="rId62" Type="http://schemas.openxmlformats.org/officeDocument/2006/relationships/tags" Target="../tags/tag191.xml"/><Relationship Id="rId70" Type="http://schemas.openxmlformats.org/officeDocument/2006/relationships/tags" Target="../tags/tag199.xml"/><Relationship Id="rId75" Type="http://schemas.openxmlformats.org/officeDocument/2006/relationships/tags" Target="../tags/tag204.xml"/><Relationship Id="rId83" Type="http://schemas.openxmlformats.org/officeDocument/2006/relationships/tags" Target="../tags/tag212.xml"/><Relationship Id="rId88" Type="http://schemas.openxmlformats.org/officeDocument/2006/relationships/tags" Target="../tags/tag217.xml"/><Relationship Id="rId91" Type="http://schemas.openxmlformats.org/officeDocument/2006/relationships/tags" Target="../tags/tag220.xml"/><Relationship Id="rId96" Type="http://schemas.openxmlformats.org/officeDocument/2006/relationships/tags" Target="../tags/tag225.xml"/><Relationship Id="rId1" Type="http://schemas.openxmlformats.org/officeDocument/2006/relationships/tags" Target="../tags/tag130.xml"/><Relationship Id="rId6" Type="http://schemas.openxmlformats.org/officeDocument/2006/relationships/tags" Target="../tags/tag135.xml"/><Relationship Id="rId15" Type="http://schemas.openxmlformats.org/officeDocument/2006/relationships/tags" Target="../tags/tag144.xml"/><Relationship Id="rId23" Type="http://schemas.openxmlformats.org/officeDocument/2006/relationships/tags" Target="../tags/tag152.xml"/><Relationship Id="rId28" Type="http://schemas.openxmlformats.org/officeDocument/2006/relationships/tags" Target="../tags/tag157.xml"/><Relationship Id="rId36" Type="http://schemas.openxmlformats.org/officeDocument/2006/relationships/tags" Target="../tags/tag165.xml"/><Relationship Id="rId49" Type="http://schemas.openxmlformats.org/officeDocument/2006/relationships/tags" Target="../tags/tag178.xml"/><Relationship Id="rId57" Type="http://schemas.openxmlformats.org/officeDocument/2006/relationships/tags" Target="../tags/tag186.xml"/><Relationship Id="rId106" Type="http://schemas.openxmlformats.org/officeDocument/2006/relationships/slideLayout" Target="../slideLayouts/slideLayout7.xml"/><Relationship Id="rId10" Type="http://schemas.openxmlformats.org/officeDocument/2006/relationships/tags" Target="../tags/tag139.xml"/><Relationship Id="rId31" Type="http://schemas.openxmlformats.org/officeDocument/2006/relationships/tags" Target="../tags/tag160.xml"/><Relationship Id="rId44" Type="http://schemas.openxmlformats.org/officeDocument/2006/relationships/tags" Target="../tags/tag173.xml"/><Relationship Id="rId52" Type="http://schemas.openxmlformats.org/officeDocument/2006/relationships/tags" Target="../tags/tag181.xml"/><Relationship Id="rId60" Type="http://schemas.openxmlformats.org/officeDocument/2006/relationships/tags" Target="../tags/tag189.xml"/><Relationship Id="rId65" Type="http://schemas.openxmlformats.org/officeDocument/2006/relationships/tags" Target="../tags/tag194.xml"/><Relationship Id="rId73" Type="http://schemas.openxmlformats.org/officeDocument/2006/relationships/tags" Target="../tags/tag202.xml"/><Relationship Id="rId78" Type="http://schemas.openxmlformats.org/officeDocument/2006/relationships/tags" Target="../tags/tag207.xml"/><Relationship Id="rId81" Type="http://schemas.openxmlformats.org/officeDocument/2006/relationships/tags" Target="../tags/tag210.xml"/><Relationship Id="rId86" Type="http://schemas.openxmlformats.org/officeDocument/2006/relationships/tags" Target="../tags/tag215.xml"/><Relationship Id="rId94" Type="http://schemas.openxmlformats.org/officeDocument/2006/relationships/tags" Target="../tags/tag223.xml"/><Relationship Id="rId99" Type="http://schemas.openxmlformats.org/officeDocument/2006/relationships/tags" Target="../tags/tag228.xml"/><Relationship Id="rId101" Type="http://schemas.openxmlformats.org/officeDocument/2006/relationships/tags" Target="../tags/tag230.xml"/><Relationship Id="rId4" Type="http://schemas.openxmlformats.org/officeDocument/2006/relationships/tags" Target="../tags/tag133.xml"/><Relationship Id="rId9" Type="http://schemas.openxmlformats.org/officeDocument/2006/relationships/tags" Target="../tags/tag138.xml"/><Relationship Id="rId13" Type="http://schemas.openxmlformats.org/officeDocument/2006/relationships/tags" Target="../tags/tag142.xml"/><Relationship Id="rId18" Type="http://schemas.openxmlformats.org/officeDocument/2006/relationships/tags" Target="../tags/tag147.xml"/><Relationship Id="rId39" Type="http://schemas.openxmlformats.org/officeDocument/2006/relationships/tags" Target="../tags/tag168.xml"/><Relationship Id="rId34" Type="http://schemas.openxmlformats.org/officeDocument/2006/relationships/tags" Target="../tags/tag163.xml"/><Relationship Id="rId50" Type="http://schemas.openxmlformats.org/officeDocument/2006/relationships/tags" Target="../tags/tag179.xml"/><Relationship Id="rId55" Type="http://schemas.openxmlformats.org/officeDocument/2006/relationships/tags" Target="../tags/tag184.xml"/><Relationship Id="rId76" Type="http://schemas.openxmlformats.org/officeDocument/2006/relationships/tags" Target="../tags/tag205.xml"/><Relationship Id="rId97" Type="http://schemas.openxmlformats.org/officeDocument/2006/relationships/tags" Target="../tags/tag226.xml"/><Relationship Id="rId104" Type="http://schemas.openxmlformats.org/officeDocument/2006/relationships/tags" Target="../tags/tag233.xml"/><Relationship Id="rId7" Type="http://schemas.openxmlformats.org/officeDocument/2006/relationships/tags" Target="../tags/tag136.xml"/><Relationship Id="rId71" Type="http://schemas.openxmlformats.org/officeDocument/2006/relationships/tags" Target="../tags/tag200.xml"/><Relationship Id="rId92" Type="http://schemas.openxmlformats.org/officeDocument/2006/relationships/tags" Target="../tags/tag221.xml"/><Relationship Id="rId2" Type="http://schemas.openxmlformats.org/officeDocument/2006/relationships/tags" Target="../tags/tag131.xml"/><Relationship Id="rId29" Type="http://schemas.openxmlformats.org/officeDocument/2006/relationships/tags" Target="../tags/tag158.xml"/><Relationship Id="rId24" Type="http://schemas.openxmlformats.org/officeDocument/2006/relationships/tags" Target="../tags/tag153.xml"/><Relationship Id="rId40" Type="http://schemas.openxmlformats.org/officeDocument/2006/relationships/tags" Target="../tags/tag169.xml"/><Relationship Id="rId45" Type="http://schemas.openxmlformats.org/officeDocument/2006/relationships/tags" Target="../tags/tag174.xml"/><Relationship Id="rId66" Type="http://schemas.openxmlformats.org/officeDocument/2006/relationships/tags" Target="../tags/tag195.xml"/><Relationship Id="rId87" Type="http://schemas.openxmlformats.org/officeDocument/2006/relationships/tags" Target="../tags/tag216.xml"/><Relationship Id="rId61" Type="http://schemas.openxmlformats.org/officeDocument/2006/relationships/tags" Target="../tags/tag190.xml"/><Relationship Id="rId82" Type="http://schemas.openxmlformats.org/officeDocument/2006/relationships/tags" Target="../tags/tag211.xml"/><Relationship Id="rId19" Type="http://schemas.openxmlformats.org/officeDocument/2006/relationships/tags" Target="../tags/tag148.xml"/><Relationship Id="rId14" Type="http://schemas.openxmlformats.org/officeDocument/2006/relationships/tags" Target="../tags/tag143.xml"/><Relationship Id="rId30" Type="http://schemas.openxmlformats.org/officeDocument/2006/relationships/tags" Target="../tags/tag159.xml"/><Relationship Id="rId35" Type="http://schemas.openxmlformats.org/officeDocument/2006/relationships/tags" Target="../tags/tag164.xml"/><Relationship Id="rId56" Type="http://schemas.openxmlformats.org/officeDocument/2006/relationships/tags" Target="../tags/tag185.xml"/><Relationship Id="rId77" Type="http://schemas.openxmlformats.org/officeDocument/2006/relationships/tags" Target="../tags/tag206.xml"/><Relationship Id="rId100" Type="http://schemas.openxmlformats.org/officeDocument/2006/relationships/tags" Target="../tags/tag229.xml"/><Relationship Id="rId105" Type="http://schemas.openxmlformats.org/officeDocument/2006/relationships/tags" Target="../tags/tag234.xml"/><Relationship Id="rId8" Type="http://schemas.openxmlformats.org/officeDocument/2006/relationships/tags" Target="../tags/tag137.xml"/><Relationship Id="rId51" Type="http://schemas.openxmlformats.org/officeDocument/2006/relationships/tags" Target="../tags/tag180.xml"/><Relationship Id="rId72" Type="http://schemas.openxmlformats.org/officeDocument/2006/relationships/tags" Target="../tags/tag201.xml"/><Relationship Id="rId93" Type="http://schemas.openxmlformats.org/officeDocument/2006/relationships/tags" Target="../tags/tag222.xml"/><Relationship Id="rId98" Type="http://schemas.openxmlformats.org/officeDocument/2006/relationships/tags" Target="../tags/tag227.xml"/><Relationship Id="rId3" Type="http://schemas.openxmlformats.org/officeDocument/2006/relationships/tags" Target="../tags/tag132.xml"/><Relationship Id="rId25" Type="http://schemas.openxmlformats.org/officeDocument/2006/relationships/tags" Target="../tags/tag154.xml"/><Relationship Id="rId46" Type="http://schemas.openxmlformats.org/officeDocument/2006/relationships/tags" Target="../tags/tag175.xml"/><Relationship Id="rId67" Type="http://schemas.openxmlformats.org/officeDocument/2006/relationships/tags" Target="../tags/tag19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18" Type="http://schemas.openxmlformats.org/officeDocument/2006/relationships/image" Target="../media/image21.png"/><Relationship Id="rId3" Type="http://schemas.openxmlformats.org/officeDocument/2006/relationships/chart" Target="../charts/chart1.xml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17" Type="http://schemas.openxmlformats.org/officeDocument/2006/relationships/image" Target="../media/image20.png"/><Relationship Id="rId2" Type="http://schemas.openxmlformats.org/officeDocument/2006/relationships/hyperlink" Target="https://stats.oecd.org/index.aspx?queryid=54563" TargetMode="External"/><Relationship Id="rId16" Type="http://schemas.openxmlformats.org/officeDocument/2006/relationships/image" Target="../media/image19.png"/><Relationship Id="rId20" Type="http://schemas.openxmlformats.org/officeDocument/2006/relationships/image" Target="../media/image2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5" Type="http://schemas.openxmlformats.org/officeDocument/2006/relationships/image" Target="../media/image18.png"/><Relationship Id="rId10" Type="http://schemas.openxmlformats.org/officeDocument/2006/relationships/image" Target="../media/image13.png"/><Relationship Id="rId19" Type="http://schemas.openxmlformats.org/officeDocument/2006/relationships/image" Target="../media/image22.png"/><Relationship Id="rId4" Type="http://schemas.openxmlformats.org/officeDocument/2006/relationships/image" Target="../media/image7.png"/><Relationship Id="rId9" Type="http://schemas.openxmlformats.org/officeDocument/2006/relationships/image" Target="../media/image12.png"/><Relationship Id="rId14" Type="http://schemas.openxmlformats.org/officeDocument/2006/relationships/image" Target="../media/image17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81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jpeg"/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26" Type="http://schemas.openxmlformats.org/officeDocument/2006/relationships/tags" Target="../tags/tag260.xml"/><Relationship Id="rId21" Type="http://schemas.openxmlformats.org/officeDocument/2006/relationships/tags" Target="../tags/tag255.xml"/><Relationship Id="rId42" Type="http://schemas.openxmlformats.org/officeDocument/2006/relationships/tags" Target="../tags/tag276.xml"/><Relationship Id="rId47" Type="http://schemas.openxmlformats.org/officeDocument/2006/relationships/tags" Target="../tags/tag281.xml"/><Relationship Id="rId63" Type="http://schemas.openxmlformats.org/officeDocument/2006/relationships/tags" Target="../tags/tag297.xml"/><Relationship Id="rId68" Type="http://schemas.openxmlformats.org/officeDocument/2006/relationships/tags" Target="../tags/tag302.xml"/><Relationship Id="rId84" Type="http://schemas.openxmlformats.org/officeDocument/2006/relationships/tags" Target="../tags/tag318.xml"/><Relationship Id="rId89" Type="http://schemas.openxmlformats.org/officeDocument/2006/relationships/tags" Target="../tags/tag323.xml"/><Relationship Id="rId16" Type="http://schemas.openxmlformats.org/officeDocument/2006/relationships/tags" Target="../tags/tag250.xml"/><Relationship Id="rId11" Type="http://schemas.openxmlformats.org/officeDocument/2006/relationships/tags" Target="../tags/tag245.xml"/><Relationship Id="rId32" Type="http://schemas.openxmlformats.org/officeDocument/2006/relationships/tags" Target="../tags/tag266.xml"/><Relationship Id="rId37" Type="http://schemas.openxmlformats.org/officeDocument/2006/relationships/tags" Target="../tags/tag271.xml"/><Relationship Id="rId53" Type="http://schemas.openxmlformats.org/officeDocument/2006/relationships/tags" Target="../tags/tag287.xml"/><Relationship Id="rId58" Type="http://schemas.openxmlformats.org/officeDocument/2006/relationships/tags" Target="../tags/tag292.xml"/><Relationship Id="rId74" Type="http://schemas.openxmlformats.org/officeDocument/2006/relationships/tags" Target="../tags/tag308.xml"/><Relationship Id="rId79" Type="http://schemas.openxmlformats.org/officeDocument/2006/relationships/tags" Target="../tags/tag313.xml"/><Relationship Id="rId102" Type="http://schemas.openxmlformats.org/officeDocument/2006/relationships/tags" Target="../tags/tag336.xml"/><Relationship Id="rId5" Type="http://schemas.openxmlformats.org/officeDocument/2006/relationships/tags" Target="../tags/tag239.xml"/><Relationship Id="rId90" Type="http://schemas.openxmlformats.org/officeDocument/2006/relationships/tags" Target="../tags/tag324.xml"/><Relationship Id="rId95" Type="http://schemas.openxmlformats.org/officeDocument/2006/relationships/tags" Target="../tags/tag329.xml"/><Relationship Id="rId22" Type="http://schemas.openxmlformats.org/officeDocument/2006/relationships/tags" Target="../tags/tag256.xml"/><Relationship Id="rId27" Type="http://schemas.openxmlformats.org/officeDocument/2006/relationships/tags" Target="../tags/tag261.xml"/><Relationship Id="rId43" Type="http://schemas.openxmlformats.org/officeDocument/2006/relationships/tags" Target="../tags/tag277.xml"/><Relationship Id="rId48" Type="http://schemas.openxmlformats.org/officeDocument/2006/relationships/tags" Target="../tags/tag282.xml"/><Relationship Id="rId64" Type="http://schemas.openxmlformats.org/officeDocument/2006/relationships/tags" Target="../tags/tag298.xml"/><Relationship Id="rId69" Type="http://schemas.openxmlformats.org/officeDocument/2006/relationships/tags" Target="../tags/tag303.xml"/><Relationship Id="rId80" Type="http://schemas.openxmlformats.org/officeDocument/2006/relationships/tags" Target="../tags/tag314.xml"/><Relationship Id="rId85" Type="http://schemas.openxmlformats.org/officeDocument/2006/relationships/tags" Target="../tags/tag319.xml"/><Relationship Id="rId12" Type="http://schemas.openxmlformats.org/officeDocument/2006/relationships/tags" Target="../tags/tag246.xml"/><Relationship Id="rId17" Type="http://schemas.openxmlformats.org/officeDocument/2006/relationships/tags" Target="../tags/tag251.xml"/><Relationship Id="rId33" Type="http://schemas.openxmlformats.org/officeDocument/2006/relationships/tags" Target="../tags/tag267.xml"/><Relationship Id="rId38" Type="http://schemas.openxmlformats.org/officeDocument/2006/relationships/tags" Target="../tags/tag272.xml"/><Relationship Id="rId59" Type="http://schemas.openxmlformats.org/officeDocument/2006/relationships/tags" Target="../tags/tag293.xml"/><Relationship Id="rId103" Type="http://schemas.openxmlformats.org/officeDocument/2006/relationships/tags" Target="../tags/tag337.xml"/><Relationship Id="rId20" Type="http://schemas.openxmlformats.org/officeDocument/2006/relationships/tags" Target="../tags/tag254.xml"/><Relationship Id="rId41" Type="http://schemas.openxmlformats.org/officeDocument/2006/relationships/tags" Target="../tags/tag275.xml"/><Relationship Id="rId54" Type="http://schemas.openxmlformats.org/officeDocument/2006/relationships/tags" Target="../tags/tag288.xml"/><Relationship Id="rId62" Type="http://schemas.openxmlformats.org/officeDocument/2006/relationships/tags" Target="../tags/tag296.xml"/><Relationship Id="rId70" Type="http://schemas.openxmlformats.org/officeDocument/2006/relationships/tags" Target="../tags/tag304.xml"/><Relationship Id="rId75" Type="http://schemas.openxmlformats.org/officeDocument/2006/relationships/tags" Target="../tags/tag309.xml"/><Relationship Id="rId83" Type="http://schemas.openxmlformats.org/officeDocument/2006/relationships/tags" Target="../tags/tag317.xml"/><Relationship Id="rId88" Type="http://schemas.openxmlformats.org/officeDocument/2006/relationships/tags" Target="../tags/tag322.xml"/><Relationship Id="rId91" Type="http://schemas.openxmlformats.org/officeDocument/2006/relationships/tags" Target="../tags/tag325.xml"/><Relationship Id="rId96" Type="http://schemas.openxmlformats.org/officeDocument/2006/relationships/tags" Target="../tags/tag330.xml"/><Relationship Id="rId1" Type="http://schemas.openxmlformats.org/officeDocument/2006/relationships/tags" Target="../tags/tag235.xml"/><Relationship Id="rId6" Type="http://schemas.openxmlformats.org/officeDocument/2006/relationships/tags" Target="../tags/tag240.xml"/><Relationship Id="rId15" Type="http://schemas.openxmlformats.org/officeDocument/2006/relationships/tags" Target="../tags/tag249.xml"/><Relationship Id="rId23" Type="http://schemas.openxmlformats.org/officeDocument/2006/relationships/tags" Target="../tags/tag257.xml"/><Relationship Id="rId28" Type="http://schemas.openxmlformats.org/officeDocument/2006/relationships/tags" Target="../tags/tag262.xml"/><Relationship Id="rId36" Type="http://schemas.openxmlformats.org/officeDocument/2006/relationships/tags" Target="../tags/tag270.xml"/><Relationship Id="rId49" Type="http://schemas.openxmlformats.org/officeDocument/2006/relationships/tags" Target="../tags/tag283.xml"/><Relationship Id="rId57" Type="http://schemas.openxmlformats.org/officeDocument/2006/relationships/tags" Target="../tags/tag291.xml"/><Relationship Id="rId106" Type="http://schemas.openxmlformats.org/officeDocument/2006/relationships/slideLayout" Target="../slideLayouts/slideLayout7.xml"/><Relationship Id="rId10" Type="http://schemas.openxmlformats.org/officeDocument/2006/relationships/tags" Target="../tags/tag244.xml"/><Relationship Id="rId31" Type="http://schemas.openxmlformats.org/officeDocument/2006/relationships/tags" Target="../tags/tag265.xml"/><Relationship Id="rId44" Type="http://schemas.openxmlformats.org/officeDocument/2006/relationships/tags" Target="../tags/tag278.xml"/><Relationship Id="rId52" Type="http://schemas.openxmlformats.org/officeDocument/2006/relationships/tags" Target="../tags/tag286.xml"/><Relationship Id="rId60" Type="http://schemas.openxmlformats.org/officeDocument/2006/relationships/tags" Target="../tags/tag294.xml"/><Relationship Id="rId65" Type="http://schemas.openxmlformats.org/officeDocument/2006/relationships/tags" Target="../tags/tag299.xml"/><Relationship Id="rId73" Type="http://schemas.openxmlformats.org/officeDocument/2006/relationships/tags" Target="../tags/tag307.xml"/><Relationship Id="rId78" Type="http://schemas.openxmlformats.org/officeDocument/2006/relationships/tags" Target="../tags/tag312.xml"/><Relationship Id="rId81" Type="http://schemas.openxmlformats.org/officeDocument/2006/relationships/tags" Target="../tags/tag315.xml"/><Relationship Id="rId86" Type="http://schemas.openxmlformats.org/officeDocument/2006/relationships/tags" Target="../tags/tag320.xml"/><Relationship Id="rId94" Type="http://schemas.openxmlformats.org/officeDocument/2006/relationships/tags" Target="../tags/tag328.xml"/><Relationship Id="rId99" Type="http://schemas.openxmlformats.org/officeDocument/2006/relationships/tags" Target="../tags/tag333.xml"/><Relationship Id="rId101" Type="http://schemas.openxmlformats.org/officeDocument/2006/relationships/tags" Target="../tags/tag335.xml"/><Relationship Id="rId4" Type="http://schemas.openxmlformats.org/officeDocument/2006/relationships/tags" Target="../tags/tag238.xml"/><Relationship Id="rId9" Type="http://schemas.openxmlformats.org/officeDocument/2006/relationships/tags" Target="../tags/tag243.xml"/><Relationship Id="rId13" Type="http://schemas.openxmlformats.org/officeDocument/2006/relationships/tags" Target="../tags/tag247.xml"/><Relationship Id="rId18" Type="http://schemas.openxmlformats.org/officeDocument/2006/relationships/tags" Target="../tags/tag252.xml"/><Relationship Id="rId39" Type="http://schemas.openxmlformats.org/officeDocument/2006/relationships/tags" Target="../tags/tag273.xml"/><Relationship Id="rId34" Type="http://schemas.openxmlformats.org/officeDocument/2006/relationships/tags" Target="../tags/tag268.xml"/><Relationship Id="rId50" Type="http://schemas.openxmlformats.org/officeDocument/2006/relationships/tags" Target="../tags/tag284.xml"/><Relationship Id="rId55" Type="http://schemas.openxmlformats.org/officeDocument/2006/relationships/tags" Target="../tags/tag289.xml"/><Relationship Id="rId76" Type="http://schemas.openxmlformats.org/officeDocument/2006/relationships/tags" Target="../tags/tag310.xml"/><Relationship Id="rId97" Type="http://schemas.openxmlformats.org/officeDocument/2006/relationships/tags" Target="../tags/tag331.xml"/><Relationship Id="rId104" Type="http://schemas.openxmlformats.org/officeDocument/2006/relationships/tags" Target="../tags/tag338.xml"/><Relationship Id="rId7" Type="http://schemas.openxmlformats.org/officeDocument/2006/relationships/tags" Target="../tags/tag241.xml"/><Relationship Id="rId71" Type="http://schemas.openxmlformats.org/officeDocument/2006/relationships/tags" Target="../tags/tag305.xml"/><Relationship Id="rId92" Type="http://schemas.openxmlformats.org/officeDocument/2006/relationships/tags" Target="../tags/tag326.xml"/><Relationship Id="rId2" Type="http://schemas.openxmlformats.org/officeDocument/2006/relationships/tags" Target="../tags/tag236.xml"/><Relationship Id="rId29" Type="http://schemas.openxmlformats.org/officeDocument/2006/relationships/tags" Target="../tags/tag263.xml"/><Relationship Id="rId24" Type="http://schemas.openxmlformats.org/officeDocument/2006/relationships/tags" Target="../tags/tag258.xml"/><Relationship Id="rId40" Type="http://schemas.openxmlformats.org/officeDocument/2006/relationships/tags" Target="../tags/tag274.xml"/><Relationship Id="rId45" Type="http://schemas.openxmlformats.org/officeDocument/2006/relationships/tags" Target="../tags/tag279.xml"/><Relationship Id="rId66" Type="http://schemas.openxmlformats.org/officeDocument/2006/relationships/tags" Target="../tags/tag300.xml"/><Relationship Id="rId87" Type="http://schemas.openxmlformats.org/officeDocument/2006/relationships/tags" Target="../tags/tag321.xml"/><Relationship Id="rId61" Type="http://schemas.openxmlformats.org/officeDocument/2006/relationships/tags" Target="../tags/tag295.xml"/><Relationship Id="rId82" Type="http://schemas.openxmlformats.org/officeDocument/2006/relationships/tags" Target="../tags/tag316.xml"/><Relationship Id="rId19" Type="http://schemas.openxmlformats.org/officeDocument/2006/relationships/tags" Target="../tags/tag253.xml"/><Relationship Id="rId14" Type="http://schemas.openxmlformats.org/officeDocument/2006/relationships/tags" Target="../tags/tag248.xml"/><Relationship Id="rId30" Type="http://schemas.openxmlformats.org/officeDocument/2006/relationships/tags" Target="../tags/tag264.xml"/><Relationship Id="rId35" Type="http://schemas.openxmlformats.org/officeDocument/2006/relationships/tags" Target="../tags/tag269.xml"/><Relationship Id="rId56" Type="http://schemas.openxmlformats.org/officeDocument/2006/relationships/tags" Target="../tags/tag290.xml"/><Relationship Id="rId77" Type="http://schemas.openxmlformats.org/officeDocument/2006/relationships/tags" Target="../tags/tag311.xml"/><Relationship Id="rId100" Type="http://schemas.openxmlformats.org/officeDocument/2006/relationships/tags" Target="../tags/tag334.xml"/><Relationship Id="rId105" Type="http://schemas.openxmlformats.org/officeDocument/2006/relationships/tags" Target="../tags/tag339.xml"/><Relationship Id="rId8" Type="http://schemas.openxmlformats.org/officeDocument/2006/relationships/tags" Target="../tags/tag242.xml"/><Relationship Id="rId51" Type="http://schemas.openxmlformats.org/officeDocument/2006/relationships/tags" Target="../tags/tag285.xml"/><Relationship Id="rId72" Type="http://schemas.openxmlformats.org/officeDocument/2006/relationships/tags" Target="../tags/tag306.xml"/><Relationship Id="rId93" Type="http://schemas.openxmlformats.org/officeDocument/2006/relationships/tags" Target="../tags/tag327.xml"/><Relationship Id="rId98" Type="http://schemas.openxmlformats.org/officeDocument/2006/relationships/tags" Target="../tags/tag332.xml"/><Relationship Id="rId3" Type="http://schemas.openxmlformats.org/officeDocument/2006/relationships/tags" Target="../tags/tag237.xml"/><Relationship Id="rId25" Type="http://schemas.openxmlformats.org/officeDocument/2006/relationships/tags" Target="../tags/tag259.xml"/><Relationship Id="rId46" Type="http://schemas.openxmlformats.org/officeDocument/2006/relationships/tags" Target="../tags/tag280.xml"/><Relationship Id="rId67" Type="http://schemas.openxmlformats.org/officeDocument/2006/relationships/tags" Target="../tags/tag301.xml"/></Relationships>
</file>

<file path=ppt/slides/_rels/slide25.xml.rels><?xml version="1.0" encoding="UTF-8" standalone="yes"?>
<Relationships xmlns="http://schemas.openxmlformats.org/package/2006/relationships"><Relationship Id="rId26" Type="http://schemas.openxmlformats.org/officeDocument/2006/relationships/tags" Target="../tags/tag365.xml"/><Relationship Id="rId21" Type="http://schemas.openxmlformats.org/officeDocument/2006/relationships/tags" Target="../tags/tag360.xml"/><Relationship Id="rId42" Type="http://schemas.openxmlformats.org/officeDocument/2006/relationships/tags" Target="../tags/tag381.xml"/><Relationship Id="rId47" Type="http://schemas.openxmlformats.org/officeDocument/2006/relationships/tags" Target="../tags/tag386.xml"/><Relationship Id="rId63" Type="http://schemas.openxmlformats.org/officeDocument/2006/relationships/tags" Target="../tags/tag402.xml"/><Relationship Id="rId68" Type="http://schemas.openxmlformats.org/officeDocument/2006/relationships/tags" Target="../tags/tag407.xml"/><Relationship Id="rId84" Type="http://schemas.openxmlformats.org/officeDocument/2006/relationships/tags" Target="../tags/tag423.xml"/><Relationship Id="rId89" Type="http://schemas.openxmlformats.org/officeDocument/2006/relationships/tags" Target="../tags/tag428.xml"/><Relationship Id="rId16" Type="http://schemas.openxmlformats.org/officeDocument/2006/relationships/tags" Target="../tags/tag355.xml"/><Relationship Id="rId11" Type="http://schemas.openxmlformats.org/officeDocument/2006/relationships/tags" Target="../tags/tag350.xml"/><Relationship Id="rId32" Type="http://schemas.openxmlformats.org/officeDocument/2006/relationships/tags" Target="../tags/tag371.xml"/><Relationship Id="rId37" Type="http://schemas.openxmlformats.org/officeDocument/2006/relationships/tags" Target="../tags/tag376.xml"/><Relationship Id="rId53" Type="http://schemas.openxmlformats.org/officeDocument/2006/relationships/tags" Target="../tags/tag392.xml"/><Relationship Id="rId58" Type="http://schemas.openxmlformats.org/officeDocument/2006/relationships/tags" Target="../tags/tag397.xml"/><Relationship Id="rId74" Type="http://schemas.openxmlformats.org/officeDocument/2006/relationships/tags" Target="../tags/tag413.xml"/><Relationship Id="rId79" Type="http://schemas.openxmlformats.org/officeDocument/2006/relationships/tags" Target="../tags/tag418.xml"/><Relationship Id="rId102" Type="http://schemas.openxmlformats.org/officeDocument/2006/relationships/tags" Target="../tags/tag441.xml"/><Relationship Id="rId5" Type="http://schemas.openxmlformats.org/officeDocument/2006/relationships/tags" Target="../tags/tag344.xml"/><Relationship Id="rId90" Type="http://schemas.openxmlformats.org/officeDocument/2006/relationships/tags" Target="../tags/tag429.xml"/><Relationship Id="rId95" Type="http://schemas.openxmlformats.org/officeDocument/2006/relationships/tags" Target="../tags/tag434.xml"/><Relationship Id="rId22" Type="http://schemas.openxmlformats.org/officeDocument/2006/relationships/tags" Target="../tags/tag361.xml"/><Relationship Id="rId27" Type="http://schemas.openxmlformats.org/officeDocument/2006/relationships/tags" Target="../tags/tag366.xml"/><Relationship Id="rId43" Type="http://schemas.openxmlformats.org/officeDocument/2006/relationships/tags" Target="../tags/tag382.xml"/><Relationship Id="rId48" Type="http://schemas.openxmlformats.org/officeDocument/2006/relationships/tags" Target="../tags/tag387.xml"/><Relationship Id="rId64" Type="http://schemas.openxmlformats.org/officeDocument/2006/relationships/tags" Target="../tags/tag403.xml"/><Relationship Id="rId69" Type="http://schemas.openxmlformats.org/officeDocument/2006/relationships/tags" Target="../tags/tag408.xml"/><Relationship Id="rId80" Type="http://schemas.openxmlformats.org/officeDocument/2006/relationships/tags" Target="../tags/tag419.xml"/><Relationship Id="rId85" Type="http://schemas.openxmlformats.org/officeDocument/2006/relationships/tags" Target="../tags/tag424.xml"/><Relationship Id="rId12" Type="http://schemas.openxmlformats.org/officeDocument/2006/relationships/tags" Target="../tags/tag351.xml"/><Relationship Id="rId17" Type="http://schemas.openxmlformats.org/officeDocument/2006/relationships/tags" Target="../tags/tag356.xml"/><Relationship Id="rId33" Type="http://schemas.openxmlformats.org/officeDocument/2006/relationships/tags" Target="../tags/tag372.xml"/><Relationship Id="rId38" Type="http://schemas.openxmlformats.org/officeDocument/2006/relationships/tags" Target="../tags/tag377.xml"/><Relationship Id="rId59" Type="http://schemas.openxmlformats.org/officeDocument/2006/relationships/tags" Target="../tags/tag398.xml"/><Relationship Id="rId103" Type="http://schemas.openxmlformats.org/officeDocument/2006/relationships/tags" Target="../tags/tag442.xml"/><Relationship Id="rId20" Type="http://schemas.openxmlformats.org/officeDocument/2006/relationships/tags" Target="../tags/tag359.xml"/><Relationship Id="rId41" Type="http://schemas.openxmlformats.org/officeDocument/2006/relationships/tags" Target="../tags/tag380.xml"/><Relationship Id="rId54" Type="http://schemas.openxmlformats.org/officeDocument/2006/relationships/tags" Target="../tags/tag393.xml"/><Relationship Id="rId62" Type="http://schemas.openxmlformats.org/officeDocument/2006/relationships/tags" Target="../tags/tag401.xml"/><Relationship Id="rId70" Type="http://schemas.openxmlformats.org/officeDocument/2006/relationships/tags" Target="../tags/tag409.xml"/><Relationship Id="rId75" Type="http://schemas.openxmlformats.org/officeDocument/2006/relationships/tags" Target="../tags/tag414.xml"/><Relationship Id="rId83" Type="http://schemas.openxmlformats.org/officeDocument/2006/relationships/tags" Target="../tags/tag422.xml"/><Relationship Id="rId88" Type="http://schemas.openxmlformats.org/officeDocument/2006/relationships/tags" Target="../tags/tag427.xml"/><Relationship Id="rId91" Type="http://schemas.openxmlformats.org/officeDocument/2006/relationships/tags" Target="../tags/tag430.xml"/><Relationship Id="rId96" Type="http://schemas.openxmlformats.org/officeDocument/2006/relationships/tags" Target="../tags/tag435.xml"/><Relationship Id="rId1" Type="http://schemas.openxmlformats.org/officeDocument/2006/relationships/tags" Target="../tags/tag340.xml"/><Relationship Id="rId6" Type="http://schemas.openxmlformats.org/officeDocument/2006/relationships/tags" Target="../tags/tag345.xml"/><Relationship Id="rId15" Type="http://schemas.openxmlformats.org/officeDocument/2006/relationships/tags" Target="../tags/tag354.xml"/><Relationship Id="rId23" Type="http://schemas.openxmlformats.org/officeDocument/2006/relationships/tags" Target="../tags/tag362.xml"/><Relationship Id="rId28" Type="http://schemas.openxmlformats.org/officeDocument/2006/relationships/tags" Target="../tags/tag367.xml"/><Relationship Id="rId36" Type="http://schemas.openxmlformats.org/officeDocument/2006/relationships/tags" Target="../tags/tag375.xml"/><Relationship Id="rId49" Type="http://schemas.openxmlformats.org/officeDocument/2006/relationships/tags" Target="../tags/tag388.xml"/><Relationship Id="rId57" Type="http://schemas.openxmlformats.org/officeDocument/2006/relationships/tags" Target="../tags/tag396.xml"/><Relationship Id="rId106" Type="http://schemas.openxmlformats.org/officeDocument/2006/relationships/slideLayout" Target="../slideLayouts/slideLayout7.xml"/><Relationship Id="rId10" Type="http://schemas.openxmlformats.org/officeDocument/2006/relationships/tags" Target="../tags/tag349.xml"/><Relationship Id="rId31" Type="http://schemas.openxmlformats.org/officeDocument/2006/relationships/tags" Target="../tags/tag370.xml"/><Relationship Id="rId44" Type="http://schemas.openxmlformats.org/officeDocument/2006/relationships/tags" Target="../tags/tag383.xml"/><Relationship Id="rId52" Type="http://schemas.openxmlformats.org/officeDocument/2006/relationships/tags" Target="../tags/tag391.xml"/><Relationship Id="rId60" Type="http://schemas.openxmlformats.org/officeDocument/2006/relationships/tags" Target="../tags/tag399.xml"/><Relationship Id="rId65" Type="http://schemas.openxmlformats.org/officeDocument/2006/relationships/tags" Target="../tags/tag404.xml"/><Relationship Id="rId73" Type="http://schemas.openxmlformats.org/officeDocument/2006/relationships/tags" Target="../tags/tag412.xml"/><Relationship Id="rId78" Type="http://schemas.openxmlformats.org/officeDocument/2006/relationships/tags" Target="../tags/tag417.xml"/><Relationship Id="rId81" Type="http://schemas.openxmlformats.org/officeDocument/2006/relationships/tags" Target="../tags/tag420.xml"/><Relationship Id="rId86" Type="http://schemas.openxmlformats.org/officeDocument/2006/relationships/tags" Target="../tags/tag425.xml"/><Relationship Id="rId94" Type="http://schemas.openxmlformats.org/officeDocument/2006/relationships/tags" Target="../tags/tag433.xml"/><Relationship Id="rId99" Type="http://schemas.openxmlformats.org/officeDocument/2006/relationships/tags" Target="../tags/tag438.xml"/><Relationship Id="rId101" Type="http://schemas.openxmlformats.org/officeDocument/2006/relationships/tags" Target="../tags/tag440.xml"/><Relationship Id="rId4" Type="http://schemas.openxmlformats.org/officeDocument/2006/relationships/tags" Target="../tags/tag343.xml"/><Relationship Id="rId9" Type="http://schemas.openxmlformats.org/officeDocument/2006/relationships/tags" Target="../tags/tag348.xml"/><Relationship Id="rId13" Type="http://schemas.openxmlformats.org/officeDocument/2006/relationships/tags" Target="../tags/tag352.xml"/><Relationship Id="rId18" Type="http://schemas.openxmlformats.org/officeDocument/2006/relationships/tags" Target="../tags/tag357.xml"/><Relationship Id="rId39" Type="http://schemas.openxmlformats.org/officeDocument/2006/relationships/tags" Target="../tags/tag378.xml"/><Relationship Id="rId34" Type="http://schemas.openxmlformats.org/officeDocument/2006/relationships/tags" Target="../tags/tag373.xml"/><Relationship Id="rId50" Type="http://schemas.openxmlformats.org/officeDocument/2006/relationships/tags" Target="../tags/tag389.xml"/><Relationship Id="rId55" Type="http://schemas.openxmlformats.org/officeDocument/2006/relationships/tags" Target="../tags/tag394.xml"/><Relationship Id="rId76" Type="http://schemas.openxmlformats.org/officeDocument/2006/relationships/tags" Target="../tags/tag415.xml"/><Relationship Id="rId97" Type="http://schemas.openxmlformats.org/officeDocument/2006/relationships/tags" Target="../tags/tag436.xml"/><Relationship Id="rId104" Type="http://schemas.openxmlformats.org/officeDocument/2006/relationships/tags" Target="../tags/tag443.xml"/><Relationship Id="rId7" Type="http://schemas.openxmlformats.org/officeDocument/2006/relationships/tags" Target="../tags/tag346.xml"/><Relationship Id="rId71" Type="http://schemas.openxmlformats.org/officeDocument/2006/relationships/tags" Target="../tags/tag410.xml"/><Relationship Id="rId92" Type="http://schemas.openxmlformats.org/officeDocument/2006/relationships/tags" Target="../tags/tag431.xml"/><Relationship Id="rId2" Type="http://schemas.openxmlformats.org/officeDocument/2006/relationships/tags" Target="../tags/tag341.xml"/><Relationship Id="rId29" Type="http://schemas.openxmlformats.org/officeDocument/2006/relationships/tags" Target="../tags/tag368.xml"/><Relationship Id="rId24" Type="http://schemas.openxmlformats.org/officeDocument/2006/relationships/tags" Target="../tags/tag363.xml"/><Relationship Id="rId40" Type="http://schemas.openxmlformats.org/officeDocument/2006/relationships/tags" Target="../tags/tag379.xml"/><Relationship Id="rId45" Type="http://schemas.openxmlformats.org/officeDocument/2006/relationships/tags" Target="../tags/tag384.xml"/><Relationship Id="rId66" Type="http://schemas.openxmlformats.org/officeDocument/2006/relationships/tags" Target="../tags/tag405.xml"/><Relationship Id="rId87" Type="http://schemas.openxmlformats.org/officeDocument/2006/relationships/tags" Target="../tags/tag426.xml"/><Relationship Id="rId61" Type="http://schemas.openxmlformats.org/officeDocument/2006/relationships/tags" Target="../tags/tag400.xml"/><Relationship Id="rId82" Type="http://schemas.openxmlformats.org/officeDocument/2006/relationships/tags" Target="../tags/tag421.xml"/><Relationship Id="rId19" Type="http://schemas.openxmlformats.org/officeDocument/2006/relationships/tags" Target="../tags/tag358.xml"/><Relationship Id="rId14" Type="http://schemas.openxmlformats.org/officeDocument/2006/relationships/tags" Target="../tags/tag353.xml"/><Relationship Id="rId30" Type="http://schemas.openxmlformats.org/officeDocument/2006/relationships/tags" Target="../tags/tag369.xml"/><Relationship Id="rId35" Type="http://schemas.openxmlformats.org/officeDocument/2006/relationships/tags" Target="../tags/tag374.xml"/><Relationship Id="rId56" Type="http://schemas.openxmlformats.org/officeDocument/2006/relationships/tags" Target="../tags/tag395.xml"/><Relationship Id="rId77" Type="http://schemas.openxmlformats.org/officeDocument/2006/relationships/tags" Target="../tags/tag416.xml"/><Relationship Id="rId100" Type="http://schemas.openxmlformats.org/officeDocument/2006/relationships/tags" Target="../tags/tag439.xml"/><Relationship Id="rId105" Type="http://schemas.openxmlformats.org/officeDocument/2006/relationships/tags" Target="../tags/tag444.xml"/><Relationship Id="rId8" Type="http://schemas.openxmlformats.org/officeDocument/2006/relationships/tags" Target="../tags/tag347.xml"/><Relationship Id="rId51" Type="http://schemas.openxmlformats.org/officeDocument/2006/relationships/tags" Target="../tags/tag390.xml"/><Relationship Id="rId72" Type="http://schemas.openxmlformats.org/officeDocument/2006/relationships/tags" Target="../tags/tag411.xml"/><Relationship Id="rId93" Type="http://schemas.openxmlformats.org/officeDocument/2006/relationships/tags" Target="../tags/tag432.xml"/><Relationship Id="rId98" Type="http://schemas.openxmlformats.org/officeDocument/2006/relationships/tags" Target="../tags/tag437.xml"/><Relationship Id="rId3" Type="http://schemas.openxmlformats.org/officeDocument/2006/relationships/tags" Target="../tags/tag342.xml"/><Relationship Id="rId25" Type="http://schemas.openxmlformats.org/officeDocument/2006/relationships/tags" Target="../tags/tag364.xml"/><Relationship Id="rId46" Type="http://schemas.openxmlformats.org/officeDocument/2006/relationships/tags" Target="../tags/tag385.xml"/><Relationship Id="rId67" Type="http://schemas.openxmlformats.org/officeDocument/2006/relationships/tags" Target="../tags/tag40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87.png"/><Relationship Id="rId4" Type="http://schemas.openxmlformats.org/officeDocument/2006/relationships/image" Target="../media/image86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jpeg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jpeg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9.jpeg"/><Relationship Id="rId1" Type="http://schemas.openxmlformats.org/officeDocument/2006/relationships/slideLayout" Target="../slideLayouts/slideLayout6.xml"/><Relationship Id="rId4" Type="http://schemas.openxmlformats.org/officeDocument/2006/relationships/hyperlink" Target="http://&#1087;&#1088;&#1086;&#1080;&#1079;&#1074;&#1086;&#1076;&#1080;&#1090;&#1077;&#1083;&#1100;&#1085;&#1086;&#1089;&#1090;&#1100;.&#1088;&#1092;/" TargetMode="External"/></Relationships>
</file>

<file path=ppt/slides/_rels/slide33.xml.rels><?xml version="1.0" encoding="UTF-8" standalone="yes"?>
<Relationships xmlns="http://schemas.openxmlformats.org/package/2006/relationships"><Relationship Id="rId26" Type="http://schemas.openxmlformats.org/officeDocument/2006/relationships/tags" Target="../tags/tag470.xml"/><Relationship Id="rId21" Type="http://schemas.openxmlformats.org/officeDocument/2006/relationships/tags" Target="../tags/tag465.xml"/><Relationship Id="rId42" Type="http://schemas.openxmlformats.org/officeDocument/2006/relationships/tags" Target="../tags/tag486.xml"/><Relationship Id="rId47" Type="http://schemas.openxmlformats.org/officeDocument/2006/relationships/tags" Target="../tags/tag491.xml"/><Relationship Id="rId63" Type="http://schemas.openxmlformats.org/officeDocument/2006/relationships/tags" Target="../tags/tag507.xml"/><Relationship Id="rId68" Type="http://schemas.openxmlformats.org/officeDocument/2006/relationships/tags" Target="../tags/tag512.xml"/><Relationship Id="rId84" Type="http://schemas.openxmlformats.org/officeDocument/2006/relationships/tags" Target="../tags/tag528.xml"/><Relationship Id="rId89" Type="http://schemas.openxmlformats.org/officeDocument/2006/relationships/tags" Target="../tags/tag533.xml"/><Relationship Id="rId16" Type="http://schemas.openxmlformats.org/officeDocument/2006/relationships/tags" Target="../tags/tag460.xml"/><Relationship Id="rId11" Type="http://schemas.openxmlformats.org/officeDocument/2006/relationships/tags" Target="../tags/tag455.xml"/><Relationship Id="rId32" Type="http://schemas.openxmlformats.org/officeDocument/2006/relationships/tags" Target="../tags/tag476.xml"/><Relationship Id="rId37" Type="http://schemas.openxmlformats.org/officeDocument/2006/relationships/tags" Target="../tags/tag481.xml"/><Relationship Id="rId53" Type="http://schemas.openxmlformats.org/officeDocument/2006/relationships/tags" Target="../tags/tag497.xml"/><Relationship Id="rId58" Type="http://schemas.openxmlformats.org/officeDocument/2006/relationships/tags" Target="../tags/tag502.xml"/><Relationship Id="rId74" Type="http://schemas.openxmlformats.org/officeDocument/2006/relationships/tags" Target="../tags/tag518.xml"/><Relationship Id="rId79" Type="http://schemas.openxmlformats.org/officeDocument/2006/relationships/tags" Target="../tags/tag523.xml"/><Relationship Id="rId102" Type="http://schemas.openxmlformats.org/officeDocument/2006/relationships/tags" Target="../tags/tag546.xml"/><Relationship Id="rId5" Type="http://schemas.openxmlformats.org/officeDocument/2006/relationships/tags" Target="../tags/tag449.xml"/><Relationship Id="rId90" Type="http://schemas.openxmlformats.org/officeDocument/2006/relationships/tags" Target="../tags/tag534.xml"/><Relationship Id="rId95" Type="http://schemas.openxmlformats.org/officeDocument/2006/relationships/tags" Target="../tags/tag539.xml"/><Relationship Id="rId22" Type="http://schemas.openxmlformats.org/officeDocument/2006/relationships/tags" Target="../tags/tag466.xml"/><Relationship Id="rId27" Type="http://schemas.openxmlformats.org/officeDocument/2006/relationships/tags" Target="../tags/tag471.xml"/><Relationship Id="rId43" Type="http://schemas.openxmlformats.org/officeDocument/2006/relationships/tags" Target="../tags/tag487.xml"/><Relationship Id="rId48" Type="http://schemas.openxmlformats.org/officeDocument/2006/relationships/tags" Target="../tags/tag492.xml"/><Relationship Id="rId64" Type="http://schemas.openxmlformats.org/officeDocument/2006/relationships/tags" Target="../tags/tag508.xml"/><Relationship Id="rId69" Type="http://schemas.openxmlformats.org/officeDocument/2006/relationships/tags" Target="../tags/tag513.xml"/><Relationship Id="rId80" Type="http://schemas.openxmlformats.org/officeDocument/2006/relationships/tags" Target="../tags/tag524.xml"/><Relationship Id="rId85" Type="http://schemas.openxmlformats.org/officeDocument/2006/relationships/tags" Target="../tags/tag529.xml"/><Relationship Id="rId12" Type="http://schemas.openxmlformats.org/officeDocument/2006/relationships/tags" Target="../tags/tag456.xml"/><Relationship Id="rId17" Type="http://schemas.openxmlformats.org/officeDocument/2006/relationships/tags" Target="../tags/tag461.xml"/><Relationship Id="rId33" Type="http://schemas.openxmlformats.org/officeDocument/2006/relationships/tags" Target="../tags/tag477.xml"/><Relationship Id="rId38" Type="http://schemas.openxmlformats.org/officeDocument/2006/relationships/tags" Target="../tags/tag482.xml"/><Relationship Id="rId59" Type="http://schemas.openxmlformats.org/officeDocument/2006/relationships/tags" Target="../tags/tag503.xml"/><Relationship Id="rId103" Type="http://schemas.openxmlformats.org/officeDocument/2006/relationships/tags" Target="../tags/tag547.xml"/><Relationship Id="rId20" Type="http://schemas.openxmlformats.org/officeDocument/2006/relationships/tags" Target="../tags/tag464.xml"/><Relationship Id="rId41" Type="http://schemas.openxmlformats.org/officeDocument/2006/relationships/tags" Target="../tags/tag485.xml"/><Relationship Id="rId54" Type="http://schemas.openxmlformats.org/officeDocument/2006/relationships/tags" Target="../tags/tag498.xml"/><Relationship Id="rId62" Type="http://schemas.openxmlformats.org/officeDocument/2006/relationships/tags" Target="../tags/tag506.xml"/><Relationship Id="rId70" Type="http://schemas.openxmlformats.org/officeDocument/2006/relationships/tags" Target="../tags/tag514.xml"/><Relationship Id="rId75" Type="http://schemas.openxmlformats.org/officeDocument/2006/relationships/tags" Target="../tags/tag519.xml"/><Relationship Id="rId83" Type="http://schemas.openxmlformats.org/officeDocument/2006/relationships/tags" Target="../tags/tag527.xml"/><Relationship Id="rId88" Type="http://schemas.openxmlformats.org/officeDocument/2006/relationships/tags" Target="../tags/tag532.xml"/><Relationship Id="rId91" Type="http://schemas.openxmlformats.org/officeDocument/2006/relationships/tags" Target="../tags/tag535.xml"/><Relationship Id="rId96" Type="http://schemas.openxmlformats.org/officeDocument/2006/relationships/tags" Target="../tags/tag540.xml"/><Relationship Id="rId1" Type="http://schemas.openxmlformats.org/officeDocument/2006/relationships/tags" Target="../tags/tag445.xml"/><Relationship Id="rId6" Type="http://schemas.openxmlformats.org/officeDocument/2006/relationships/tags" Target="../tags/tag450.xml"/><Relationship Id="rId15" Type="http://schemas.openxmlformats.org/officeDocument/2006/relationships/tags" Target="../tags/tag459.xml"/><Relationship Id="rId23" Type="http://schemas.openxmlformats.org/officeDocument/2006/relationships/tags" Target="../tags/tag467.xml"/><Relationship Id="rId28" Type="http://schemas.openxmlformats.org/officeDocument/2006/relationships/tags" Target="../tags/tag472.xml"/><Relationship Id="rId36" Type="http://schemas.openxmlformats.org/officeDocument/2006/relationships/tags" Target="../tags/tag480.xml"/><Relationship Id="rId49" Type="http://schemas.openxmlformats.org/officeDocument/2006/relationships/tags" Target="../tags/tag493.xml"/><Relationship Id="rId57" Type="http://schemas.openxmlformats.org/officeDocument/2006/relationships/tags" Target="../tags/tag501.xml"/><Relationship Id="rId106" Type="http://schemas.openxmlformats.org/officeDocument/2006/relationships/slideLayout" Target="../slideLayouts/slideLayout7.xml"/><Relationship Id="rId10" Type="http://schemas.openxmlformats.org/officeDocument/2006/relationships/tags" Target="../tags/tag454.xml"/><Relationship Id="rId31" Type="http://schemas.openxmlformats.org/officeDocument/2006/relationships/tags" Target="../tags/tag475.xml"/><Relationship Id="rId44" Type="http://schemas.openxmlformats.org/officeDocument/2006/relationships/tags" Target="../tags/tag488.xml"/><Relationship Id="rId52" Type="http://schemas.openxmlformats.org/officeDocument/2006/relationships/tags" Target="../tags/tag496.xml"/><Relationship Id="rId60" Type="http://schemas.openxmlformats.org/officeDocument/2006/relationships/tags" Target="../tags/tag504.xml"/><Relationship Id="rId65" Type="http://schemas.openxmlformats.org/officeDocument/2006/relationships/tags" Target="../tags/tag509.xml"/><Relationship Id="rId73" Type="http://schemas.openxmlformats.org/officeDocument/2006/relationships/tags" Target="../tags/tag517.xml"/><Relationship Id="rId78" Type="http://schemas.openxmlformats.org/officeDocument/2006/relationships/tags" Target="../tags/tag522.xml"/><Relationship Id="rId81" Type="http://schemas.openxmlformats.org/officeDocument/2006/relationships/tags" Target="../tags/tag525.xml"/><Relationship Id="rId86" Type="http://schemas.openxmlformats.org/officeDocument/2006/relationships/tags" Target="../tags/tag530.xml"/><Relationship Id="rId94" Type="http://schemas.openxmlformats.org/officeDocument/2006/relationships/tags" Target="../tags/tag538.xml"/><Relationship Id="rId99" Type="http://schemas.openxmlformats.org/officeDocument/2006/relationships/tags" Target="../tags/tag543.xml"/><Relationship Id="rId101" Type="http://schemas.openxmlformats.org/officeDocument/2006/relationships/tags" Target="../tags/tag545.xml"/><Relationship Id="rId4" Type="http://schemas.openxmlformats.org/officeDocument/2006/relationships/tags" Target="../tags/tag448.xml"/><Relationship Id="rId9" Type="http://schemas.openxmlformats.org/officeDocument/2006/relationships/tags" Target="../tags/tag453.xml"/><Relationship Id="rId13" Type="http://schemas.openxmlformats.org/officeDocument/2006/relationships/tags" Target="../tags/tag457.xml"/><Relationship Id="rId18" Type="http://schemas.openxmlformats.org/officeDocument/2006/relationships/tags" Target="../tags/tag462.xml"/><Relationship Id="rId39" Type="http://schemas.openxmlformats.org/officeDocument/2006/relationships/tags" Target="../tags/tag483.xml"/><Relationship Id="rId34" Type="http://schemas.openxmlformats.org/officeDocument/2006/relationships/tags" Target="../tags/tag478.xml"/><Relationship Id="rId50" Type="http://schemas.openxmlformats.org/officeDocument/2006/relationships/tags" Target="../tags/tag494.xml"/><Relationship Id="rId55" Type="http://schemas.openxmlformats.org/officeDocument/2006/relationships/tags" Target="../tags/tag499.xml"/><Relationship Id="rId76" Type="http://schemas.openxmlformats.org/officeDocument/2006/relationships/tags" Target="../tags/tag520.xml"/><Relationship Id="rId97" Type="http://schemas.openxmlformats.org/officeDocument/2006/relationships/tags" Target="../tags/tag541.xml"/><Relationship Id="rId104" Type="http://schemas.openxmlformats.org/officeDocument/2006/relationships/tags" Target="../tags/tag548.xml"/><Relationship Id="rId7" Type="http://schemas.openxmlformats.org/officeDocument/2006/relationships/tags" Target="../tags/tag451.xml"/><Relationship Id="rId71" Type="http://schemas.openxmlformats.org/officeDocument/2006/relationships/tags" Target="../tags/tag515.xml"/><Relationship Id="rId92" Type="http://schemas.openxmlformats.org/officeDocument/2006/relationships/tags" Target="../tags/tag536.xml"/><Relationship Id="rId2" Type="http://schemas.openxmlformats.org/officeDocument/2006/relationships/tags" Target="../tags/tag446.xml"/><Relationship Id="rId29" Type="http://schemas.openxmlformats.org/officeDocument/2006/relationships/tags" Target="../tags/tag473.xml"/><Relationship Id="rId24" Type="http://schemas.openxmlformats.org/officeDocument/2006/relationships/tags" Target="../tags/tag468.xml"/><Relationship Id="rId40" Type="http://schemas.openxmlformats.org/officeDocument/2006/relationships/tags" Target="../tags/tag484.xml"/><Relationship Id="rId45" Type="http://schemas.openxmlformats.org/officeDocument/2006/relationships/tags" Target="../tags/tag489.xml"/><Relationship Id="rId66" Type="http://schemas.openxmlformats.org/officeDocument/2006/relationships/tags" Target="../tags/tag510.xml"/><Relationship Id="rId87" Type="http://schemas.openxmlformats.org/officeDocument/2006/relationships/tags" Target="../tags/tag531.xml"/><Relationship Id="rId61" Type="http://schemas.openxmlformats.org/officeDocument/2006/relationships/tags" Target="../tags/tag505.xml"/><Relationship Id="rId82" Type="http://schemas.openxmlformats.org/officeDocument/2006/relationships/tags" Target="../tags/tag526.xml"/><Relationship Id="rId19" Type="http://schemas.openxmlformats.org/officeDocument/2006/relationships/tags" Target="../tags/tag463.xml"/><Relationship Id="rId14" Type="http://schemas.openxmlformats.org/officeDocument/2006/relationships/tags" Target="../tags/tag458.xml"/><Relationship Id="rId30" Type="http://schemas.openxmlformats.org/officeDocument/2006/relationships/tags" Target="../tags/tag474.xml"/><Relationship Id="rId35" Type="http://schemas.openxmlformats.org/officeDocument/2006/relationships/tags" Target="../tags/tag479.xml"/><Relationship Id="rId56" Type="http://schemas.openxmlformats.org/officeDocument/2006/relationships/tags" Target="../tags/tag500.xml"/><Relationship Id="rId77" Type="http://schemas.openxmlformats.org/officeDocument/2006/relationships/tags" Target="../tags/tag521.xml"/><Relationship Id="rId100" Type="http://schemas.openxmlformats.org/officeDocument/2006/relationships/tags" Target="../tags/tag544.xml"/><Relationship Id="rId105" Type="http://schemas.openxmlformats.org/officeDocument/2006/relationships/tags" Target="../tags/tag549.xml"/><Relationship Id="rId8" Type="http://schemas.openxmlformats.org/officeDocument/2006/relationships/tags" Target="../tags/tag452.xml"/><Relationship Id="rId51" Type="http://schemas.openxmlformats.org/officeDocument/2006/relationships/tags" Target="../tags/tag495.xml"/><Relationship Id="rId72" Type="http://schemas.openxmlformats.org/officeDocument/2006/relationships/tags" Target="../tags/tag516.xml"/><Relationship Id="rId93" Type="http://schemas.openxmlformats.org/officeDocument/2006/relationships/tags" Target="../tags/tag537.xml"/><Relationship Id="rId98" Type="http://schemas.openxmlformats.org/officeDocument/2006/relationships/tags" Target="../tags/tag542.xml"/><Relationship Id="rId3" Type="http://schemas.openxmlformats.org/officeDocument/2006/relationships/tags" Target="../tags/tag447.xml"/><Relationship Id="rId25" Type="http://schemas.openxmlformats.org/officeDocument/2006/relationships/tags" Target="../tags/tag469.xml"/><Relationship Id="rId46" Type="http://schemas.openxmlformats.org/officeDocument/2006/relationships/tags" Target="../tags/tag490.xml"/><Relationship Id="rId67" Type="http://schemas.openxmlformats.org/officeDocument/2006/relationships/tags" Target="../tags/tag511.xml"/></Relationships>
</file>

<file path=ppt/slides/_rels/slide34.xml.rels><?xml version="1.0" encoding="UTF-8" standalone="yes"?>
<Relationships xmlns="http://schemas.openxmlformats.org/package/2006/relationships"><Relationship Id="rId26" Type="http://schemas.openxmlformats.org/officeDocument/2006/relationships/tags" Target="../tags/tag575.xml"/><Relationship Id="rId21" Type="http://schemas.openxmlformats.org/officeDocument/2006/relationships/tags" Target="../tags/tag570.xml"/><Relationship Id="rId42" Type="http://schemas.openxmlformats.org/officeDocument/2006/relationships/tags" Target="../tags/tag591.xml"/><Relationship Id="rId47" Type="http://schemas.openxmlformats.org/officeDocument/2006/relationships/tags" Target="../tags/tag596.xml"/><Relationship Id="rId63" Type="http://schemas.openxmlformats.org/officeDocument/2006/relationships/tags" Target="../tags/tag612.xml"/><Relationship Id="rId68" Type="http://schemas.openxmlformats.org/officeDocument/2006/relationships/tags" Target="../tags/tag617.xml"/><Relationship Id="rId84" Type="http://schemas.openxmlformats.org/officeDocument/2006/relationships/tags" Target="../tags/tag633.xml"/><Relationship Id="rId89" Type="http://schemas.openxmlformats.org/officeDocument/2006/relationships/tags" Target="../tags/tag638.xml"/><Relationship Id="rId16" Type="http://schemas.openxmlformats.org/officeDocument/2006/relationships/tags" Target="../tags/tag565.xml"/><Relationship Id="rId11" Type="http://schemas.openxmlformats.org/officeDocument/2006/relationships/tags" Target="../tags/tag560.xml"/><Relationship Id="rId32" Type="http://schemas.openxmlformats.org/officeDocument/2006/relationships/tags" Target="../tags/tag581.xml"/><Relationship Id="rId37" Type="http://schemas.openxmlformats.org/officeDocument/2006/relationships/tags" Target="../tags/tag586.xml"/><Relationship Id="rId53" Type="http://schemas.openxmlformats.org/officeDocument/2006/relationships/tags" Target="../tags/tag602.xml"/><Relationship Id="rId58" Type="http://schemas.openxmlformats.org/officeDocument/2006/relationships/tags" Target="../tags/tag607.xml"/><Relationship Id="rId74" Type="http://schemas.openxmlformats.org/officeDocument/2006/relationships/tags" Target="../tags/tag623.xml"/><Relationship Id="rId79" Type="http://schemas.openxmlformats.org/officeDocument/2006/relationships/tags" Target="../tags/tag628.xml"/><Relationship Id="rId102" Type="http://schemas.openxmlformats.org/officeDocument/2006/relationships/tags" Target="../tags/tag651.xml"/><Relationship Id="rId5" Type="http://schemas.openxmlformats.org/officeDocument/2006/relationships/tags" Target="../tags/tag554.xml"/><Relationship Id="rId90" Type="http://schemas.openxmlformats.org/officeDocument/2006/relationships/tags" Target="../tags/tag639.xml"/><Relationship Id="rId95" Type="http://schemas.openxmlformats.org/officeDocument/2006/relationships/tags" Target="../tags/tag644.xml"/><Relationship Id="rId22" Type="http://schemas.openxmlformats.org/officeDocument/2006/relationships/tags" Target="../tags/tag571.xml"/><Relationship Id="rId27" Type="http://schemas.openxmlformats.org/officeDocument/2006/relationships/tags" Target="../tags/tag576.xml"/><Relationship Id="rId43" Type="http://schemas.openxmlformats.org/officeDocument/2006/relationships/tags" Target="../tags/tag592.xml"/><Relationship Id="rId48" Type="http://schemas.openxmlformats.org/officeDocument/2006/relationships/tags" Target="../tags/tag597.xml"/><Relationship Id="rId64" Type="http://schemas.openxmlformats.org/officeDocument/2006/relationships/tags" Target="../tags/tag613.xml"/><Relationship Id="rId69" Type="http://schemas.openxmlformats.org/officeDocument/2006/relationships/tags" Target="../tags/tag618.xml"/><Relationship Id="rId80" Type="http://schemas.openxmlformats.org/officeDocument/2006/relationships/tags" Target="../tags/tag629.xml"/><Relationship Id="rId85" Type="http://schemas.openxmlformats.org/officeDocument/2006/relationships/tags" Target="../tags/tag634.xml"/><Relationship Id="rId12" Type="http://schemas.openxmlformats.org/officeDocument/2006/relationships/tags" Target="../tags/tag561.xml"/><Relationship Id="rId17" Type="http://schemas.openxmlformats.org/officeDocument/2006/relationships/tags" Target="../tags/tag566.xml"/><Relationship Id="rId33" Type="http://schemas.openxmlformats.org/officeDocument/2006/relationships/tags" Target="../tags/tag582.xml"/><Relationship Id="rId38" Type="http://schemas.openxmlformats.org/officeDocument/2006/relationships/tags" Target="../tags/tag587.xml"/><Relationship Id="rId59" Type="http://schemas.openxmlformats.org/officeDocument/2006/relationships/tags" Target="../tags/tag608.xml"/><Relationship Id="rId103" Type="http://schemas.openxmlformats.org/officeDocument/2006/relationships/tags" Target="../tags/tag652.xml"/><Relationship Id="rId20" Type="http://schemas.openxmlformats.org/officeDocument/2006/relationships/tags" Target="../tags/tag569.xml"/><Relationship Id="rId41" Type="http://schemas.openxmlformats.org/officeDocument/2006/relationships/tags" Target="../tags/tag590.xml"/><Relationship Id="rId54" Type="http://schemas.openxmlformats.org/officeDocument/2006/relationships/tags" Target="../tags/tag603.xml"/><Relationship Id="rId62" Type="http://schemas.openxmlformats.org/officeDocument/2006/relationships/tags" Target="../tags/tag611.xml"/><Relationship Id="rId70" Type="http://schemas.openxmlformats.org/officeDocument/2006/relationships/tags" Target="../tags/tag619.xml"/><Relationship Id="rId75" Type="http://schemas.openxmlformats.org/officeDocument/2006/relationships/tags" Target="../tags/tag624.xml"/><Relationship Id="rId83" Type="http://schemas.openxmlformats.org/officeDocument/2006/relationships/tags" Target="../tags/tag632.xml"/><Relationship Id="rId88" Type="http://schemas.openxmlformats.org/officeDocument/2006/relationships/tags" Target="../tags/tag637.xml"/><Relationship Id="rId91" Type="http://schemas.openxmlformats.org/officeDocument/2006/relationships/tags" Target="../tags/tag640.xml"/><Relationship Id="rId96" Type="http://schemas.openxmlformats.org/officeDocument/2006/relationships/tags" Target="../tags/tag645.xml"/><Relationship Id="rId1" Type="http://schemas.openxmlformats.org/officeDocument/2006/relationships/tags" Target="../tags/tag550.xml"/><Relationship Id="rId6" Type="http://schemas.openxmlformats.org/officeDocument/2006/relationships/tags" Target="../tags/tag555.xml"/><Relationship Id="rId15" Type="http://schemas.openxmlformats.org/officeDocument/2006/relationships/tags" Target="../tags/tag564.xml"/><Relationship Id="rId23" Type="http://schemas.openxmlformats.org/officeDocument/2006/relationships/tags" Target="../tags/tag572.xml"/><Relationship Id="rId28" Type="http://schemas.openxmlformats.org/officeDocument/2006/relationships/tags" Target="../tags/tag577.xml"/><Relationship Id="rId36" Type="http://schemas.openxmlformats.org/officeDocument/2006/relationships/tags" Target="../tags/tag585.xml"/><Relationship Id="rId49" Type="http://schemas.openxmlformats.org/officeDocument/2006/relationships/tags" Target="../tags/tag598.xml"/><Relationship Id="rId57" Type="http://schemas.openxmlformats.org/officeDocument/2006/relationships/tags" Target="../tags/tag606.xml"/><Relationship Id="rId106" Type="http://schemas.openxmlformats.org/officeDocument/2006/relationships/slideLayout" Target="../slideLayouts/slideLayout7.xml"/><Relationship Id="rId10" Type="http://schemas.openxmlformats.org/officeDocument/2006/relationships/tags" Target="../tags/tag559.xml"/><Relationship Id="rId31" Type="http://schemas.openxmlformats.org/officeDocument/2006/relationships/tags" Target="../tags/tag580.xml"/><Relationship Id="rId44" Type="http://schemas.openxmlformats.org/officeDocument/2006/relationships/tags" Target="../tags/tag593.xml"/><Relationship Id="rId52" Type="http://schemas.openxmlformats.org/officeDocument/2006/relationships/tags" Target="../tags/tag601.xml"/><Relationship Id="rId60" Type="http://schemas.openxmlformats.org/officeDocument/2006/relationships/tags" Target="../tags/tag609.xml"/><Relationship Id="rId65" Type="http://schemas.openxmlformats.org/officeDocument/2006/relationships/tags" Target="../tags/tag614.xml"/><Relationship Id="rId73" Type="http://schemas.openxmlformats.org/officeDocument/2006/relationships/tags" Target="../tags/tag622.xml"/><Relationship Id="rId78" Type="http://schemas.openxmlformats.org/officeDocument/2006/relationships/tags" Target="../tags/tag627.xml"/><Relationship Id="rId81" Type="http://schemas.openxmlformats.org/officeDocument/2006/relationships/tags" Target="../tags/tag630.xml"/><Relationship Id="rId86" Type="http://schemas.openxmlformats.org/officeDocument/2006/relationships/tags" Target="../tags/tag635.xml"/><Relationship Id="rId94" Type="http://schemas.openxmlformats.org/officeDocument/2006/relationships/tags" Target="../tags/tag643.xml"/><Relationship Id="rId99" Type="http://schemas.openxmlformats.org/officeDocument/2006/relationships/tags" Target="../tags/tag648.xml"/><Relationship Id="rId101" Type="http://schemas.openxmlformats.org/officeDocument/2006/relationships/tags" Target="../tags/tag650.xml"/><Relationship Id="rId4" Type="http://schemas.openxmlformats.org/officeDocument/2006/relationships/tags" Target="../tags/tag553.xml"/><Relationship Id="rId9" Type="http://schemas.openxmlformats.org/officeDocument/2006/relationships/tags" Target="../tags/tag558.xml"/><Relationship Id="rId13" Type="http://schemas.openxmlformats.org/officeDocument/2006/relationships/tags" Target="../tags/tag562.xml"/><Relationship Id="rId18" Type="http://schemas.openxmlformats.org/officeDocument/2006/relationships/tags" Target="../tags/tag567.xml"/><Relationship Id="rId39" Type="http://schemas.openxmlformats.org/officeDocument/2006/relationships/tags" Target="../tags/tag588.xml"/><Relationship Id="rId34" Type="http://schemas.openxmlformats.org/officeDocument/2006/relationships/tags" Target="../tags/tag583.xml"/><Relationship Id="rId50" Type="http://schemas.openxmlformats.org/officeDocument/2006/relationships/tags" Target="../tags/tag599.xml"/><Relationship Id="rId55" Type="http://schemas.openxmlformats.org/officeDocument/2006/relationships/tags" Target="../tags/tag604.xml"/><Relationship Id="rId76" Type="http://schemas.openxmlformats.org/officeDocument/2006/relationships/tags" Target="../tags/tag625.xml"/><Relationship Id="rId97" Type="http://schemas.openxmlformats.org/officeDocument/2006/relationships/tags" Target="../tags/tag646.xml"/><Relationship Id="rId104" Type="http://schemas.openxmlformats.org/officeDocument/2006/relationships/tags" Target="../tags/tag653.xml"/><Relationship Id="rId7" Type="http://schemas.openxmlformats.org/officeDocument/2006/relationships/tags" Target="../tags/tag556.xml"/><Relationship Id="rId71" Type="http://schemas.openxmlformats.org/officeDocument/2006/relationships/tags" Target="../tags/tag620.xml"/><Relationship Id="rId92" Type="http://schemas.openxmlformats.org/officeDocument/2006/relationships/tags" Target="../tags/tag641.xml"/><Relationship Id="rId2" Type="http://schemas.openxmlformats.org/officeDocument/2006/relationships/tags" Target="../tags/tag551.xml"/><Relationship Id="rId29" Type="http://schemas.openxmlformats.org/officeDocument/2006/relationships/tags" Target="../tags/tag578.xml"/><Relationship Id="rId24" Type="http://schemas.openxmlformats.org/officeDocument/2006/relationships/tags" Target="../tags/tag573.xml"/><Relationship Id="rId40" Type="http://schemas.openxmlformats.org/officeDocument/2006/relationships/tags" Target="../tags/tag589.xml"/><Relationship Id="rId45" Type="http://schemas.openxmlformats.org/officeDocument/2006/relationships/tags" Target="../tags/tag594.xml"/><Relationship Id="rId66" Type="http://schemas.openxmlformats.org/officeDocument/2006/relationships/tags" Target="../tags/tag615.xml"/><Relationship Id="rId87" Type="http://schemas.openxmlformats.org/officeDocument/2006/relationships/tags" Target="../tags/tag636.xml"/><Relationship Id="rId61" Type="http://schemas.openxmlformats.org/officeDocument/2006/relationships/tags" Target="../tags/tag610.xml"/><Relationship Id="rId82" Type="http://schemas.openxmlformats.org/officeDocument/2006/relationships/tags" Target="../tags/tag631.xml"/><Relationship Id="rId19" Type="http://schemas.openxmlformats.org/officeDocument/2006/relationships/tags" Target="../tags/tag568.xml"/><Relationship Id="rId14" Type="http://schemas.openxmlformats.org/officeDocument/2006/relationships/tags" Target="../tags/tag563.xml"/><Relationship Id="rId30" Type="http://schemas.openxmlformats.org/officeDocument/2006/relationships/tags" Target="../tags/tag579.xml"/><Relationship Id="rId35" Type="http://schemas.openxmlformats.org/officeDocument/2006/relationships/tags" Target="../tags/tag584.xml"/><Relationship Id="rId56" Type="http://schemas.openxmlformats.org/officeDocument/2006/relationships/tags" Target="../tags/tag605.xml"/><Relationship Id="rId77" Type="http://schemas.openxmlformats.org/officeDocument/2006/relationships/tags" Target="../tags/tag626.xml"/><Relationship Id="rId100" Type="http://schemas.openxmlformats.org/officeDocument/2006/relationships/tags" Target="../tags/tag649.xml"/><Relationship Id="rId105" Type="http://schemas.openxmlformats.org/officeDocument/2006/relationships/tags" Target="../tags/tag654.xml"/><Relationship Id="rId8" Type="http://schemas.openxmlformats.org/officeDocument/2006/relationships/tags" Target="../tags/tag557.xml"/><Relationship Id="rId51" Type="http://schemas.openxmlformats.org/officeDocument/2006/relationships/tags" Target="../tags/tag600.xml"/><Relationship Id="rId72" Type="http://schemas.openxmlformats.org/officeDocument/2006/relationships/tags" Target="../tags/tag621.xml"/><Relationship Id="rId93" Type="http://schemas.openxmlformats.org/officeDocument/2006/relationships/tags" Target="../tags/tag642.xml"/><Relationship Id="rId98" Type="http://schemas.openxmlformats.org/officeDocument/2006/relationships/tags" Target="../tags/tag647.xml"/><Relationship Id="rId3" Type="http://schemas.openxmlformats.org/officeDocument/2006/relationships/tags" Target="../tags/tag552.xml"/><Relationship Id="rId25" Type="http://schemas.openxmlformats.org/officeDocument/2006/relationships/tags" Target="../tags/tag574.xml"/><Relationship Id="rId46" Type="http://schemas.openxmlformats.org/officeDocument/2006/relationships/tags" Target="../tags/tag595.xml"/><Relationship Id="rId67" Type="http://schemas.openxmlformats.org/officeDocument/2006/relationships/tags" Target="../tags/tag616.xml"/></Relationships>
</file>

<file path=ppt/slides/_rels/slide35.xml.rels><?xml version="1.0" encoding="UTF-8" standalone="yes"?>
<Relationships xmlns="http://schemas.openxmlformats.org/package/2006/relationships"><Relationship Id="rId26" Type="http://schemas.openxmlformats.org/officeDocument/2006/relationships/tags" Target="../tags/tag680.xml"/><Relationship Id="rId21" Type="http://schemas.openxmlformats.org/officeDocument/2006/relationships/tags" Target="../tags/tag675.xml"/><Relationship Id="rId42" Type="http://schemas.openxmlformats.org/officeDocument/2006/relationships/tags" Target="../tags/tag696.xml"/><Relationship Id="rId47" Type="http://schemas.openxmlformats.org/officeDocument/2006/relationships/tags" Target="../tags/tag701.xml"/><Relationship Id="rId63" Type="http://schemas.openxmlformats.org/officeDocument/2006/relationships/tags" Target="../tags/tag717.xml"/><Relationship Id="rId68" Type="http://schemas.openxmlformats.org/officeDocument/2006/relationships/tags" Target="../tags/tag722.xml"/><Relationship Id="rId84" Type="http://schemas.openxmlformats.org/officeDocument/2006/relationships/tags" Target="../tags/tag738.xml"/><Relationship Id="rId89" Type="http://schemas.openxmlformats.org/officeDocument/2006/relationships/tags" Target="../tags/tag743.xml"/><Relationship Id="rId16" Type="http://schemas.openxmlformats.org/officeDocument/2006/relationships/tags" Target="../tags/tag670.xml"/><Relationship Id="rId11" Type="http://schemas.openxmlformats.org/officeDocument/2006/relationships/tags" Target="../tags/tag665.xml"/><Relationship Id="rId32" Type="http://schemas.openxmlformats.org/officeDocument/2006/relationships/tags" Target="../tags/tag686.xml"/><Relationship Id="rId37" Type="http://schemas.openxmlformats.org/officeDocument/2006/relationships/tags" Target="../tags/tag691.xml"/><Relationship Id="rId53" Type="http://schemas.openxmlformats.org/officeDocument/2006/relationships/tags" Target="../tags/tag707.xml"/><Relationship Id="rId58" Type="http://schemas.openxmlformats.org/officeDocument/2006/relationships/tags" Target="../tags/tag712.xml"/><Relationship Id="rId74" Type="http://schemas.openxmlformats.org/officeDocument/2006/relationships/tags" Target="../tags/tag728.xml"/><Relationship Id="rId79" Type="http://schemas.openxmlformats.org/officeDocument/2006/relationships/tags" Target="../tags/tag733.xml"/><Relationship Id="rId102" Type="http://schemas.openxmlformats.org/officeDocument/2006/relationships/tags" Target="../tags/tag756.xml"/><Relationship Id="rId5" Type="http://schemas.openxmlformats.org/officeDocument/2006/relationships/tags" Target="../tags/tag659.xml"/><Relationship Id="rId90" Type="http://schemas.openxmlformats.org/officeDocument/2006/relationships/tags" Target="../tags/tag744.xml"/><Relationship Id="rId95" Type="http://schemas.openxmlformats.org/officeDocument/2006/relationships/tags" Target="../tags/tag749.xml"/><Relationship Id="rId22" Type="http://schemas.openxmlformats.org/officeDocument/2006/relationships/tags" Target="../tags/tag676.xml"/><Relationship Id="rId27" Type="http://schemas.openxmlformats.org/officeDocument/2006/relationships/tags" Target="../tags/tag681.xml"/><Relationship Id="rId43" Type="http://schemas.openxmlformats.org/officeDocument/2006/relationships/tags" Target="../tags/tag697.xml"/><Relationship Id="rId48" Type="http://schemas.openxmlformats.org/officeDocument/2006/relationships/tags" Target="../tags/tag702.xml"/><Relationship Id="rId64" Type="http://schemas.openxmlformats.org/officeDocument/2006/relationships/tags" Target="../tags/tag718.xml"/><Relationship Id="rId69" Type="http://schemas.openxmlformats.org/officeDocument/2006/relationships/tags" Target="../tags/tag723.xml"/><Relationship Id="rId80" Type="http://schemas.openxmlformats.org/officeDocument/2006/relationships/tags" Target="../tags/tag734.xml"/><Relationship Id="rId85" Type="http://schemas.openxmlformats.org/officeDocument/2006/relationships/tags" Target="../tags/tag739.xml"/><Relationship Id="rId12" Type="http://schemas.openxmlformats.org/officeDocument/2006/relationships/tags" Target="../tags/tag666.xml"/><Relationship Id="rId17" Type="http://schemas.openxmlformats.org/officeDocument/2006/relationships/tags" Target="../tags/tag671.xml"/><Relationship Id="rId33" Type="http://schemas.openxmlformats.org/officeDocument/2006/relationships/tags" Target="../tags/tag687.xml"/><Relationship Id="rId38" Type="http://schemas.openxmlformats.org/officeDocument/2006/relationships/tags" Target="../tags/tag692.xml"/><Relationship Id="rId59" Type="http://schemas.openxmlformats.org/officeDocument/2006/relationships/tags" Target="../tags/tag713.xml"/><Relationship Id="rId103" Type="http://schemas.openxmlformats.org/officeDocument/2006/relationships/tags" Target="../tags/tag757.xml"/><Relationship Id="rId20" Type="http://schemas.openxmlformats.org/officeDocument/2006/relationships/tags" Target="../tags/tag674.xml"/><Relationship Id="rId41" Type="http://schemas.openxmlformats.org/officeDocument/2006/relationships/tags" Target="../tags/tag695.xml"/><Relationship Id="rId54" Type="http://schemas.openxmlformats.org/officeDocument/2006/relationships/tags" Target="../tags/tag708.xml"/><Relationship Id="rId62" Type="http://schemas.openxmlformats.org/officeDocument/2006/relationships/tags" Target="../tags/tag716.xml"/><Relationship Id="rId70" Type="http://schemas.openxmlformats.org/officeDocument/2006/relationships/tags" Target="../tags/tag724.xml"/><Relationship Id="rId75" Type="http://schemas.openxmlformats.org/officeDocument/2006/relationships/tags" Target="../tags/tag729.xml"/><Relationship Id="rId83" Type="http://schemas.openxmlformats.org/officeDocument/2006/relationships/tags" Target="../tags/tag737.xml"/><Relationship Id="rId88" Type="http://schemas.openxmlformats.org/officeDocument/2006/relationships/tags" Target="../tags/tag742.xml"/><Relationship Id="rId91" Type="http://schemas.openxmlformats.org/officeDocument/2006/relationships/tags" Target="../tags/tag745.xml"/><Relationship Id="rId96" Type="http://schemas.openxmlformats.org/officeDocument/2006/relationships/tags" Target="../tags/tag750.xml"/><Relationship Id="rId1" Type="http://schemas.openxmlformats.org/officeDocument/2006/relationships/tags" Target="../tags/tag655.xml"/><Relationship Id="rId6" Type="http://schemas.openxmlformats.org/officeDocument/2006/relationships/tags" Target="../tags/tag660.xml"/><Relationship Id="rId15" Type="http://schemas.openxmlformats.org/officeDocument/2006/relationships/tags" Target="../tags/tag669.xml"/><Relationship Id="rId23" Type="http://schemas.openxmlformats.org/officeDocument/2006/relationships/tags" Target="../tags/tag677.xml"/><Relationship Id="rId28" Type="http://schemas.openxmlformats.org/officeDocument/2006/relationships/tags" Target="../tags/tag682.xml"/><Relationship Id="rId36" Type="http://schemas.openxmlformats.org/officeDocument/2006/relationships/tags" Target="../tags/tag690.xml"/><Relationship Id="rId49" Type="http://schemas.openxmlformats.org/officeDocument/2006/relationships/tags" Target="../tags/tag703.xml"/><Relationship Id="rId57" Type="http://schemas.openxmlformats.org/officeDocument/2006/relationships/tags" Target="../tags/tag711.xml"/><Relationship Id="rId106" Type="http://schemas.openxmlformats.org/officeDocument/2006/relationships/slideLayout" Target="../slideLayouts/slideLayout7.xml"/><Relationship Id="rId10" Type="http://schemas.openxmlformats.org/officeDocument/2006/relationships/tags" Target="../tags/tag664.xml"/><Relationship Id="rId31" Type="http://schemas.openxmlformats.org/officeDocument/2006/relationships/tags" Target="../tags/tag685.xml"/><Relationship Id="rId44" Type="http://schemas.openxmlformats.org/officeDocument/2006/relationships/tags" Target="../tags/tag698.xml"/><Relationship Id="rId52" Type="http://schemas.openxmlformats.org/officeDocument/2006/relationships/tags" Target="../tags/tag706.xml"/><Relationship Id="rId60" Type="http://schemas.openxmlformats.org/officeDocument/2006/relationships/tags" Target="../tags/tag714.xml"/><Relationship Id="rId65" Type="http://schemas.openxmlformats.org/officeDocument/2006/relationships/tags" Target="../tags/tag719.xml"/><Relationship Id="rId73" Type="http://schemas.openxmlformats.org/officeDocument/2006/relationships/tags" Target="../tags/tag727.xml"/><Relationship Id="rId78" Type="http://schemas.openxmlformats.org/officeDocument/2006/relationships/tags" Target="../tags/tag732.xml"/><Relationship Id="rId81" Type="http://schemas.openxmlformats.org/officeDocument/2006/relationships/tags" Target="../tags/tag735.xml"/><Relationship Id="rId86" Type="http://schemas.openxmlformats.org/officeDocument/2006/relationships/tags" Target="../tags/tag740.xml"/><Relationship Id="rId94" Type="http://schemas.openxmlformats.org/officeDocument/2006/relationships/tags" Target="../tags/tag748.xml"/><Relationship Id="rId99" Type="http://schemas.openxmlformats.org/officeDocument/2006/relationships/tags" Target="../tags/tag753.xml"/><Relationship Id="rId101" Type="http://schemas.openxmlformats.org/officeDocument/2006/relationships/tags" Target="../tags/tag755.xml"/><Relationship Id="rId4" Type="http://schemas.openxmlformats.org/officeDocument/2006/relationships/tags" Target="../tags/tag658.xml"/><Relationship Id="rId9" Type="http://schemas.openxmlformats.org/officeDocument/2006/relationships/tags" Target="../tags/tag663.xml"/><Relationship Id="rId13" Type="http://schemas.openxmlformats.org/officeDocument/2006/relationships/tags" Target="../tags/tag667.xml"/><Relationship Id="rId18" Type="http://schemas.openxmlformats.org/officeDocument/2006/relationships/tags" Target="../tags/tag672.xml"/><Relationship Id="rId39" Type="http://schemas.openxmlformats.org/officeDocument/2006/relationships/tags" Target="../tags/tag693.xml"/><Relationship Id="rId34" Type="http://schemas.openxmlformats.org/officeDocument/2006/relationships/tags" Target="../tags/tag688.xml"/><Relationship Id="rId50" Type="http://schemas.openxmlformats.org/officeDocument/2006/relationships/tags" Target="../tags/tag704.xml"/><Relationship Id="rId55" Type="http://schemas.openxmlformats.org/officeDocument/2006/relationships/tags" Target="../tags/tag709.xml"/><Relationship Id="rId76" Type="http://schemas.openxmlformats.org/officeDocument/2006/relationships/tags" Target="../tags/tag730.xml"/><Relationship Id="rId97" Type="http://schemas.openxmlformats.org/officeDocument/2006/relationships/tags" Target="../tags/tag751.xml"/><Relationship Id="rId104" Type="http://schemas.openxmlformats.org/officeDocument/2006/relationships/tags" Target="../tags/tag758.xml"/><Relationship Id="rId7" Type="http://schemas.openxmlformats.org/officeDocument/2006/relationships/tags" Target="../tags/tag661.xml"/><Relationship Id="rId71" Type="http://schemas.openxmlformats.org/officeDocument/2006/relationships/tags" Target="../tags/tag725.xml"/><Relationship Id="rId92" Type="http://schemas.openxmlformats.org/officeDocument/2006/relationships/tags" Target="../tags/tag746.xml"/><Relationship Id="rId2" Type="http://schemas.openxmlformats.org/officeDocument/2006/relationships/tags" Target="../tags/tag656.xml"/><Relationship Id="rId29" Type="http://schemas.openxmlformats.org/officeDocument/2006/relationships/tags" Target="../tags/tag683.xml"/><Relationship Id="rId24" Type="http://schemas.openxmlformats.org/officeDocument/2006/relationships/tags" Target="../tags/tag678.xml"/><Relationship Id="rId40" Type="http://schemas.openxmlformats.org/officeDocument/2006/relationships/tags" Target="../tags/tag694.xml"/><Relationship Id="rId45" Type="http://schemas.openxmlformats.org/officeDocument/2006/relationships/tags" Target="../tags/tag699.xml"/><Relationship Id="rId66" Type="http://schemas.openxmlformats.org/officeDocument/2006/relationships/tags" Target="../tags/tag720.xml"/><Relationship Id="rId87" Type="http://schemas.openxmlformats.org/officeDocument/2006/relationships/tags" Target="../tags/tag741.xml"/><Relationship Id="rId61" Type="http://schemas.openxmlformats.org/officeDocument/2006/relationships/tags" Target="../tags/tag715.xml"/><Relationship Id="rId82" Type="http://schemas.openxmlformats.org/officeDocument/2006/relationships/tags" Target="../tags/tag736.xml"/><Relationship Id="rId19" Type="http://schemas.openxmlformats.org/officeDocument/2006/relationships/tags" Target="../tags/tag673.xml"/><Relationship Id="rId14" Type="http://schemas.openxmlformats.org/officeDocument/2006/relationships/tags" Target="../tags/tag668.xml"/><Relationship Id="rId30" Type="http://schemas.openxmlformats.org/officeDocument/2006/relationships/tags" Target="../tags/tag684.xml"/><Relationship Id="rId35" Type="http://schemas.openxmlformats.org/officeDocument/2006/relationships/tags" Target="../tags/tag689.xml"/><Relationship Id="rId56" Type="http://schemas.openxmlformats.org/officeDocument/2006/relationships/tags" Target="../tags/tag710.xml"/><Relationship Id="rId77" Type="http://schemas.openxmlformats.org/officeDocument/2006/relationships/tags" Target="../tags/tag731.xml"/><Relationship Id="rId100" Type="http://schemas.openxmlformats.org/officeDocument/2006/relationships/tags" Target="../tags/tag754.xml"/><Relationship Id="rId105" Type="http://schemas.openxmlformats.org/officeDocument/2006/relationships/tags" Target="../tags/tag759.xml"/><Relationship Id="rId8" Type="http://schemas.openxmlformats.org/officeDocument/2006/relationships/tags" Target="../tags/tag662.xml"/><Relationship Id="rId51" Type="http://schemas.openxmlformats.org/officeDocument/2006/relationships/tags" Target="../tags/tag705.xml"/><Relationship Id="rId72" Type="http://schemas.openxmlformats.org/officeDocument/2006/relationships/tags" Target="../tags/tag726.xml"/><Relationship Id="rId93" Type="http://schemas.openxmlformats.org/officeDocument/2006/relationships/tags" Target="../tags/tag747.xml"/><Relationship Id="rId98" Type="http://schemas.openxmlformats.org/officeDocument/2006/relationships/tags" Target="../tags/tag752.xml"/><Relationship Id="rId3" Type="http://schemas.openxmlformats.org/officeDocument/2006/relationships/tags" Target="../tags/tag657.xml"/><Relationship Id="rId25" Type="http://schemas.openxmlformats.org/officeDocument/2006/relationships/tags" Target="../tags/tag679.xml"/><Relationship Id="rId46" Type="http://schemas.openxmlformats.org/officeDocument/2006/relationships/tags" Target="../tags/tag700.xml"/><Relationship Id="rId67" Type="http://schemas.openxmlformats.org/officeDocument/2006/relationships/tags" Target="../tags/tag721.xml"/></Relationships>
</file>

<file path=ppt/slides/_rels/slide36.xml.rels><?xml version="1.0" encoding="UTF-8" standalone="yes"?>
<Relationships xmlns="http://schemas.openxmlformats.org/package/2006/relationships"><Relationship Id="rId26" Type="http://schemas.openxmlformats.org/officeDocument/2006/relationships/tags" Target="../tags/tag785.xml"/><Relationship Id="rId21" Type="http://schemas.openxmlformats.org/officeDocument/2006/relationships/tags" Target="../tags/tag780.xml"/><Relationship Id="rId42" Type="http://schemas.openxmlformats.org/officeDocument/2006/relationships/tags" Target="../tags/tag801.xml"/><Relationship Id="rId47" Type="http://schemas.openxmlformats.org/officeDocument/2006/relationships/tags" Target="../tags/tag806.xml"/><Relationship Id="rId63" Type="http://schemas.openxmlformats.org/officeDocument/2006/relationships/tags" Target="../tags/tag822.xml"/><Relationship Id="rId68" Type="http://schemas.openxmlformats.org/officeDocument/2006/relationships/tags" Target="../tags/tag827.xml"/><Relationship Id="rId84" Type="http://schemas.openxmlformats.org/officeDocument/2006/relationships/tags" Target="../tags/tag843.xml"/><Relationship Id="rId89" Type="http://schemas.openxmlformats.org/officeDocument/2006/relationships/tags" Target="../tags/tag848.xml"/><Relationship Id="rId16" Type="http://schemas.openxmlformats.org/officeDocument/2006/relationships/tags" Target="../tags/tag775.xml"/><Relationship Id="rId107" Type="http://schemas.openxmlformats.org/officeDocument/2006/relationships/tags" Target="../tags/tag866.xml"/><Relationship Id="rId11" Type="http://schemas.openxmlformats.org/officeDocument/2006/relationships/tags" Target="../tags/tag770.xml"/><Relationship Id="rId32" Type="http://schemas.openxmlformats.org/officeDocument/2006/relationships/tags" Target="../tags/tag791.xml"/><Relationship Id="rId37" Type="http://schemas.openxmlformats.org/officeDocument/2006/relationships/tags" Target="../tags/tag796.xml"/><Relationship Id="rId53" Type="http://schemas.openxmlformats.org/officeDocument/2006/relationships/tags" Target="../tags/tag812.xml"/><Relationship Id="rId58" Type="http://schemas.openxmlformats.org/officeDocument/2006/relationships/tags" Target="../tags/tag817.xml"/><Relationship Id="rId74" Type="http://schemas.openxmlformats.org/officeDocument/2006/relationships/tags" Target="../tags/tag833.xml"/><Relationship Id="rId79" Type="http://schemas.openxmlformats.org/officeDocument/2006/relationships/tags" Target="../tags/tag838.xml"/><Relationship Id="rId102" Type="http://schemas.openxmlformats.org/officeDocument/2006/relationships/tags" Target="../tags/tag861.xml"/><Relationship Id="rId5" Type="http://schemas.openxmlformats.org/officeDocument/2006/relationships/tags" Target="../tags/tag764.xml"/><Relationship Id="rId90" Type="http://schemas.openxmlformats.org/officeDocument/2006/relationships/tags" Target="../tags/tag849.xml"/><Relationship Id="rId95" Type="http://schemas.openxmlformats.org/officeDocument/2006/relationships/tags" Target="../tags/tag854.xml"/><Relationship Id="rId22" Type="http://schemas.openxmlformats.org/officeDocument/2006/relationships/tags" Target="../tags/tag781.xml"/><Relationship Id="rId27" Type="http://schemas.openxmlformats.org/officeDocument/2006/relationships/tags" Target="../tags/tag786.xml"/><Relationship Id="rId43" Type="http://schemas.openxmlformats.org/officeDocument/2006/relationships/tags" Target="../tags/tag802.xml"/><Relationship Id="rId48" Type="http://schemas.openxmlformats.org/officeDocument/2006/relationships/tags" Target="../tags/tag807.xml"/><Relationship Id="rId64" Type="http://schemas.openxmlformats.org/officeDocument/2006/relationships/tags" Target="../tags/tag823.xml"/><Relationship Id="rId69" Type="http://schemas.openxmlformats.org/officeDocument/2006/relationships/tags" Target="../tags/tag828.xml"/><Relationship Id="rId80" Type="http://schemas.openxmlformats.org/officeDocument/2006/relationships/tags" Target="../tags/tag839.xml"/><Relationship Id="rId85" Type="http://schemas.openxmlformats.org/officeDocument/2006/relationships/tags" Target="../tags/tag844.xml"/><Relationship Id="rId12" Type="http://schemas.openxmlformats.org/officeDocument/2006/relationships/tags" Target="../tags/tag771.xml"/><Relationship Id="rId17" Type="http://schemas.openxmlformats.org/officeDocument/2006/relationships/tags" Target="../tags/tag776.xml"/><Relationship Id="rId33" Type="http://schemas.openxmlformats.org/officeDocument/2006/relationships/tags" Target="../tags/tag792.xml"/><Relationship Id="rId38" Type="http://schemas.openxmlformats.org/officeDocument/2006/relationships/tags" Target="../tags/tag797.xml"/><Relationship Id="rId59" Type="http://schemas.openxmlformats.org/officeDocument/2006/relationships/tags" Target="../tags/tag818.xml"/><Relationship Id="rId103" Type="http://schemas.openxmlformats.org/officeDocument/2006/relationships/tags" Target="../tags/tag862.xml"/><Relationship Id="rId108" Type="http://schemas.openxmlformats.org/officeDocument/2006/relationships/tags" Target="../tags/tag867.xml"/><Relationship Id="rId54" Type="http://schemas.openxmlformats.org/officeDocument/2006/relationships/tags" Target="../tags/tag813.xml"/><Relationship Id="rId70" Type="http://schemas.openxmlformats.org/officeDocument/2006/relationships/tags" Target="../tags/tag829.xml"/><Relationship Id="rId75" Type="http://schemas.openxmlformats.org/officeDocument/2006/relationships/tags" Target="../tags/tag834.xml"/><Relationship Id="rId91" Type="http://schemas.openxmlformats.org/officeDocument/2006/relationships/tags" Target="../tags/tag850.xml"/><Relationship Id="rId96" Type="http://schemas.openxmlformats.org/officeDocument/2006/relationships/tags" Target="../tags/tag855.xml"/><Relationship Id="rId1" Type="http://schemas.openxmlformats.org/officeDocument/2006/relationships/tags" Target="../tags/tag760.xml"/><Relationship Id="rId6" Type="http://schemas.openxmlformats.org/officeDocument/2006/relationships/tags" Target="../tags/tag765.xml"/><Relationship Id="rId15" Type="http://schemas.openxmlformats.org/officeDocument/2006/relationships/tags" Target="../tags/tag774.xml"/><Relationship Id="rId23" Type="http://schemas.openxmlformats.org/officeDocument/2006/relationships/tags" Target="../tags/tag782.xml"/><Relationship Id="rId28" Type="http://schemas.openxmlformats.org/officeDocument/2006/relationships/tags" Target="../tags/tag787.xml"/><Relationship Id="rId36" Type="http://schemas.openxmlformats.org/officeDocument/2006/relationships/tags" Target="../tags/tag795.xml"/><Relationship Id="rId49" Type="http://schemas.openxmlformats.org/officeDocument/2006/relationships/tags" Target="../tags/tag808.xml"/><Relationship Id="rId57" Type="http://schemas.openxmlformats.org/officeDocument/2006/relationships/tags" Target="../tags/tag816.xml"/><Relationship Id="rId106" Type="http://schemas.openxmlformats.org/officeDocument/2006/relationships/tags" Target="../tags/tag865.xml"/><Relationship Id="rId10" Type="http://schemas.openxmlformats.org/officeDocument/2006/relationships/tags" Target="../tags/tag769.xml"/><Relationship Id="rId31" Type="http://schemas.openxmlformats.org/officeDocument/2006/relationships/tags" Target="../tags/tag790.xml"/><Relationship Id="rId44" Type="http://schemas.openxmlformats.org/officeDocument/2006/relationships/tags" Target="../tags/tag803.xml"/><Relationship Id="rId52" Type="http://schemas.openxmlformats.org/officeDocument/2006/relationships/tags" Target="../tags/tag811.xml"/><Relationship Id="rId60" Type="http://schemas.openxmlformats.org/officeDocument/2006/relationships/tags" Target="../tags/tag819.xml"/><Relationship Id="rId65" Type="http://schemas.openxmlformats.org/officeDocument/2006/relationships/tags" Target="../tags/tag824.xml"/><Relationship Id="rId73" Type="http://schemas.openxmlformats.org/officeDocument/2006/relationships/tags" Target="../tags/tag832.xml"/><Relationship Id="rId78" Type="http://schemas.openxmlformats.org/officeDocument/2006/relationships/tags" Target="../tags/tag837.xml"/><Relationship Id="rId81" Type="http://schemas.openxmlformats.org/officeDocument/2006/relationships/tags" Target="../tags/tag840.xml"/><Relationship Id="rId86" Type="http://schemas.openxmlformats.org/officeDocument/2006/relationships/tags" Target="../tags/tag845.xml"/><Relationship Id="rId94" Type="http://schemas.openxmlformats.org/officeDocument/2006/relationships/tags" Target="../tags/tag853.xml"/><Relationship Id="rId99" Type="http://schemas.openxmlformats.org/officeDocument/2006/relationships/tags" Target="../tags/tag858.xml"/><Relationship Id="rId101" Type="http://schemas.openxmlformats.org/officeDocument/2006/relationships/tags" Target="../tags/tag860.xml"/><Relationship Id="rId4" Type="http://schemas.openxmlformats.org/officeDocument/2006/relationships/tags" Target="../tags/tag763.xml"/><Relationship Id="rId9" Type="http://schemas.openxmlformats.org/officeDocument/2006/relationships/tags" Target="../tags/tag768.xml"/><Relationship Id="rId13" Type="http://schemas.openxmlformats.org/officeDocument/2006/relationships/tags" Target="../tags/tag772.xml"/><Relationship Id="rId18" Type="http://schemas.openxmlformats.org/officeDocument/2006/relationships/tags" Target="../tags/tag777.xml"/><Relationship Id="rId39" Type="http://schemas.openxmlformats.org/officeDocument/2006/relationships/tags" Target="../tags/tag798.xml"/><Relationship Id="rId109" Type="http://schemas.openxmlformats.org/officeDocument/2006/relationships/slideLayout" Target="../slideLayouts/slideLayout7.xml"/><Relationship Id="rId34" Type="http://schemas.openxmlformats.org/officeDocument/2006/relationships/tags" Target="../tags/tag793.xml"/><Relationship Id="rId50" Type="http://schemas.openxmlformats.org/officeDocument/2006/relationships/tags" Target="../tags/tag809.xml"/><Relationship Id="rId55" Type="http://schemas.openxmlformats.org/officeDocument/2006/relationships/tags" Target="../tags/tag814.xml"/><Relationship Id="rId76" Type="http://schemas.openxmlformats.org/officeDocument/2006/relationships/tags" Target="../tags/tag835.xml"/><Relationship Id="rId97" Type="http://schemas.openxmlformats.org/officeDocument/2006/relationships/tags" Target="../tags/tag856.xml"/><Relationship Id="rId104" Type="http://schemas.openxmlformats.org/officeDocument/2006/relationships/tags" Target="../tags/tag863.xml"/><Relationship Id="rId7" Type="http://schemas.openxmlformats.org/officeDocument/2006/relationships/tags" Target="../tags/tag766.xml"/><Relationship Id="rId71" Type="http://schemas.openxmlformats.org/officeDocument/2006/relationships/tags" Target="../tags/tag830.xml"/><Relationship Id="rId92" Type="http://schemas.openxmlformats.org/officeDocument/2006/relationships/tags" Target="../tags/tag851.xml"/><Relationship Id="rId2" Type="http://schemas.openxmlformats.org/officeDocument/2006/relationships/tags" Target="../tags/tag761.xml"/><Relationship Id="rId29" Type="http://schemas.openxmlformats.org/officeDocument/2006/relationships/tags" Target="../tags/tag788.xml"/><Relationship Id="rId24" Type="http://schemas.openxmlformats.org/officeDocument/2006/relationships/tags" Target="../tags/tag783.xml"/><Relationship Id="rId40" Type="http://schemas.openxmlformats.org/officeDocument/2006/relationships/tags" Target="../tags/tag799.xml"/><Relationship Id="rId45" Type="http://schemas.openxmlformats.org/officeDocument/2006/relationships/tags" Target="../tags/tag804.xml"/><Relationship Id="rId66" Type="http://schemas.openxmlformats.org/officeDocument/2006/relationships/tags" Target="../tags/tag825.xml"/><Relationship Id="rId87" Type="http://schemas.openxmlformats.org/officeDocument/2006/relationships/tags" Target="../tags/tag846.xml"/><Relationship Id="rId61" Type="http://schemas.openxmlformats.org/officeDocument/2006/relationships/tags" Target="../tags/tag820.xml"/><Relationship Id="rId82" Type="http://schemas.openxmlformats.org/officeDocument/2006/relationships/tags" Target="../tags/tag841.xml"/><Relationship Id="rId19" Type="http://schemas.openxmlformats.org/officeDocument/2006/relationships/tags" Target="../tags/tag778.xml"/><Relationship Id="rId14" Type="http://schemas.openxmlformats.org/officeDocument/2006/relationships/tags" Target="../tags/tag773.xml"/><Relationship Id="rId30" Type="http://schemas.openxmlformats.org/officeDocument/2006/relationships/tags" Target="../tags/tag789.xml"/><Relationship Id="rId35" Type="http://schemas.openxmlformats.org/officeDocument/2006/relationships/tags" Target="../tags/tag794.xml"/><Relationship Id="rId56" Type="http://schemas.openxmlformats.org/officeDocument/2006/relationships/tags" Target="../tags/tag815.xml"/><Relationship Id="rId77" Type="http://schemas.openxmlformats.org/officeDocument/2006/relationships/tags" Target="../tags/tag836.xml"/><Relationship Id="rId100" Type="http://schemas.openxmlformats.org/officeDocument/2006/relationships/tags" Target="../tags/tag859.xml"/><Relationship Id="rId105" Type="http://schemas.openxmlformats.org/officeDocument/2006/relationships/tags" Target="../tags/tag864.xml"/><Relationship Id="rId8" Type="http://schemas.openxmlformats.org/officeDocument/2006/relationships/tags" Target="../tags/tag767.xml"/><Relationship Id="rId51" Type="http://schemas.openxmlformats.org/officeDocument/2006/relationships/tags" Target="../tags/tag810.xml"/><Relationship Id="rId72" Type="http://schemas.openxmlformats.org/officeDocument/2006/relationships/tags" Target="../tags/tag831.xml"/><Relationship Id="rId93" Type="http://schemas.openxmlformats.org/officeDocument/2006/relationships/tags" Target="../tags/tag852.xml"/><Relationship Id="rId98" Type="http://schemas.openxmlformats.org/officeDocument/2006/relationships/tags" Target="../tags/tag857.xml"/><Relationship Id="rId3" Type="http://schemas.openxmlformats.org/officeDocument/2006/relationships/tags" Target="../tags/tag762.xml"/><Relationship Id="rId25" Type="http://schemas.openxmlformats.org/officeDocument/2006/relationships/tags" Target="../tags/tag784.xml"/><Relationship Id="rId46" Type="http://schemas.openxmlformats.org/officeDocument/2006/relationships/tags" Target="../tags/tag805.xml"/><Relationship Id="rId67" Type="http://schemas.openxmlformats.org/officeDocument/2006/relationships/tags" Target="../tags/tag826.xml"/><Relationship Id="rId20" Type="http://schemas.openxmlformats.org/officeDocument/2006/relationships/tags" Target="../tags/tag779.xml"/><Relationship Id="rId41" Type="http://schemas.openxmlformats.org/officeDocument/2006/relationships/tags" Target="../tags/tag800.xml"/><Relationship Id="rId62" Type="http://schemas.openxmlformats.org/officeDocument/2006/relationships/tags" Target="../tags/tag821.xml"/><Relationship Id="rId83" Type="http://schemas.openxmlformats.org/officeDocument/2006/relationships/tags" Target="../tags/tag842.xml"/><Relationship Id="rId88" Type="http://schemas.openxmlformats.org/officeDocument/2006/relationships/tags" Target="../tags/tag84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tags" Target="../tags/tag870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869.xml"/><Relationship Id="rId1" Type="http://schemas.openxmlformats.org/officeDocument/2006/relationships/tags" Target="../tags/tag868.xml"/><Relationship Id="rId6" Type="http://schemas.openxmlformats.org/officeDocument/2006/relationships/tags" Target="../tags/tag873.xml"/><Relationship Id="rId5" Type="http://schemas.openxmlformats.org/officeDocument/2006/relationships/tags" Target="../tags/tag872.xml"/><Relationship Id="rId4" Type="http://schemas.openxmlformats.org/officeDocument/2006/relationships/tags" Target="../tags/tag87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tags" Target="../tags/tag876.xml"/><Relationship Id="rId2" Type="http://schemas.openxmlformats.org/officeDocument/2006/relationships/tags" Target="../tags/tag875.xml"/><Relationship Id="rId1" Type="http://schemas.openxmlformats.org/officeDocument/2006/relationships/tags" Target="../tags/tag874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878.xml"/><Relationship Id="rId4" Type="http://schemas.openxmlformats.org/officeDocument/2006/relationships/tags" Target="../tags/tag87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jpeg"/><Relationship Id="rId2" Type="http://schemas.openxmlformats.org/officeDocument/2006/relationships/image" Target="../media/image91.jpe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9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96.jpeg"/><Relationship Id="rId4" Type="http://schemas.openxmlformats.org/officeDocument/2006/relationships/image" Target="../media/image95.jpe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jpeg"/><Relationship Id="rId2" Type="http://schemas.openxmlformats.org/officeDocument/2006/relationships/image" Target="../media/image98.jpeg"/><Relationship Id="rId1" Type="http://schemas.openxmlformats.org/officeDocument/2006/relationships/slideLayout" Target="../slideLayouts/slideLayout8.xml"/><Relationship Id="rId5" Type="http://schemas.openxmlformats.org/officeDocument/2006/relationships/chart" Target="../charts/chart2.xml"/><Relationship Id="rId4" Type="http://schemas.openxmlformats.org/officeDocument/2006/relationships/image" Target="../media/image94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01.jpeg"/><Relationship Id="rId4" Type="http://schemas.openxmlformats.org/officeDocument/2006/relationships/image" Target="../media/image100.jpe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png"/><Relationship Id="rId3" Type="http://schemas.openxmlformats.org/officeDocument/2006/relationships/tags" Target="../tags/tag881.xml"/><Relationship Id="rId7" Type="http://schemas.openxmlformats.org/officeDocument/2006/relationships/chart" Target="../charts/chart4.xml"/><Relationship Id="rId2" Type="http://schemas.openxmlformats.org/officeDocument/2006/relationships/tags" Target="../tags/tag880.xml"/><Relationship Id="rId1" Type="http://schemas.openxmlformats.org/officeDocument/2006/relationships/tags" Target="../tags/tag879.xml"/><Relationship Id="rId6" Type="http://schemas.openxmlformats.org/officeDocument/2006/relationships/image" Target="../media/image94.png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882.xml"/><Relationship Id="rId9" Type="http://schemas.openxmlformats.org/officeDocument/2006/relationships/image" Target="../media/image103.jpe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jpeg"/><Relationship Id="rId3" Type="http://schemas.openxmlformats.org/officeDocument/2006/relationships/tags" Target="../tags/tag885.xml"/><Relationship Id="rId7" Type="http://schemas.openxmlformats.org/officeDocument/2006/relationships/chart" Target="../charts/chart5.xml"/><Relationship Id="rId2" Type="http://schemas.openxmlformats.org/officeDocument/2006/relationships/tags" Target="../tags/tag884.xml"/><Relationship Id="rId1" Type="http://schemas.openxmlformats.org/officeDocument/2006/relationships/tags" Target="../tags/tag883.xml"/><Relationship Id="rId6" Type="http://schemas.openxmlformats.org/officeDocument/2006/relationships/image" Target="../media/image94.png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886.xml"/><Relationship Id="rId9" Type="http://schemas.openxmlformats.org/officeDocument/2006/relationships/image" Target="../media/image105.jpe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6.png"/><Relationship Id="rId3" Type="http://schemas.openxmlformats.org/officeDocument/2006/relationships/tags" Target="../tags/tag889.xml"/><Relationship Id="rId7" Type="http://schemas.openxmlformats.org/officeDocument/2006/relationships/chart" Target="../charts/chart6.xml"/><Relationship Id="rId2" Type="http://schemas.openxmlformats.org/officeDocument/2006/relationships/tags" Target="../tags/tag888.xml"/><Relationship Id="rId1" Type="http://schemas.openxmlformats.org/officeDocument/2006/relationships/tags" Target="../tags/tag887.xml"/><Relationship Id="rId6" Type="http://schemas.openxmlformats.org/officeDocument/2006/relationships/image" Target="../media/image94.png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890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jpeg"/><Relationship Id="rId3" Type="http://schemas.openxmlformats.org/officeDocument/2006/relationships/tags" Target="../tags/tag893.xml"/><Relationship Id="rId7" Type="http://schemas.openxmlformats.org/officeDocument/2006/relationships/chart" Target="../charts/chart7.xml"/><Relationship Id="rId2" Type="http://schemas.openxmlformats.org/officeDocument/2006/relationships/tags" Target="../tags/tag892.xml"/><Relationship Id="rId1" Type="http://schemas.openxmlformats.org/officeDocument/2006/relationships/tags" Target="../tags/tag891.xml"/><Relationship Id="rId6" Type="http://schemas.openxmlformats.org/officeDocument/2006/relationships/image" Target="../media/image94.png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894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png"/><Relationship Id="rId3" Type="http://schemas.openxmlformats.org/officeDocument/2006/relationships/tags" Target="../tags/tag897.xml"/><Relationship Id="rId7" Type="http://schemas.openxmlformats.org/officeDocument/2006/relationships/chart" Target="../charts/chart8.xml"/><Relationship Id="rId2" Type="http://schemas.openxmlformats.org/officeDocument/2006/relationships/tags" Target="../tags/tag896.xml"/><Relationship Id="rId1" Type="http://schemas.openxmlformats.org/officeDocument/2006/relationships/tags" Target="../tags/tag895.xml"/><Relationship Id="rId6" Type="http://schemas.openxmlformats.org/officeDocument/2006/relationships/image" Target="../media/image94.png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898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tags" Target="../tags/tag906.xml"/><Relationship Id="rId13" Type="http://schemas.openxmlformats.org/officeDocument/2006/relationships/tags" Target="../tags/tag911.xml"/><Relationship Id="rId18" Type="http://schemas.openxmlformats.org/officeDocument/2006/relationships/tags" Target="../tags/tag916.xml"/><Relationship Id="rId26" Type="http://schemas.openxmlformats.org/officeDocument/2006/relationships/tags" Target="../tags/tag924.xml"/><Relationship Id="rId3" Type="http://schemas.openxmlformats.org/officeDocument/2006/relationships/tags" Target="../tags/tag901.xml"/><Relationship Id="rId21" Type="http://schemas.openxmlformats.org/officeDocument/2006/relationships/tags" Target="../tags/tag919.xml"/><Relationship Id="rId7" Type="http://schemas.openxmlformats.org/officeDocument/2006/relationships/tags" Target="../tags/tag905.xml"/><Relationship Id="rId12" Type="http://schemas.openxmlformats.org/officeDocument/2006/relationships/tags" Target="../tags/tag910.xml"/><Relationship Id="rId17" Type="http://schemas.openxmlformats.org/officeDocument/2006/relationships/tags" Target="../tags/tag915.xml"/><Relationship Id="rId25" Type="http://schemas.openxmlformats.org/officeDocument/2006/relationships/tags" Target="../tags/tag923.xml"/><Relationship Id="rId2" Type="http://schemas.openxmlformats.org/officeDocument/2006/relationships/tags" Target="../tags/tag900.xml"/><Relationship Id="rId16" Type="http://schemas.openxmlformats.org/officeDocument/2006/relationships/tags" Target="../tags/tag914.xml"/><Relationship Id="rId20" Type="http://schemas.openxmlformats.org/officeDocument/2006/relationships/tags" Target="../tags/tag918.xml"/><Relationship Id="rId1" Type="http://schemas.openxmlformats.org/officeDocument/2006/relationships/tags" Target="../tags/tag899.xml"/><Relationship Id="rId6" Type="http://schemas.openxmlformats.org/officeDocument/2006/relationships/tags" Target="../tags/tag904.xml"/><Relationship Id="rId11" Type="http://schemas.openxmlformats.org/officeDocument/2006/relationships/tags" Target="../tags/tag909.xml"/><Relationship Id="rId24" Type="http://schemas.openxmlformats.org/officeDocument/2006/relationships/tags" Target="../tags/tag922.xml"/><Relationship Id="rId5" Type="http://schemas.openxmlformats.org/officeDocument/2006/relationships/tags" Target="../tags/tag903.xml"/><Relationship Id="rId15" Type="http://schemas.openxmlformats.org/officeDocument/2006/relationships/tags" Target="../tags/tag913.xml"/><Relationship Id="rId23" Type="http://schemas.openxmlformats.org/officeDocument/2006/relationships/tags" Target="../tags/tag921.xml"/><Relationship Id="rId28" Type="http://schemas.openxmlformats.org/officeDocument/2006/relationships/image" Target="../media/image109.png"/><Relationship Id="rId10" Type="http://schemas.openxmlformats.org/officeDocument/2006/relationships/tags" Target="../tags/tag908.xml"/><Relationship Id="rId19" Type="http://schemas.openxmlformats.org/officeDocument/2006/relationships/tags" Target="../tags/tag917.xml"/><Relationship Id="rId4" Type="http://schemas.openxmlformats.org/officeDocument/2006/relationships/tags" Target="../tags/tag902.xml"/><Relationship Id="rId9" Type="http://schemas.openxmlformats.org/officeDocument/2006/relationships/tags" Target="../tags/tag907.xml"/><Relationship Id="rId14" Type="http://schemas.openxmlformats.org/officeDocument/2006/relationships/tags" Target="../tags/tag912.xml"/><Relationship Id="rId22" Type="http://schemas.openxmlformats.org/officeDocument/2006/relationships/tags" Target="../tags/tag920.xml"/><Relationship Id="rId27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25.png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2.xml"/><Relationship Id="rId3" Type="http://schemas.openxmlformats.org/officeDocument/2006/relationships/chart" Target="../charts/chart9.xml"/><Relationship Id="rId7" Type="http://schemas.openxmlformats.org/officeDocument/2006/relationships/image" Target="../media/image1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10.png"/><Relationship Id="rId5" Type="http://schemas.openxmlformats.org/officeDocument/2006/relationships/chart" Target="../charts/chart11.xml"/><Relationship Id="rId4" Type="http://schemas.openxmlformats.org/officeDocument/2006/relationships/chart" Target="../charts/chart10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jpeg"/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11.xml"/><Relationship Id="rId5" Type="http://schemas.openxmlformats.org/officeDocument/2006/relationships/chart" Target="../charts/chart13.xml"/><Relationship Id="rId4" Type="http://schemas.openxmlformats.org/officeDocument/2006/relationships/image" Target="../media/image114.jpe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image" Target="../media/image115.png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jpeg"/><Relationship Id="rId2" Type="http://schemas.openxmlformats.org/officeDocument/2006/relationships/image" Target="../media/image116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11.png"/><Relationship Id="rId4" Type="http://schemas.openxmlformats.org/officeDocument/2006/relationships/image" Target="../media/image118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image" Target="../media/image120.png"/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jpeg"/><Relationship Id="rId2" Type="http://schemas.openxmlformats.org/officeDocument/2006/relationships/image" Target="../media/image113.jpeg"/><Relationship Id="rId1" Type="http://schemas.openxmlformats.org/officeDocument/2006/relationships/slideLayout" Target="../slideLayouts/slideLayout8.xml"/><Relationship Id="rId5" Type="http://schemas.openxmlformats.org/officeDocument/2006/relationships/chart" Target="../charts/chart14.xml"/><Relationship Id="rId4" Type="http://schemas.openxmlformats.org/officeDocument/2006/relationships/image" Target="../media/image111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jpeg"/><Relationship Id="rId2" Type="http://schemas.openxmlformats.org/officeDocument/2006/relationships/image" Target="../media/image121.jpeg"/><Relationship Id="rId1" Type="http://schemas.openxmlformats.org/officeDocument/2006/relationships/slideLayout" Target="../slideLayouts/slideLayout8.xml"/><Relationship Id="rId6" Type="http://schemas.openxmlformats.org/officeDocument/2006/relationships/chart" Target="../charts/chart15.xml"/><Relationship Id="rId5" Type="http://schemas.openxmlformats.org/officeDocument/2006/relationships/image" Target="../media/image111.png"/><Relationship Id="rId4" Type="http://schemas.openxmlformats.org/officeDocument/2006/relationships/image" Target="../media/image123.jpe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jpeg"/><Relationship Id="rId2" Type="http://schemas.openxmlformats.org/officeDocument/2006/relationships/image" Target="../media/image124.jpeg"/><Relationship Id="rId1" Type="http://schemas.openxmlformats.org/officeDocument/2006/relationships/slideLayout" Target="../slideLayouts/slideLayout8.xml"/><Relationship Id="rId6" Type="http://schemas.openxmlformats.org/officeDocument/2006/relationships/chart" Target="../charts/chart16.xml"/><Relationship Id="rId5" Type="http://schemas.openxmlformats.org/officeDocument/2006/relationships/image" Target="../media/image111.png"/><Relationship Id="rId4" Type="http://schemas.openxmlformats.org/officeDocument/2006/relationships/image" Target="../media/image126.jpe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28.jpg"/><Relationship Id="rId4" Type="http://schemas.openxmlformats.org/officeDocument/2006/relationships/image" Target="../media/image127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30.jpeg"/><Relationship Id="rId4" Type="http://schemas.openxmlformats.org/officeDocument/2006/relationships/image" Target="../media/image129.jpe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32.jpeg"/><Relationship Id="rId4" Type="http://schemas.openxmlformats.org/officeDocument/2006/relationships/image" Target="../media/image131.jpe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2.png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tags" Target="../tags/tag932.xml"/><Relationship Id="rId13" Type="http://schemas.openxmlformats.org/officeDocument/2006/relationships/tags" Target="../tags/tag937.xml"/><Relationship Id="rId18" Type="http://schemas.openxmlformats.org/officeDocument/2006/relationships/tags" Target="../tags/tag942.xml"/><Relationship Id="rId26" Type="http://schemas.openxmlformats.org/officeDocument/2006/relationships/chart" Target="../charts/chart24.xml"/><Relationship Id="rId3" Type="http://schemas.openxmlformats.org/officeDocument/2006/relationships/tags" Target="../tags/tag927.xml"/><Relationship Id="rId21" Type="http://schemas.openxmlformats.org/officeDocument/2006/relationships/tags" Target="../tags/tag945.xml"/><Relationship Id="rId7" Type="http://schemas.openxmlformats.org/officeDocument/2006/relationships/tags" Target="../tags/tag931.xml"/><Relationship Id="rId12" Type="http://schemas.openxmlformats.org/officeDocument/2006/relationships/tags" Target="../tags/tag936.xml"/><Relationship Id="rId17" Type="http://schemas.openxmlformats.org/officeDocument/2006/relationships/tags" Target="../tags/tag941.xml"/><Relationship Id="rId25" Type="http://schemas.openxmlformats.org/officeDocument/2006/relationships/chart" Target="../charts/chart23.xml"/><Relationship Id="rId2" Type="http://schemas.openxmlformats.org/officeDocument/2006/relationships/tags" Target="../tags/tag926.xml"/><Relationship Id="rId16" Type="http://schemas.openxmlformats.org/officeDocument/2006/relationships/tags" Target="../tags/tag940.xml"/><Relationship Id="rId20" Type="http://schemas.openxmlformats.org/officeDocument/2006/relationships/tags" Target="../tags/tag944.xml"/><Relationship Id="rId29" Type="http://schemas.openxmlformats.org/officeDocument/2006/relationships/image" Target="../media/image135.png"/><Relationship Id="rId1" Type="http://schemas.openxmlformats.org/officeDocument/2006/relationships/tags" Target="../tags/tag925.xml"/><Relationship Id="rId6" Type="http://schemas.openxmlformats.org/officeDocument/2006/relationships/tags" Target="../tags/tag930.xml"/><Relationship Id="rId11" Type="http://schemas.openxmlformats.org/officeDocument/2006/relationships/tags" Target="../tags/tag935.xml"/><Relationship Id="rId24" Type="http://schemas.openxmlformats.org/officeDocument/2006/relationships/chart" Target="../charts/chart22.xml"/><Relationship Id="rId5" Type="http://schemas.openxmlformats.org/officeDocument/2006/relationships/tags" Target="../tags/tag929.xml"/><Relationship Id="rId15" Type="http://schemas.openxmlformats.org/officeDocument/2006/relationships/tags" Target="../tags/tag939.xml"/><Relationship Id="rId23" Type="http://schemas.openxmlformats.org/officeDocument/2006/relationships/slideLayout" Target="../slideLayouts/slideLayout11.xml"/><Relationship Id="rId28" Type="http://schemas.openxmlformats.org/officeDocument/2006/relationships/image" Target="../media/image134.png"/><Relationship Id="rId10" Type="http://schemas.openxmlformats.org/officeDocument/2006/relationships/tags" Target="../tags/tag934.xml"/><Relationship Id="rId19" Type="http://schemas.openxmlformats.org/officeDocument/2006/relationships/tags" Target="../tags/tag943.xml"/><Relationship Id="rId4" Type="http://schemas.openxmlformats.org/officeDocument/2006/relationships/tags" Target="../tags/tag928.xml"/><Relationship Id="rId9" Type="http://schemas.openxmlformats.org/officeDocument/2006/relationships/tags" Target="../tags/tag933.xml"/><Relationship Id="rId14" Type="http://schemas.openxmlformats.org/officeDocument/2006/relationships/tags" Target="../tags/tag938.xml"/><Relationship Id="rId22" Type="http://schemas.openxmlformats.org/officeDocument/2006/relationships/tags" Target="../tags/tag946.xml"/><Relationship Id="rId27" Type="http://schemas.openxmlformats.org/officeDocument/2006/relationships/image" Target="../media/image133.jpeg"/></Relationships>
</file>

<file path=ppt/slides/_rels/slide64.xml.rels><?xml version="1.0" encoding="UTF-8" standalone="yes"?>
<Relationships xmlns="http://schemas.openxmlformats.org/package/2006/relationships"><Relationship Id="rId13" Type="http://schemas.openxmlformats.org/officeDocument/2006/relationships/tags" Target="../tags/tag959.xml"/><Relationship Id="rId18" Type="http://schemas.openxmlformats.org/officeDocument/2006/relationships/tags" Target="../tags/tag964.xml"/><Relationship Id="rId26" Type="http://schemas.openxmlformats.org/officeDocument/2006/relationships/tags" Target="../tags/tag972.xml"/><Relationship Id="rId21" Type="http://schemas.openxmlformats.org/officeDocument/2006/relationships/tags" Target="../tags/tag967.xml"/><Relationship Id="rId34" Type="http://schemas.openxmlformats.org/officeDocument/2006/relationships/image" Target="../media/image136.jpeg"/><Relationship Id="rId7" Type="http://schemas.openxmlformats.org/officeDocument/2006/relationships/tags" Target="../tags/tag953.xml"/><Relationship Id="rId12" Type="http://schemas.openxmlformats.org/officeDocument/2006/relationships/tags" Target="../tags/tag958.xml"/><Relationship Id="rId17" Type="http://schemas.openxmlformats.org/officeDocument/2006/relationships/tags" Target="../tags/tag963.xml"/><Relationship Id="rId25" Type="http://schemas.openxmlformats.org/officeDocument/2006/relationships/tags" Target="../tags/tag971.xml"/><Relationship Id="rId33" Type="http://schemas.openxmlformats.org/officeDocument/2006/relationships/chart" Target="../charts/chart28.xml"/><Relationship Id="rId2" Type="http://schemas.openxmlformats.org/officeDocument/2006/relationships/tags" Target="../tags/tag948.xml"/><Relationship Id="rId16" Type="http://schemas.openxmlformats.org/officeDocument/2006/relationships/tags" Target="../tags/tag962.xml"/><Relationship Id="rId20" Type="http://schemas.openxmlformats.org/officeDocument/2006/relationships/tags" Target="../tags/tag966.xml"/><Relationship Id="rId29" Type="http://schemas.openxmlformats.org/officeDocument/2006/relationships/slideLayout" Target="../slideLayouts/slideLayout11.xml"/><Relationship Id="rId1" Type="http://schemas.openxmlformats.org/officeDocument/2006/relationships/tags" Target="../tags/tag947.xml"/><Relationship Id="rId6" Type="http://schemas.openxmlformats.org/officeDocument/2006/relationships/tags" Target="../tags/tag952.xml"/><Relationship Id="rId11" Type="http://schemas.openxmlformats.org/officeDocument/2006/relationships/tags" Target="../tags/tag957.xml"/><Relationship Id="rId24" Type="http://schemas.openxmlformats.org/officeDocument/2006/relationships/tags" Target="../tags/tag970.xml"/><Relationship Id="rId32" Type="http://schemas.openxmlformats.org/officeDocument/2006/relationships/chart" Target="../charts/chart27.xml"/><Relationship Id="rId37" Type="http://schemas.openxmlformats.org/officeDocument/2006/relationships/image" Target="../media/image138.jpeg"/><Relationship Id="rId5" Type="http://schemas.openxmlformats.org/officeDocument/2006/relationships/tags" Target="../tags/tag951.xml"/><Relationship Id="rId15" Type="http://schemas.openxmlformats.org/officeDocument/2006/relationships/tags" Target="../tags/tag961.xml"/><Relationship Id="rId23" Type="http://schemas.openxmlformats.org/officeDocument/2006/relationships/tags" Target="../tags/tag969.xml"/><Relationship Id="rId28" Type="http://schemas.openxmlformats.org/officeDocument/2006/relationships/tags" Target="../tags/tag974.xml"/><Relationship Id="rId36" Type="http://schemas.openxmlformats.org/officeDocument/2006/relationships/image" Target="../media/image137.jpeg"/><Relationship Id="rId10" Type="http://schemas.openxmlformats.org/officeDocument/2006/relationships/tags" Target="../tags/tag956.xml"/><Relationship Id="rId19" Type="http://schemas.openxmlformats.org/officeDocument/2006/relationships/tags" Target="../tags/tag965.xml"/><Relationship Id="rId31" Type="http://schemas.openxmlformats.org/officeDocument/2006/relationships/chart" Target="../charts/chart26.xml"/><Relationship Id="rId4" Type="http://schemas.openxmlformats.org/officeDocument/2006/relationships/tags" Target="../tags/tag950.xml"/><Relationship Id="rId9" Type="http://schemas.openxmlformats.org/officeDocument/2006/relationships/tags" Target="../tags/tag955.xml"/><Relationship Id="rId14" Type="http://schemas.openxmlformats.org/officeDocument/2006/relationships/tags" Target="../tags/tag960.xml"/><Relationship Id="rId22" Type="http://schemas.openxmlformats.org/officeDocument/2006/relationships/tags" Target="../tags/tag968.xml"/><Relationship Id="rId27" Type="http://schemas.openxmlformats.org/officeDocument/2006/relationships/tags" Target="../tags/tag973.xml"/><Relationship Id="rId30" Type="http://schemas.openxmlformats.org/officeDocument/2006/relationships/chart" Target="../charts/chart25.xml"/><Relationship Id="rId35" Type="http://schemas.openxmlformats.org/officeDocument/2006/relationships/image" Target="../media/image41.png"/><Relationship Id="rId8" Type="http://schemas.openxmlformats.org/officeDocument/2006/relationships/tags" Target="../tags/tag954.xml"/><Relationship Id="rId3" Type="http://schemas.openxmlformats.org/officeDocument/2006/relationships/tags" Target="../tags/tag949.xml"/></Relationships>
</file>

<file path=ppt/slides/_rels/slide65.xml.rels><?xml version="1.0" encoding="UTF-8" standalone="yes"?>
<Relationships xmlns="http://schemas.openxmlformats.org/package/2006/relationships"><Relationship Id="rId13" Type="http://schemas.openxmlformats.org/officeDocument/2006/relationships/tags" Target="../tags/tag987.xml"/><Relationship Id="rId18" Type="http://schemas.openxmlformats.org/officeDocument/2006/relationships/tags" Target="../tags/tag992.xml"/><Relationship Id="rId26" Type="http://schemas.openxmlformats.org/officeDocument/2006/relationships/tags" Target="../tags/tag1000.xml"/><Relationship Id="rId21" Type="http://schemas.openxmlformats.org/officeDocument/2006/relationships/tags" Target="../tags/tag995.xml"/><Relationship Id="rId34" Type="http://schemas.microsoft.com/office/2007/relationships/hdphoto" Target="../media/hdphoto1.wdp"/><Relationship Id="rId7" Type="http://schemas.openxmlformats.org/officeDocument/2006/relationships/tags" Target="../tags/tag981.xml"/><Relationship Id="rId12" Type="http://schemas.openxmlformats.org/officeDocument/2006/relationships/tags" Target="../tags/tag986.xml"/><Relationship Id="rId17" Type="http://schemas.openxmlformats.org/officeDocument/2006/relationships/tags" Target="../tags/tag991.xml"/><Relationship Id="rId25" Type="http://schemas.openxmlformats.org/officeDocument/2006/relationships/tags" Target="../tags/tag999.xml"/><Relationship Id="rId33" Type="http://schemas.openxmlformats.org/officeDocument/2006/relationships/image" Target="../media/image139.png"/><Relationship Id="rId2" Type="http://schemas.openxmlformats.org/officeDocument/2006/relationships/tags" Target="../tags/tag976.xml"/><Relationship Id="rId16" Type="http://schemas.openxmlformats.org/officeDocument/2006/relationships/tags" Target="../tags/tag990.xml"/><Relationship Id="rId20" Type="http://schemas.openxmlformats.org/officeDocument/2006/relationships/tags" Target="../tags/tag994.xml"/><Relationship Id="rId29" Type="http://schemas.openxmlformats.org/officeDocument/2006/relationships/slideLayout" Target="../slideLayouts/slideLayout11.xml"/><Relationship Id="rId1" Type="http://schemas.openxmlformats.org/officeDocument/2006/relationships/tags" Target="../tags/tag975.xml"/><Relationship Id="rId6" Type="http://schemas.openxmlformats.org/officeDocument/2006/relationships/tags" Target="../tags/tag980.xml"/><Relationship Id="rId11" Type="http://schemas.openxmlformats.org/officeDocument/2006/relationships/tags" Target="../tags/tag985.xml"/><Relationship Id="rId24" Type="http://schemas.openxmlformats.org/officeDocument/2006/relationships/tags" Target="../tags/tag998.xml"/><Relationship Id="rId32" Type="http://schemas.openxmlformats.org/officeDocument/2006/relationships/chart" Target="../charts/chart31.xml"/><Relationship Id="rId37" Type="http://schemas.openxmlformats.org/officeDocument/2006/relationships/image" Target="../media/image141.png"/><Relationship Id="rId5" Type="http://schemas.openxmlformats.org/officeDocument/2006/relationships/tags" Target="../tags/tag979.xml"/><Relationship Id="rId15" Type="http://schemas.openxmlformats.org/officeDocument/2006/relationships/tags" Target="../tags/tag989.xml"/><Relationship Id="rId23" Type="http://schemas.openxmlformats.org/officeDocument/2006/relationships/tags" Target="../tags/tag997.xml"/><Relationship Id="rId28" Type="http://schemas.openxmlformats.org/officeDocument/2006/relationships/tags" Target="../tags/tag1002.xml"/><Relationship Id="rId36" Type="http://schemas.openxmlformats.org/officeDocument/2006/relationships/image" Target="../media/image140.jpeg"/><Relationship Id="rId10" Type="http://schemas.openxmlformats.org/officeDocument/2006/relationships/tags" Target="../tags/tag984.xml"/><Relationship Id="rId19" Type="http://schemas.openxmlformats.org/officeDocument/2006/relationships/tags" Target="../tags/tag993.xml"/><Relationship Id="rId31" Type="http://schemas.openxmlformats.org/officeDocument/2006/relationships/chart" Target="../charts/chart30.xml"/><Relationship Id="rId4" Type="http://schemas.openxmlformats.org/officeDocument/2006/relationships/tags" Target="../tags/tag978.xml"/><Relationship Id="rId9" Type="http://schemas.openxmlformats.org/officeDocument/2006/relationships/tags" Target="../tags/tag983.xml"/><Relationship Id="rId14" Type="http://schemas.openxmlformats.org/officeDocument/2006/relationships/tags" Target="../tags/tag988.xml"/><Relationship Id="rId22" Type="http://schemas.openxmlformats.org/officeDocument/2006/relationships/tags" Target="../tags/tag996.xml"/><Relationship Id="rId27" Type="http://schemas.openxmlformats.org/officeDocument/2006/relationships/tags" Target="../tags/tag1001.xml"/><Relationship Id="rId30" Type="http://schemas.openxmlformats.org/officeDocument/2006/relationships/chart" Target="../charts/chart29.xml"/><Relationship Id="rId35" Type="http://schemas.openxmlformats.org/officeDocument/2006/relationships/chart" Target="../charts/chart32.xml"/><Relationship Id="rId8" Type="http://schemas.openxmlformats.org/officeDocument/2006/relationships/tags" Target="../tags/tag982.xml"/><Relationship Id="rId3" Type="http://schemas.openxmlformats.org/officeDocument/2006/relationships/tags" Target="../tags/tag977.xml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tags" Target="../tags/tag1010.xml"/><Relationship Id="rId13" Type="http://schemas.openxmlformats.org/officeDocument/2006/relationships/tags" Target="../tags/tag1015.xml"/><Relationship Id="rId18" Type="http://schemas.openxmlformats.org/officeDocument/2006/relationships/tags" Target="../tags/tag1020.xml"/><Relationship Id="rId26" Type="http://schemas.openxmlformats.org/officeDocument/2006/relationships/chart" Target="../charts/chart33.xml"/><Relationship Id="rId3" Type="http://schemas.openxmlformats.org/officeDocument/2006/relationships/tags" Target="../tags/tag1005.xml"/><Relationship Id="rId21" Type="http://schemas.openxmlformats.org/officeDocument/2006/relationships/tags" Target="../tags/tag1023.xml"/><Relationship Id="rId7" Type="http://schemas.openxmlformats.org/officeDocument/2006/relationships/tags" Target="../tags/tag1009.xml"/><Relationship Id="rId12" Type="http://schemas.openxmlformats.org/officeDocument/2006/relationships/tags" Target="../tags/tag1014.xml"/><Relationship Id="rId17" Type="http://schemas.openxmlformats.org/officeDocument/2006/relationships/tags" Target="../tags/tag1019.xml"/><Relationship Id="rId25" Type="http://schemas.microsoft.com/office/2007/relationships/hdphoto" Target="../media/hdphoto2.wdp"/><Relationship Id="rId2" Type="http://schemas.openxmlformats.org/officeDocument/2006/relationships/tags" Target="../tags/tag1004.xml"/><Relationship Id="rId16" Type="http://schemas.openxmlformats.org/officeDocument/2006/relationships/tags" Target="../tags/tag1018.xml"/><Relationship Id="rId20" Type="http://schemas.openxmlformats.org/officeDocument/2006/relationships/tags" Target="../tags/tag1022.xml"/><Relationship Id="rId29" Type="http://schemas.openxmlformats.org/officeDocument/2006/relationships/image" Target="../media/image141.png"/><Relationship Id="rId1" Type="http://schemas.openxmlformats.org/officeDocument/2006/relationships/tags" Target="../tags/tag1003.xml"/><Relationship Id="rId6" Type="http://schemas.openxmlformats.org/officeDocument/2006/relationships/tags" Target="../tags/tag1008.xml"/><Relationship Id="rId11" Type="http://schemas.openxmlformats.org/officeDocument/2006/relationships/tags" Target="../tags/tag1013.xml"/><Relationship Id="rId24" Type="http://schemas.openxmlformats.org/officeDocument/2006/relationships/image" Target="../media/image142.png"/><Relationship Id="rId5" Type="http://schemas.openxmlformats.org/officeDocument/2006/relationships/tags" Target="../tags/tag1007.xml"/><Relationship Id="rId15" Type="http://schemas.openxmlformats.org/officeDocument/2006/relationships/tags" Target="../tags/tag1017.xml"/><Relationship Id="rId23" Type="http://schemas.openxmlformats.org/officeDocument/2006/relationships/slideLayout" Target="../slideLayouts/slideLayout11.xml"/><Relationship Id="rId28" Type="http://schemas.openxmlformats.org/officeDocument/2006/relationships/chart" Target="../charts/chart35.xml"/><Relationship Id="rId10" Type="http://schemas.openxmlformats.org/officeDocument/2006/relationships/tags" Target="../tags/tag1012.xml"/><Relationship Id="rId19" Type="http://schemas.openxmlformats.org/officeDocument/2006/relationships/tags" Target="../tags/tag1021.xml"/><Relationship Id="rId4" Type="http://schemas.openxmlformats.org/officeDocument/2006/relationships/tags" Target="../tags/tag1006.xml"/><Relationship Id="rId9" Type="http://schemas.openxmlformats.org/officeDocument/2006/relationships/tags" Target="../tags/tag1011.xml"/><Relationship Id="rId14" Type="http://schemas.openxmlformats.org/officeDocument/2006/relationships/tags" Target="../tags/tag1016.xml"/><Relationship Id="rId22" Type="http://schemas.openxmlformats.org/officeDocument/2006/relationships/tags" Target="../tags/tag1024.xml"/><Relationship Id="rId27" Type="http://schemas.openxmlformats.org/officeDocument/2006/relationships/chart" Target="../charts/chart34.xml"/><Relationship Id="rId30" Type="http://schemas.openxmlformats.org/officeDocument/2006/relationships/image" Target="../media/image143.jpeg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4.jpeg"/><Relationship Id="rId1" Type="http://schemas.openxmlformats.org/officeDocument/2006/relationships/slideLayout" Target="../slideLayouts/slideLayout6.xml"/></Relationships>
</file>

<file path=ppt/slides/_rels/slide68.xml.rels><?xml version="1.0" encoding="UTF-8" standalone="yes"?>
<Relationships xmlns="http://schemas.openxmlformats.org/package/2006/relationships"><Relationship Id="rId26" Type="http://schemas.openxmlformats.org/officeDocument/2006/relationships/tags" Target="../tags/tag1049.xml"/><Relationship Id="rId21" Type="http://schemas.openxmlformats.org/officeDocument/2006/relationships/tags" Target="../tags/tag1044.xml"/><Relationship Id="rId42" Type="http://schemas.openxmlformats.org/officeDocument/2006/relationships/tags" Target="../tags/tag1065.xml"/><Relationship Id="rId47" Type="http://schemas.openxmlformats.org/officeDocument/2006/relationships/tags" Target="../tags/tag1070.xml"/><Relationship Id="rId63" Type="http://schemas.openxmlformats.org/officeDocument/2006/relationships/tags" Target="../tags/tag1086.xml"/><Relationship Id="rId68" Type="http://schemas.openxmlformats.org/officeDocument/2006/relationships/notesSlide" Target="../notesSlides/notesSlide2.xml"/><Relationship Id="rId16" Type="http://schemas.openxmlformats.org/officeDocument/2006/relationships/tags" Target="../tags/tag1039.xml"/><Relationship Id="rId11" Type="http://schemas.openxmlformats.org/officeDocument/2006/relationships/tags" Target="../tags/tag1034.xml"/><Relationship Id="rId24" Type="http://schemas.openxmlformats.org/officeDocument/2006/relationships/tags" Target="../tags/tag1047.xml"/><Relationship Id="rId32" Type="http://schemas.openxmlformats.org/officeDocument/2006/relationships/tags" Target="../tags/tag1055.xml"/><Relationship Id="rId37" Type="http://schemas.openxmlformats.org/officeDocument/2006/relationships/tags" Target="../tags/tag1060.xml"/><Relationship Id="rId40" Type="http://schemas.openxmlformats.org/officeDocument/2006/relationships/tags" Target="../tags/tag1063.xml"/><Relationship Id="rId45" Type="http://schemas.openxmlformats.org/officeDocument/2006/relationships/tags" Target="../tags/tag1068.xml"/><Relationship Id="rId53" Type="http://schemas.openxmlformats.org/officeDocument/2006/relationships/tags" Target="../tags/tag1076.xml"/><Relationship Id="rId58" Type="http://schemas.openxmlformats.org/officeDocument/2006/relationships/tags" Target="../tags/tag1081.xml"/><Relationship Id="rId66" Type="http://schemas.openxmlformats.org/officeDocument/2006/relationships/tags" Target="../tags/tag1089.xml"/><Relationship Id="rId74" Type="http://schemas.microsoft.com/office/2007/relationships/hdphoto" Target="../media/hdphoto3.wdp"/><Relationship Id="rId5" Type="http://schemas.openxmlformats.org/officeDocument/2006/relationships/tags" Target="../tags/tag1028.xml"/><Relationship Id="rId61" Type="http://schemas.openxmlformats.org/officeDocument/2006/relationships/tags" Target="../tags/tag1084.xml"/><Relationship Id="rId19" Type="http://schemas.openxmlformats.org/officeDocument/2006/relationships/tags" Target="../tags/tag1042.xml"/><Relationship Id="rId14" Type="http://schemas.openxmlformats.org/officeDocument/2006/relationships/tags" Target="../tags/tag1037.xml"/><Relationship Id="rId22" Type="http://schemas.openxmlformats.org/officeDocument/2006/relationships/tags" Target="../tags/tag1045.xml"/><Relationship Id="rId27" Type="http://schemas.openxmlformats.org/officeDocument/2006/relationships/tags" Target="../tags/tag1050.xml"/><Relationship Id="rId30" Type="http://schemas.openxmlformats.org/officeDocument/2006/relationships/tags" Target="../tags/tag1053.xml"/><Relationship Id="rId35" Type="http://schemas.openxmlformats.org/officeDocument/2006/relationships/tags" Target="../tags/tag1058.xml"/><Relationship Id="rId43" Type="http://schemas.openxmlformats.org/officeDocument/2006/relationships/tags" Target="../tags/tag1066.xml"/><Relationship Id="rId48" Type="http://schemas.openxmlformats.org/officeDocument/2006/relationships/tags" Target="../tags/tag1071.xml"/><Relationship Id="rId56" Type="http://schemas.openxmlformats.org/officeDocument/2006/relationships/tags" Target="../tags/tag1079.xml"/><Relationship Id="rId64" Type="http://schemas.openxmlformats.org/officeDocument/2006/relationships/tags" Target="../tags/tag1087.xml"/><Relationship Id="rId69" Type="http://schemas.openxmlformats.org/officeDocument/2006/relationships/chart" Target="../charts/chart36.xml"/><Relationship Id="rId77" Type="http://schemas.openxmlformats.org/officeDocument/2006/relationships/chart" Target="../charts/chart39.xml"/><Relationship Id="rId8" Type="http://schemas.openxmlformats.org/officeDocument/2006/relationships/tags" Target="../tags/tag1031.xml"/><Relationship Id="rId51" Type="http://schemas.openxmlformats.org/officeDocument/2006/relationships/tags" Target="../tags/tag1074.xml"/><Relationship Id="rId72" Type="http://schemas.openxmlformats.org/officeDocument/2006/relationships/chart" Target="../charts/chart37.xml"/><Relationship Id="rId3" Type="http://schemas.openxmlformats.org/officeDocument/2006/relationships/tags" Target="../tags/tag1026.xml"/><Relationship Id="rId12" Type="http://schemas.openxmlformats.org/officeDocument/2006/relationships/tags" Target="../tags/tag1035.xml"/><Relationship Id="rId17" Type="http://schemas.openxmlformats.org/officeDocument/2006/relationships/tags" Target="../tags/tag1040.xml"/><Relationship Id="rId25" Type="http://schemas.openxmlformats.org/officeDocument/2006/relationships/tags" Target="../tags/tag1048.xml"/><Relationship Id="rId33" Type="http://schemas.openxmlformats.org/officeDocument/2006/relationships/tags" Target="../tags/tag1056.xml"/><Relationship Id="rId38" Type="http://schemas.openxmlformats.org/officeDocument/2006/relationships/tags" Target="../tags/tag1061.xml"/><Relationship Id="rId46" Type="http://schemas.openxmlformats.org/officeDocument/2006/relationships/tags" Target="../tags/tag1069.xml"/><Relationship Id="rId59" Type="http://schemas.openxmlformats.org/officeDocument/2006/relationships/tags" Target="../tags/tag1082.xml"/><Relationship Id="rId67" Type="http://schemas.openxmlformats.org/officeDocument/2006/relationships/slideLayout" Target="../slideLayouts/slideLayout6.xml"/><Relationship Id="rId20" Type="http://schemas.openxmlformats.org/officeDocument/2006/relationships/tags" Target="../tags/tag1043.xml"/><Relationship Id="rId41" Type="http://schemas.openxmlformats.org/officeDocument/2006/relationships/tags" Target="../tags/tag1064.xml"/><Relationship Id="rId54" Type="http://schemas.openxmlformats.org/officeDocument/2006/relationships/tags" Target="../tags/tag1077.xml"/><Relationship Id="rId62" Type="http://schemas.openxmlformats.org/officeDocument/2006/relationships/tags" Target="../tags/tag1085.xml"/><Relationship Id="rId70" Type="http://schemas.openxmlformats.org/officeDocument/2006/relationships/oleObject" Target="../embeddings/oleObject1.bin"/><Relationship Id="rId75" Type="http://schemas.openxmlformats.org/officeDocument/2006/relationships/image" Target="../media/image147.jpeg"/><Relationship Id="rId1" Type="http://schemas.openxmlformats.org/officeDocument/2006/relationships/vmlDrawing" Target="../drawings/vmlDrawing1.vml"/><Relationship Id="rId6" Type="http://schemas.openxmlformats.org/officeDocument/2006/relationships/tags" Target="../tags/tag1029.xml"/><Relationship Id="rId15" Type="http://schemas.openxmlformats.org/officeDocument/2006/relationships/tags" Target="../tags/tag1038.xml"/><Relationship Id="rId23" Type="http://schemas.openxmlformats.org/officeDocument/2006/relationships/tags" Target="../tags/tag1046.xml"/><Relationship Id="rId28" Type="http://schemas.openxmlformats.org/officeDocument/2006/relationships/tags" Target="../tags/tag1051.xml"/><Relationship Id="rId36" Type="http://schemas.openxmlformats.org/officeDocument/2006/relationships/tags" Target="../tags/tag1059.xml"/><Relationship Id="rId49" Type="http://schemas.openxmlformats.org/officeDocument/2006/relationships/tags" Target="../tags/tag1072.xml"/><Relationship Id="rId57" Type="http://schemas.openxmlformats.org/officeDocument/2006/relationships/tags" Target="../tags/tag1080.xml"/><Relationship Id="rId10" Type="http://schemas.openxmlformats.org/officeDocument/2006/relationships/tags" Target="../tags/tag1033.xml"/><Relationship Id="rId31" Type="http://schemas.openxmlformats.org/officeDocument/2006/relationships/tags" Target="../tags/tag1054.xml"/><Relationship Id="rId44" Type="http://schemas.openxmlformats.org/officeDocument/2006/relationships/tags" Target="../tags/tag1067.xml"/><Relationship Id="rId52" Type="http://schemas.openxmlformats.org/officeDocument/2006/relationships/tags" Target="../tags/tag1075.xml"/><Relationship Id="rId60" Type="http://schemas.openxmlformats.org/officeDocument/2006/relationships/tags" Target="../tags/tag1083.xml"/><Relationship Id="rId65" Type="http://schemas.openxmlformats.org/officeDocument/2006/relationships/tags" Target="../tags/tag1088.xml"/><Relationship Id="rId73" Type="http://schemas.openxmlformats.org/officeDocument/2006/relationships/image" Target="../media/image146.jpeg"/><Relationship Id="rId78" Type="http://schemas.openxmlformats.org/officeDocument/2006/relationships/chart" Target="../charts/chart40.xml"/><Relationship Id="rId4" Type="http://schemas.openxmlformats.org/officeDocument/2006/relationships/tags" Target="../tags/tag1027.xml"/><Relationship Id="rId9" Type="http://schemas.openxmlformats.org/officeDocument/2006/relationships/tags" Target="../tags/tag1032.xml"/><Relationship Id="rId13" Type="http://schemas.openxmlformats.org/officeDocument/2006/relationships/tags" Target="../tags/tag1036.xml"/><Relationship Id="rId18" Type="http://schemas.openxmlformats.org/officeDocument/2006/relationships/tags" Target="../tags/tag1041.xml"/><Relationship Id="rId39" Type="http://schemas.openxmlformats.org/officeDocument/2006/relationships/tags" Target="../tags/tag1062.xml"/><Relationship Id="rId34" Type="http://schemas.openxmlformats.org/officeDocument/2006/relationships/tags" Target="../tags/tag1057.xml"/><Relationship Id="rId50" Type="http://schemas.openxmlformats.org/officeDocument/2006/relationships/tags" Target="../tags/tag1073.xml"/><Relationship Id="rId55" Type="http://schemas.openxmlformats.org/officeDocument/2006/relationships/tags" Target="../tags/tag1078.xml"/><Relationship Id="rId76" Type="http://schemas.openxmlformats.org/officeDocument/2006/relationships/chart" Target="../charts/chart38.xml"/><Relationship Id="rId7" Type="http://schemas.openxmlformats.org/officeDocument/2006/relationships/tags" Target="../tags/tag1030.xml"/><Relationship Id="rId71" Type="http://schemas.openxmlformats.org/officeDocument/2006/relationships/image" Target="../media/image145.emf"/><Relationship Id="rId2" Type="http://schemas.openxmlformats.org/officeDocument/2006/relationships/tags" Target="../tags/tag1025.xml"/><Relationship Id="rId29" Type="http://schemas.openxmlformats.org/officeDocument/2006/relationships/tags" Target="../tags/tag1052.xml"/></Relationships>
</file>

<file path=ppt/slides/_rels/slide69.xml.rels><?xml version="1.0" encoding="UTF-8" standalone="yes"?>
<Relationships xmlns="http://schemas.openxmlformats.org/package/2006/relationships"><Relationship Id="rId13" Type="http://schemas.openxmlformats.org/officeDocument/2006/relationships/tags" Target="../tags/tag1102.xml"/><Relationship Id="rId18" Type="http://schemas.openxmlformats.org/officeDocument/2006/relationships/tags" Target="../tags/tag1107.xml"/><Relationship Id="rId26" Type="http://schemas.openxmlformats.org/officeDocument/2006/relationships/tags" Target="../tags/tag1115.xml"/><Relationship Id="rId39" Type="http://schemas.openxmlformats.org/officeDocument/2006/relationships/tags" Target="../tags/tag1128.xml"/><Relationship Id="rId21" Type="http://schemas.openxmlformats.org/officeDocument/2006/relationships/tags" Target="../tags/tag1110.xml"/><Relationship Id="rId34" Type="http://schemas.openxmlformats.org/officeDocument/2006/relationships/tags" Target="../tags/tag1123.xml"/><Relationship Id="rId42" Type="http://schemas.openxmlformats.org/officeDocument/2006/relationships/tags" Target="../tags/tag1131.xml"/><Relationship Id="rId47" Type="http://schemas.openxmlformats.org/officeDocument/2006/relationships/tags" Target="../tags/tag1136.xml"/><Relationship Id="rId50" Type="http://schemas.openxmlformats.org/officeDocument/2006/relationships/slideLayout" Target="../slideLayouts/slideLayout6.xml"/><Relationship Id="rId55" Type="http://schemas.openxmlformats.org/officeDocument/2006/relationships/chart" Target="../charts/chart43.xml"/><Relationship Id="rId7" Type="http://schemas.openxmlformats.org/officeDocument/2006/relationships/tags" Target="../tags/tag1096.xml"/><Relationship Id="rId2" Type="http://schemas.openxmlformats.org/officeDocument/2006/relationships/tags" Target="../tags/tag1091.xml"/><Relationship Id="rId16" Type="http://schemas.openxmlformats.org/officeDocument/2006/relationships/tags" Target="../tags/tag1105.xml"/><Relationship Id="rId29" Type="http://schemas.openxmlformats.org/officeDocument/2006/relationships/tags" Target="../tags/tag1118.xml"/><Relationship Id="rId11" Type="http://schemas.openxmlformats.org/officeDocument/2006/relationships/tags" Target="../tags/tag1100.xml"/><Relationship Id="rId24" Type="http://schemas.openxmlformats.org/officeDocument/2006/relationships/tags" Target="../tags/tag1113.xml"/><Relationship Id="rId32" Type="http://schemas.openxmlformats.org/officeDocument/2006/relationships/tags" Target="../tags/tag1121.xml"/><Relationship Id="rId37" Type="http://schemas.openxmlformats.org/officeDocument/2006/relationships/tags" Target="../tags/tag1126.xml"/><Relationship Id="rId40" Type="http://schemas.openxmlformats.org/officeDocument/2006/relationships/tags" Target="../tags/tag1129.xml"/><Relationship Id="rId45" Type="http://schemas.openxmlformats.org/officeDocument/2006/relationships/tags" Target="../tags/tag1134.xml"/><Relationship Id="rId53" Type="http://schemas.openxmlformats.org/officeDocument/2006/relationships/chart" Target="../charts/chart41.xml"/><Relationship Id="rId5" Type="http://schemas.openxmlformats.org/officeDocument/2006/relationships/tags" Target="../tags/tag1094.xml"/><Relationship Id="rId10" Type="http://schemas.openxmlformats.org/officeDocument/2006/relationships/tags" Target="../tags/tag1099.xml"/><Relationship Id="rId19" Type="http://schemas.openxmlformats.org/officeDocument/2006/relationships/tags" Target="../tags/tag1108.xml"/><Relationship Id="rId31" Type="http://schemas.openxmlformats.org/officeDocument/2006/relationships/tags" Target="../tags/tag1120.xml"/><Relationship Id="rId44" Type="http://schemas.openxmlformats.org/officeDocument/2006/relationships/tags" Target="../tags/tag1133.xml"/><Relationship Id="rId52" Type="http://schemas.openxmlformats.org/officeDocument/2006/relationships/image" Target="../media/image149.png"/><Relationship Id="rId4" Type="http://schemas.openxmlformats.org/officeDocument/2006/relationships/tags" Target="../tags/tag1093.xml"/><Relationship Id="rId9" Type="http://schemas.openxmlformats.org/officeDocument/2006/relationships/tags" Target="../tags/tag1098.xml"/><Relationship Id="rId14" Type="http://schemas.openxmlformats.org/officeDocument/2006/relationships/tags" Target="../tags/tag1103.xml"/><Relationship Id="rId22" Type="http://schemas.openxmlformats.org/officeDocument/2006/relationships/tags" Target="../tags/tag1111.xml"/><Relationship Id="rId27" Type="http://schemas.openxmlformats.org/officeDocument/2006/relationships/tags" Target="../tags/tag1116.xml"/><Relationship Id="rId30" Type="http://schemas.openxmlformats.org/officeDocument/2006/relationships/tags" Target="../tags/tag1119.xml"/><Relationship Id="rId35" Type="http://schemas.openxmlformats.org/officeDocument/2006/relationships/tags" Target="../tags/tag1124.xml"/><Relationship Id="rId43" Type="http://schemas.openxmlformats.org/officeDocument/2006/relationships/tags" Target="../tags/tag1132.xml"/><Relationship Id="rId48" Type="http://schemas.openxmlformats.org/officeDocument/2006/relationships/tags" Target="../tags/tag1137.xml"/><Relationship Id="rId56" Type="http://schemas.openxmlformats.org/officeDocument/2006/relationships/chart" Target="../charts/chart44.xml"/><Relationship Id="rId8" Type="http://schemas.openxmlformats.org/officeDocument/2006/relationships/tags" Target="../tags/tag1097.xml"/><Relationship Id="rId51" Type="http://schemas.openxmlformats.org/officeDocument/2006/relationships/image" Target="../media/image148.png"/><Relationship Id="rId3" Type="http://schemas.openxmlformats.org/officeDocument/2006/relationships/tags" Target="../tags/tag1092.xml"/><Relationship Id="rId12" Type="http://schemas.openxmlformats.org/officeDocument/2006/relationships/tags" Target="../tags/tag1101.xml"/><Relationship Id="rId17" Type="http://schemas.openxmlformats.org/officeDocument/2006/relationships/tags" Target="../tags/tag1106.xml"/><Relationship Id="rId25" Type="http://schemas.openxmlformats.org/officeDocument/2006/relationships/tags" Target="../tags/tag1114.xml"/><Relationship Id="rId33" Type="http://schemas.openxmlformats.org/officeDocument/2006/relationships/tags" Target="../tags/tag1122.xml"/><Relationship Id="rId38" Type="http://schemas.openxmlformats.org/officeDocument/2006/relationships/tags" Target="../tags/tag1127.xml"/><Relationship Id="rId46" Type="http://schemas.openxmlformats.org/officeDocument/2006/relationships/tags" Target="../tags/tag1135.xml"/><Relationship Id="rId20" Type="http://schemas.openxmlformats.org/officeDocument/2006/relationships/tags" Target="../tags/tag1109.xml"/><Relationship Id="rId41" Type="http://schemas.openxmlformats.org/officeDocument/2006/relationships/tags" Target="../tags/tag1130.xml"/><Relationship Id="rId54" Type="http://schemas.openxmlformats.org/officeDocument/2006/relationships/chart" Target="../charts/chart42.xml"/><Relationship Id="rId1" Type="http://schemas.openxmlformats.org/officeDocument/2006/relationships/tags" Target="../tags/tag1090.xml"/><Relationship Id="rId6" Type="http://schemas.openxmlformats.org/officeDocument/2006/relationships/tags" Target="../tags/tag1095.xml"/><Relationship Id="rId15" Type="http://schemas.openxmlformats.org/officeDocument/2006/relationships/tags" Target="../tags/tag1104.xml"/><Relationship Id="rId23" Type="http://schemas.openxmlformats.org/officeDocument/2006/relationships/tags" Target="../tags/tag1112.xml"/><Relationship Id="rId28" Type="http://schemas.openxmlformats.org/officeDocument/2006/relationships/tags" Target="../tags/tag1117.xml"/><Relationship Id="rId36" Type="http://schemas.openxmlformats.org/officeDocument/2006/relationships/tags" Target="../tags/tag1125.xml"/><Relationship Id="rId49" Type="http://schemas.openxmlformats.org/officeDocument/2006/relationships/tags" Target="../tags/tag113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0.xml.rels><?xml version="1.0" encoding="UTF-8" standalone="yes"?>
<Relationships xmlns="http://schemas.openxmlformats.org/package/2006/relationships"><Relationship Id="rId13" Type="http://schemas.openxmlformats.org/officeDocument/2006/relationships/tags" Target="../tags/tag1151.xml"/><Relationship Id="rId18" Type="http://schemas.openxmlformats.org/officeDocument/2006/relationships/tags" Target="../tags/tag1156.xml"/><Relationship Id="rId26" Type="http://schemas.openxmlformats.org/officeDocument/2006/relationships/tags" Target="../tags/tag1164.xml"/><Relationship Id="rId39" Type="http://schemas.openxmlformats.org/officeDocument/2006/relationships/tags" Target="../tags/tag1177.xml"/><Relationship Id="rId21" Type="http://schemas.openxmlformats.org/officeDocument/2006/relationships/tags" Target="../tags/tag1159.xml"/><Relationship Id="rId34" Type="http://schemas.openxmlformats.org/officeDocument/2006/relationships/tags" Target="../tags/tag1172.xml"/><Relationship Id="rId42" Type="http://schemas.openxmlformats.org/officeDocument/2006/relationships/slideLayout" Target="../slideLayouts/slideLayout6.xml"/><Relationship Id="rId47" Type="http://schemas.openxmlformats.org/officeDocument/2006/relationships/chart" Target="../charts/chart47.xml"/><Relationship Id="rId7" Type="http://schemas.openxmlformats.org/officeDocument/2006/relationships/tags" Target="../tags/tag1145.xml"/><Relationship Id="rId2" Type="http://schemas.openxmlformats.org/officeDocument/2006/relationships/tags" Target="../tags/tag1140.xml"/><Relationship Id="rId16" Type="http://schemas.openxmlformats.org/officeDocument/2006/relationships/tags" Target="../tags/tag1154.xml"/><Relationship Id="rId29" Type="http://schemas.openxmlformats.org/officeDocument/2006/relationships/tags" Target="../tags/tag1167.xml"/><Relationship Id="rId1" Type="http://schemas.openxmlformats.org/officeDocument/2006/relationships/tags" Target="../tags/tag1139.xml"/><Relationship Id="rId6" Type="http://schemas.openxmlformats.org/officeDocument/2006/relationships/tags" Target="../tags/tag1144.xml"/><Relationship Id="rId11" Type="http://schemas.openxmlformats.org/officeDocument/2006/relationships/tags" Target="../tags/tag1149.xml"/><Relationship Id="rId24" Type="http://schemas.openxmlformats.org/officeDocument/2006/relationships/tags" Target="../tags/tag1162.xml"/><Relationship Id="rId32" Type="http://schemas.openxmlformats.org/officeDocument/2006/relationships/tags" Target="../tags/tag1170.xml"/><Relationship Id="rId37" Type="http://schemas.openxmlformats.org/officeDocument/2006/relationships/tags" Target="../tags/tag1175.xml"/><Relationship Id="rId40" Type="http://schemas.openxmlformats.org/officeDocument/2006/relationships/tags" Target="../tags/tag1178.xml"/><Relationship Id="rId45" Type="http://schemas.openxmlformats.org/officeDocument/2006/relationships/chart" Target="../charts/chart46.xml"/><Relationship Id="rId5" Type="http://schemas.openxmlformats.org/officeDocument/2006/relationships/tags" Target="../tags/tag1143.xml"/><Relationship Id="rId15" Type="http://schemas.openxmlformats.org/officeDocument/2006/relationships/tags" Target="../tags/tag1153.xml"/><Relationship Id="rId23" Type="http://schemas.openxmlformats.org/officeDocument/2006/relationships/tags" Target="../tags/tag1161.xml"/><Relationship Id="rId28" Type="http://schemas.openxmlformats.org/officeDocument/2006/relationships/tags" Target="../tags/tag1166.xml"/><Relationship Id="rId36" Type="http://schemas.openxmlformats.org/officeDocument/2006/relationships/tags" Target="../tags/tag1174.xml"/><Relationship Id="rId10" Type="http://schemas.openxmlformats.org/officeDocument/2006/relationships/tags" Target="../tags/tag1148.xml"/><Relationship Id="rId19" Type="http://schemas.openxmlformats.org/officeDocument/2006/relationships/tags" Target="../tags/tag1157.xml"/><Relationship Id="rId31" Type="http://schemas.openxmlformats.org/officeDocument/2006/relationships/tags" Target="../tags/tag1169.xml"/><Relationship Id="rId44" Type="http://schemas.openxmlformats.org/officeDocument/2006/relationships/chart" Target="../charts/chart45.xml"/><Relationship Id="rId4" Type="http://schemas.openxmlformats.org/officeDocument/2006/relationships/tags" Target="../tags/tag1142.xml"/><Relationship Id="rId9" Type="http://schemas.openxmlformats.org/officeDocument/2006/relationships/tags" Target="../tags/tag1147.xml"/><Relationship Id="rId14" Type="http://schemas.openxmlformats.org/officeDocument/2006/relationships/tags" Target="../tags/tag1152.xml"/><Relationship Id="rId22" Type="http://schemas.openxmlformats.org/officeDocument/2006/relationships/tags" Target="../tags/tag1160.xml"/><Relationship Id="rId27" Type="http://schemas.openxmlformats.org/officeDocument/2006/relationships/tags" Target="../tags/tag1165.xml"/><Relationship Id="rId30" Type="http://schemas.openxmlformats.org/officeDocument/2006/relationships/tags" Target="../tags/tag1168.xml"/><Relationship Id="rId35" Type="http://schemas.openxmlformats.org/officeDocument/2006/relationships/tags" Target="../tags/tag1173.xml"/><Relationship Id="rId43" Type="http://schemas.openxmlformats.org/officeDocument/2006/relationships/image" Target="../media/image150.jpeg"/><Relationship Id="rId48" Type="http://schemas.openxmlformats.org/officeDocument/2006/relationships/chart" Target="../charts/chart48.xml"/><Relationship Id="rId8" Type="http://schemas.openxmlformats.org/officeDocument/2006/relationships/tags" Target="../tags/tag1146.xml"/><Relationship Id="rId3" Type="http://schemas.openxmlformats.org/officeDocument/2006/relationships/tags" Target="../tags/tag1141.xml"/><Relationship Id="rId12" Type="http://schemas.openxmlformats.org/officeDocument/2006/relationships/tags" Target="../tags/tag1150.xml"/><Relationship Id="rId17" Type="http://schemas.openxmlformats.org/officeDocument/2006/relationships/tags" Target="../tags/tag1155.xml"/><Relationship Id="rId25" Type="http://schemas.openxmlformats.org/officeDocument/2006/relationships/tags" Target="../tags/tag1163.xml"/><Relationship Id="rId33" Type="http://schemas.openxmlformats.org/officeDocument/2006/relationships/tags" Target="../tags/tag1171.xml"/><Relationship Id="rId38" Type="http://schemas.openxmlformats.org/officeDocument/2006/relationships/tags" Target="../tags/tag1176.xml"/><Relationship Id="rId46" Type="http://schemas.openxmlformats.org/officeDocument/2006/relationships/image" Target="../media/image151.jpeg"/><Relationship Id="rId20" Type="http://schemas.openxmlformats.org/officeDocument/2006/relationships/tags" Target="../tags/tag1158.xml"/><Relationship Id="rId41" Type="http://schemas.openxmlformats.org/officeDocument/2006/relationships/tags" Target="../tags/tag1179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2.png"/><Relationship Id="rId1" Type="http://schemas.openxmlformats.org/officeDocument/2006/relationships/slideLayout" Target="../slideLayouts/slideLayout6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3.png"/><Relationship Id="rId1" Type="http://schemas.openxmlformats.org/officeDocument/2006/relationships/slideLayout" Target="../slideLayouts/slideLayout6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80.xml"/></Relationships>
</file>

<file path=ppt/slides/_rels/slide7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.xml"/><Relationship Id="rId13" Type="http://schemas.openxmlformats.org/officeDocument/2006/relationships/image" Target="../media/image158.png"/><Relationship Id="rId3" Type="http://schemas.openxmlformats.org/officeDocument/2006/relationships/tags" Target="../tags/tag1183.xml"/><Relationship Id="rId7" Type="http://schemas.openxmlformats.org/officeDocument/2006/relationships/tags" Target="../tags/tag1187.xml"/><Relationship Id="rId12" Type="http://schemas.openxmlformats.org/officeDocument/2006/relationships/image" Target="../media/image157.png"/><Relationship Id="rId2" Type="http://schemas.openxmlformats.org/officeDocument/2006/relationships/tags" Target="../tags/tag1182.xml"/><Relationship Id="rId1" Type="http://schemas.openxmlformats.org/officeDocument/2006/relationships/tags" Target="../tags/tag1181.xml"/><Relationship Id="rId6" Type="http://schemas.openxmlformats.org/officeDocument/2006/relationships/tags" Target="../tags/tag1186.xml"/><Relationship Id="rId11" Type="http://schemas.openxmlformats.org/officeDocument/2006/relationships/image" Target="../media/image156.png"/><Relationship Id="rId5" Type="http://schemas.openxmlformats.org/officeDocument/2006/relationships/tags" Target="../tags/tag1185.xml"/><Relationship Id="rId10" Type="http://schemas.openxmlformats.org/officeDocument/2006/relationships/image" Target="../media/image155.png"/><Relationship Id="rId4" Type="http://schemas.openxmlformats.org/officeDocument/2006/relationships/tags" Target="../tags/tag1184.xml"/><Relationship Id="rId9" Type="http://schemas.openxmlformats.org/officeDocument/2006/relationships/image" Target="../media/image154.png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13" Type="http://schemas.openxmlformats.org/officeDocument/2006/relationships/image" Target="../media/image37.jpeg"/><Relationship Id="rId3" Type="http://schemas.openxmlformats.org/officeDocument/2006/relationships/image" Target="../media/image27.png"/><Relationship Id="rId7" Type="http://schemas.openxmlformats.org/officeDocument/2006/relationships/image" Target="../media/image31.jpeg"/><Relationship Id="rId12" Type="http://schemas.openxmlformats.org/officeDocument/2006/relationships/image" Target="../media/image36.png"/><Relationship Id="rId2" Type="http://schemas.openxmlformats.org/officeDocument/2006/relationships/image" Target="../media/image26.gi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0.png"/><Relationship Id="rId11" Type="http://schemas.openxmlformats.org/officeDocument/2006/relationships/image" Target="../media/image35.jpeg"/><Relationship Id="rId5" Type="http://schemas.openxmlformats.org/officeDocument/2006/relationships/image" Target="../media/image29.jpeg"/><Relationship Id="rId10" Type="http://schemas.openxmlformats.org/officeDocument/2006/relationships/image" Target="../media/image34.jpeg"/><Relationship Id="rId4" Type="http://schemas.openxmlformats.org/officeDocument/2006/relationships/image" Target="../media/image28.jpeg"/><Relationship Id="rId9" Type="http://schemas.openxmlformats.org/officeDocument/2006/relationships/image" Target="../media/image33.png"/><Relationship Id="rId14" Type="http://schemas.openxmlformats.org/officeDocument/2006/relationships/image" Target="../media/image38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02264" y="1783785"/>
            <a:ext cx="5148682" cy="1200329"/>
          </a:xfrm>
        </p:spPr>
        <p:txBody>
          <a:bodyPr/>
          <a:lstStyle/>
          <a:p>
            <a:r>
              <a:rPr lang="ru-RU" altLang="ru-RU" sz="2000" dirty="0">
                <a:cs typeface="Times New Roman" panose="02020603050405020304" pitchFamily="18" charset="0"/>
              </a:rPr>
              <a:t>Федеральный проект </a:t>
            </a:r>
            <a:br>
              <a:rPr lang="ru-RU" altLang="ru-RU" sz="2000" dirty="0">
                <a:cs typeface="Times New Roman" panose="02020603050405020304" pitchFamily="18" charset="0"/>
              </a:rPr>
            </a:br>
            <a:r>
              <a:rPr lang="ru-RU" altLang="ru-RU" sz="2000" dirty="0">
                <a:cs typeface="Times New Roman" panose="02020603050405020304" pitchFamily="18" charset="0"/>
              </a:rPr>
              <a:t>«Адресная поддержка повышения производительности труда </a:t>
            </a:r>
            <a:br>
              <a:rPr lang="ru-RU" altLang="ru-RU" sz="2000" dirty="0">
                <a:cs typeface="Times New Roman" panose="02020603050405020304" pitchFamily="18" charset="0"/>
              </a:rPr>
            </a:br>
            <a:r>
              <a:rPr lang="ru-RU" altLang="ru-RU" sz="2000" dirty="0">
                <a:cs typeface="Times New Roman" panose="02020603050405020304" pitchFamily="18" charset="0"/>
              </a:rPr>
              <a:t>на предприятиях»</a:t>
            </a:r>
            <a:endParaRPr lang="ru-RU" altLang="ru-RU" sz="2000" dirty="0"/>
          </a:p>
        </p:txBody>
      </p:sp>
      <p:sp>
        <p:nvSpPr>
          <p:cNvPr id="6" name="Подзаголовок 2">
            <a:extLst>
              <a:ext uri="{FF2B5EF4-FFF2-40B4-BE49-F238E27FC236}">
                <a16:creationId xmlns:a16="http://schemas.microsoft.com/office/drawing/2014/main" id="{3D03D5DB-32D4-45E6-9551-6AAB9F5F752F}"/>
              </a:ext>
            </a:extLst>
          </p:cNvPr>
          <p:cNvSpPr txBox="1">
            <a:spLocks/>
          </p:cNvSpPr>
          <p:nvPr/>
        </p:nvSpPr>
        <p:spPr>
          <a:xfrm>
            <a:off x="431330" y="4019921"/>
            <a:ext cx="4927324" cy="8679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marL="0" indent="0" eaLnBrk="1" hangingPunct="1">
              <a:lnSpc>
                <a:spcPct val="90000"/>
              </a:lnSpc>
              <a:buFontTx/>
              <a:buNone/>
              <a:defRPr sz="2000" b="0" baseline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defRPr>
            </a:lvl1pPr>
            <a:lvl2pPr eaLnBrk="1" hangingPunct="1">
              <a:lnSpc>
                <a:spcPct val="90000"/>
              </a:lnSpc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eaLnBrk="1" hangingPunct="1">
              <a:lnSpc>
                <a:spcPct val="90000"/>
              </a:lnSpc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eaLnBrk="1" hangingPunct="1">
              <a:lnSpc>
                <a:spcPct val="90000"/>
              </a:lnSpc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eaLnBrk="1" hangingPunct="1">
              <a:lnSpc>
                <a:spcPct val="90000"/>
              </a:lnSpc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429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685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10287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r>
              <a:rPr lang="ru-RU" sz="1400" dirty="0"/>
              <a:t>Старший руководитель проектов АНО «ФЦК», </a:t>
            </a:r>
          </a:p>
          <a:p>
            <a:r>
              <a:rPr lang="ru-RU" sz="1400" dirty="0"/>
              <a:t>регион Республика Татарстан</a:t>
            </a:r>
          </a:p>
          <a:p>
            <a:r>
              <a:rPr lang="ru-RU" sz="1400" dirty="0"/>
              <a:t> </a:t>
            </a:r>
          </a:p>
          <a:p>
            <a:r>
              <a:rPr lang="ru-RU" sz="1400" dirty="0"/>
              <a:t>А.В. Болотов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4203893"/>
              </p:ext>
            </p:extLst>
          </p:nvPr>
        </p:nvGraphicFramePr>
        <p:xfrm>
          <a:off x="119382" y="1259322"/>
          <a:ext cx="8869680" cy="416189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154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193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574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2090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82980">
                <a:tc>
                  <a:txBody>
                    <a:bodyPr/>
                    <a:lstStyle/>
                    <a:p>
                      <a:r>
                        <a:rPr lang="ru-RU" sz="1000" dirty="0"/>
                        <a:t>      </a:t>
                      </a: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81063"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38225"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59627"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endParaRPr lang="ru-RU" sz="1000" dirty="0"/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58422" y="1315838"/>
            <a:ext cx="936858" cy="834289"/>
          </a:xfrm>
          <a:prstGeom prst="rect">
            <a:avLst/>
          </a:prstGeom>
          <a:noFill/>
        </p:spPr>
        <p:txBody>
          <a:bodyPr wrap="square" lIns="48980" tIns="24490" rIns="48980" bIns="24490" rtlCol="0">
            <a:spAutoFit/>
          </a:bodyPr>
          <a:lstStyle/>
          <a:p>
            <a:pPr algn="ctr"/>
            <a:r>
              <a:rPr lang="ru-RU" sz="30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sz="1275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sz="1275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олна</a:t>
            </a:r>
          </a:p>
          <a:p>
            <a:pPr algn="ctr"/>
            <a:r>
              <a:rPr lang="ru-RU" sz="825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нварь 2018</a:t>
            </a:r>
          </a:p>
        </p:txBody>
      </p:sp>
      <p:sp>
        <p:nvSpPr>
          <p:cNvPr id="38" name="Заголовок 1"/>
          <p:cNvSpPr txBox="1">
            <a:spLocks noGrp="1"/>
          </p:cNvSpPr>
          <p:nvPr>
            <p:ph type="title"/>
          </p:nvPr>
        </p:nvSpPr>
        <p:spPr>
          <a:xfrm>
            <a:off x="68580" y="64295"/>
            <a:ext cx="8808720" cy="7469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2000" b="1" dirty="0"/>
              <a:t>Предприятия-участники проекта повышения производительности труда в Республике Татарстан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50802" y="510657"/>
            <a:ext cx="0" cy="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9" name="TextBox 48"/>
          <p:cNvSpPr txBox="1"/>
          <p:nvPr/>
        </p:nvSpPr>
        <p:spPr>
          <a:xfrm>
            <a:off x="2224774" y="1306530"/>
            <a:ext cx="2398028" cy="464957"/>
          </a:xfrm>
          <a:prstGeom prst="rect">
            <a:avLst/>
          </a:prstGeom>
          <a:noFill/>
        </p:spPr>
        <p:txBody>
          <a:bodyPr wrap="square" lIns="0" tIns="24490" rIns="0" bIns="24490" rtlCol="0">
            <a:spAutoFit/>
          </a:bodyPr>
          <a:lstStyle/>
          <a:p>
            <a:r>
              <a:rPr lang="ru-RU" sz="9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О </a:t>
            </a:r>
            <a:r>
              <a:rPr lang="ru-RU" sz="900" b="1" kern="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еленодольский</a:t>
            </a:r>
            <a:r>
              <a:rPr lang="ru-RU" sz="9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авод имени А.М. Горького</a:t>
            </a:r>
          </a:p>
          <a:p>
            <a:r>
              <a:rPr lang="ru-RU" sz="9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Зеленодольск</a:t>
            </a:r>
          </a:p>
        </p:txBody>
      </p:sp>
      <p:pic>
        <p:nvPicPr>
          <p:cNvPr id="50" name="Picture 2" descr="ÐÐ°ÑÑÐ¸Ð½ÐºÐ¸ Ð¿Ð¾ Ð·Ð°Ð¿ÑÐ¾ÑÑ Ð·ÐµÐ»ÐµÐ½Ð¾Ð´Ð¾Ð»ÑÑÐºÐ¸Ð¹ Ð·Ð°Ð²Ð¾Ð´ Ð¸Ð¼ÐµÐ½Ð¸ Ð°.Ð¼. Ð³Ð¾ÑÑÐºÐ¾Ð³Ð¾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51815" y="1312225"/>
            <a:ext cx="974437" cy="422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5" descr="ÐÐ°ÑÑÐ¸Ð½ÐºÐ¸ Ð¿Ð¾ Ð·Ð°Ð¿ÑÐ¾ÑÑ ÐºÐ°Ð·Ð°Ð½ÑÐºÐ¾Ð¼Ð¿ÑÐµÑÑÐ¾ÑÐ¼Ð°Ñ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65274" y="1756984"/>
            <a:ext cx="897233" cy="459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TextBox 56"/>
          <p:cNvSpPr txBox="1"/>
          <p:nvPr/>
        </p:nvSpPr>
        <p:spPr>
          <a:xfrm>
            <a:off x="2188792" y="1803994"/>
            <a:ext cx="2427416" cy="326457"/>
          </a:xfrm>
          <a:prstGeom prst="rect">
            <a:avLst/>
          </a:prstGeom>
          <a:noFill/>
        </p:spPr>
        <p:txBody>
          <a:bodyPr wrap="square" lIns="0" tIns="24490" rIns="0" bIns="24490" rtlCol="0">
            <a:spAutoFit/>
          </a:bodyPr>
          <a:lstStyle>
            <a:defPPr>
              <a:defRPr lang="en-US"/>
            </a:defPPr>
            <a:lvl1pPr>
              <a:defRPr sz="180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900" dirty="0"/>
              <a:t>ОАО </a:t>
            </a:r>
            <a:r>
              <a:rPr lang="ru-RU" sz="900" dirty="0" err="1"/>
              <a:t>Казанькомпрессормаш</a:t>
            </a:r>
            <a:endParaRPr lang="ru-RU" sz="900" b="0" dirty="0"/>
          </a:p>
          <a:p>
            <a:r>
              <a:rPr lang="ru-RU" sz="900" b="0" dirty="0"/>
              <a:t>г. Казань</a:t>
            </a:r>
          </a:p>
        </p:txBody>
      </p:sp>
      <p:pic>
        <p:nvPicPr>
          <p:cNvPr id="62" name="Picture 19" descr="ÐÐ¾ÑÐ¾Ð¶ÐµÐµ Ð¸Ð·Ð¾Ð±ÑÐ°Ð¶ÐµÐ½Ð¸Ðµ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691" b="40619"/>
          <a:stretch/>
        </p:blipFill>
        <p:spPr bwMode="auto">
          <a:xfrm>
            <a:off x="1058166" y="2794771"/>
            <a:ext cx="818449" cy="2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17" descr="ÐÐ°ÑÑÐ¸Ð½ÐºÐ¸ Ð¿Ð¾ Ð·Ð°Ð¿ÑÐ¾ÑÑ Ð²Ð°ÐºÑÑÐ¼Ð¼Ð°Ñ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3413" y="2306600"/>
            <a:ext cx="803719" cy="43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TextBox 63"/>
          <p:cNvSpPr txBox="1"/>
          <p:nvPr/>
        </p:nvSpPr>
        <p:spPr>
          <a:xfrm>
            <a:off x="2188792" y="2376684"/>
            <a:ext cx="2434010" cy="326457"/>
          </a:xfrm>
          <a:prstGeom prst="rect">
            <a:avLst/>
          </a:prstGeom>
          <a:noFill/>
        </p:spPr>
        <p:txBody>
          <a:bodyPr wrap="square" lIns="0" tIns="24490" rIns="0" bIns="24490" rtlCol="0">
            <a:spAutoFit/>
          </a:bodyPr>
          <a:lstStyle>
            <a:defPPr>
              <a:defRPr lang="en-US"/>
            </a:defPPr>
            <a:lvl1pPr>
              <a:defRPr sz="180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900" dirty="0"/>
              <a:t>АО </a:t>
            </a:r>
            <a:r>
              <a:rPr lang="ru-RU" sz="900" dirty="0" err="1"/>
              <a:t>Вакууммаш</a:t>
            </a:r>
            <a:endParaRPr lang="ru-RU" sz="900" b="0" dirty="0"/>
          </a:p>
          <a:p>
            <a:r>
              <a:rPr lang="ru-RU" sz="900" b="0" dirty="0"/>
              <a:t>г. Казань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2188241" y="2732255"/>
            <a:ext cx="2427416" cy="326457"/>
          </a:xfrm>
          <a:prstGeom prst="rect">
            <a:avLst/>
          </a:prstGeom>
          <a:noFill/>
        </p:spPr>
        <p:txBody>
          <a:bodyPr wrap="square" lIns="0" tIns="24490" rIns="0" bIns="24490" rtlCol="0">
            <a:spAutoFit/>
          </a:bodyPr>
          <a:lstStyle>
            <a:defPPr>
              <a:defRPr lang="en-US"/>
            </a:defPPr>
            <a:lvl1pPr>
              <a:defRPr sz="180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900" dirty="0"/>
              <a:t>ООО </a:t>
            </a:r>
            <a:r>
              <a:rPr lang="ru-RU" sz="900" dirty="0" err="1"/>
              <a:t>Автомастер</a:t>
            </a:r>
            <a:endParaRPr lang="ru-RU" sz="900" b="0" dirty="0"/>
          </a:p>
          <a:p>
            <a:r>
              <a:rPr lang="ru-RU" sz="900" b="0" dirty="0"/>
              <a:t>г. Набережные Челны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58422" y="2258813"/>
            <a:ext cx="936858" cy="834289"/>
          </a:xfrm>
          <a:prstGeom prst="rect">
            <a:avLst/>
          </a:prstGeom>
          <a:noFill/>
        </p:spPr>
        <p:txBody>
          <a:bodyPr wrap="square" lIns="48980" tIns="24490" rIns="48980" bIns="24490" rtlCol="0">
            <a:spAutoFit/>
          </a:bodyPr>
          <a:lstStyle/>
          <a:p>
            <a:pPr algn="ctr"/>
            <a:r>
              <a:rPr lang="ru-RU" sz="30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sz="1275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sz="1275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олна</a:t>
            </a:r>
          </a:p>
          <a:p>
            <a:pPr algn="ctr"/>
            <a:r>
              <a:rPr lang="ru-RU" sz="825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нтябрь 2018</a:t>
            </a:r>
          </a:p>
        </p:txBody>
      </p:sp>
      <p:pic>
        <p:nvPicPr>
          <p:cNvPr id="76" name="Picture 7" descr="ÐÐ°ÑÑÐ¸Ð½ÐºÐ¸ Ð¿Ð¾ Ð·Ð°Ð¿ÑÐ¾ÑÑ ÑÐ¾ÑÑÐ°Ñ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741612" y="1334680"/>
            <a:ext cx="558304" cy="317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7" name="TextBox 76"/>
          <p:cNvSpPr txBox="1"/>
          <p:nvPr/>
        </p:nvSpPr>
        <p:spPr>
          <a:xfrm>
            <a:off x="6612185" y="1334681"/>
            <a:ext cx="2301297" cy="326457"/>
          </a:xfrm>
          <a:prstGeom prst="rect">
            <a:avLst/>
          </a:prstGeom>
          <a:noFill/>
        </p:spPr>
        <p:txBody>
          <a:bodyPr wrap="square" lIns="0" tIns="24490" rIns="0" bIns="24490" rtlCol="0">
            <a:spAutoFit/>
          </a:bodyPr>
          <a:lstStyle>
            <a:defPPr>
              <a:defRPr lang="en-US"/>
            </a:defPPr>
            <a:lvl1pPr>
              <a:defRPr sz="180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900" dirty="0"/>
              <a:t>ООО НПО РОСТАР</a:t>
            </a:r>
            <a:endParaRPr lang="ru-RU" sz="900" b="0" dirty="0"/>
          </a:p>
          <a:p>
            <a:r>
              <a:rPr lang="ru-RU" sz="900" b="0" dirty="0"/>
              <a:t>г. Набережные Челны</a:t>
            </a:r>
          </a:p>
        </p:txBody>
      </p:sp>
      <p:pic>
        <p:nvPicPr>
          <p:cNvPr id="78" name="Picture 15" descr="ÐÐ°ÑÑÐ¸Ð½ÐºÐ¸ Ð¿Ð¾ Ð·Ð°Ð¿ÑÐ¾ÑÑ Ð°Ðº Ð±Ð°ÑÑ Ð¼ÐµÑÐ°Ð»Ð»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589524" y="1738005"/>
            <a:ext cx="862478" cy="378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9" name="TextBox 78"/>
          <p:cNvSpPr txBox="1"/>
          <p:nvPr/>
        </p:nvSpPr>
        <p:spPr>
          <a:xfrm>
            <a:off x="6603946" y="1781134"/>
            <a:ext cx="2306058" cy="326457"/>
          </a:xfrm>
          <a:prstGeom prst="rect">
            <a:avLst/>
          </a:prstGeom>
          <a:noFill/>
        </p:spPr>
        <p:txBody>
          <a:bodyPr wrap="square" lIns="0" tIns="24490" rIns="0" bIns="24490" rtlCol="0">
            <a:spAutoFit/>
          </a:bodyPr>
          <a:lstStyle>
            <a:defPPr>
              <a:defRPr lang="en-US"/>
            </a:defPPr>
            <a:lvl1pPr>
              <a:defRPr sz="180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900" dirty="0"/>
              <a:t>ООО Ак Барс Металл</a:t>
            </a:r>
            <a:endParaRPr lang="ru-RU" sz="900" b="0" dirty="0"/>
          </a:p>
          <a:p>
            <a:r>
              <a:rPr lang="ru-RU" sz="900" b="0" dirty="0"/>
              <a:t>г. Набережные Челны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4627565" y="1315838"/>
            <a:ext cx="936858" cy="834289"/>
          </a:xfrm>
          <a:prstGeom prst="rect">
            <a:avLst/>
          </a:prstGeom>
          <a:noFill/>
        </p:spPr>
        <p:txBody>
          <a:bodyPr wrap="square" lIns="48980" tIns="24490" rIns="48980" bIns="24490" rtlCol="0">
            <a:spAutoFit/>
          </a:bodyPr>
          <a:lstStyle/>
          <a:p>
            <a:pPr algn="ctr"/>
            <a:r>
              <a:rPr lang="ru-RU" sz="30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sz="1275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sz="1275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олна</a:t>
            </a:r>
          </a:p>
          <a:p>
            <a:pPr algn="ctr"/>
            <a:r>
              <a:rPr lang="ru-RU" sz="825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юнь 2018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4627565" y="2258813"/>
            <a:ext cx="936858" cy="834289"/>
          </a:xfrm>
          <a:prstGeom prst="rect">
            <a:avLst/>
          </a:prstGeom>
          <a:noFill/>
        </p:spPr>
        <p:txBody>
          <a:bodyPr wrap="square" lIns="48980" tIns="24490" rIns="48980" bIns="24490" rtlCol="0">
            <a:spAutoFit/>
          </a:bodyPr>
          <a:lstStyle/>
          <a:p>
            <a:pPr algn="ctr"/>
            <a:r>
              <a:rPr lang="ru-RU" sz="30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ru-RU" sz="1275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sz="1275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олна</a:t>
            </a:r>
          </a:p>
          <a:p>
            <a:pPr algn="ctr"/>
            <a:r>
              <a:rPr lang="ru-RU" sz="825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кабрь 2018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6603946" y="2317111"/>
            <a:ext cx="2301297" cy="326457"/>
          </a:xfrm>
          <a:prstGeom prst="rect">
            <a:avLst/>
          </a:prstGeom>
          <a:noFill/>
        </p:spPr>
        <p:txBody>
          <a:bodyPr wrap="square" lIns="0" tIns="24490" rIns="0" bIns="24490" rtlCol="0">
            <a:spAutoFit/>
          </a:bodyPr>
          <a:lstStyle>
            <a:defPPr>
              <a:defRPr lang="en-US"/>
            </a:defPPr>
            <a:lvl1pPr>
              <a:defRPr sz="180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900" dirty="0"/>
              <a:t>ООО </a:t>
            </a:r>
            <a:r>
              <a:rPr lang="ru-RU" sz="900" dirty="0" err="1"/>
              <a:t>Эйдос</a:t>
            </a:r>
            <a:r>
              <a:rPr lang="ru-RU" sz="900" dirty="0"/>
              <a:t>-Медицина</a:t>
            </a:r>
            <a:endParaRPr lang="ru-RU" sz="900" b="0" dirty="0"/>
          </a:p>
          <a:p>
            <a:r>
              <a:rPr lang="ru-RU" sz="900" b="0" dirty="0"/>
              <a:t>г. Казань</a:t>
            </a:r>
          </a:p>
        </p:txBody>
      </p:sp>
      <p:pic>
        <p:nvPicPr>
          <p:cNvPr id="83" name="Picture 5" descr="C:\Users\user\Desktop\unnamed.jp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669886" y="2287527"/>
            <a:ext cx="760435" cy="351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2" descr="Image result for ÐÐ°Ð¼ÑÐºÐ¾-Ð²Ð¾Ð»Ð¶ÑÐºÐ¾Ðµ ÐÐ ÑÐµÐ·Ð¸Ð½Ð¾ÑÐµÑÐ½Ð¸ÐºÐ¸ Â«ÐÐ²Ð°ÑÑÂ»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878267" y="2715894"/>
            <a:ext cx="375455" cy="37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5" name="TextBox 84"/>
          <p:cNvSpPr txBox="1"/>
          <p:nvPr/>
        </p:nvSpPr>
        <p:spPr>
          <a:xfrm>
            <a:off x="6596100" y="2770355"/>
            <a:ext cx="2301297" cy="326457"/>
          </a:xfrm>
          <a:prstGeom prst="rect">
            <a:avLst/>
          </a:prstGeom>
          <a:noFill/>
        </p:spPr>
        <p:txBody>
          <a:bodyPr wrap="square" lIns="0" tIns="24490" rIns="0" bIns="24490" rtlCol="0">
            <a:spAutoFit/>
          </a:bodyPr>
          <a:lstStyle>
            <a:defPPr>
              <a:defRPr lang="en-US"/>
            </a:defPPr>
            <a:lvl1pPr>
              <a:defRPr sz="180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900" dirty="0"/>
              <a:t>АО КВАРТ</a:t>
            </a:r>
            <a:endParaRPr lang="ru-RU" sz="900" b="0" dirty="0"/>
          </a:p>
          <a:p>
            <a:r>
              <a:rPr lang="ru-RU" sz="900" b="0" dirty="0"/>
              <a:t>г. Казань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55565" y="3125588"/>
            <a:ext cx="936858" cy="834289"/>
          </a:xfrm>
          <a:prstGeom prst="rect">
            <a:avLst/>
          </a:prstGeom>
          <a:noFill/>
        </p:spPr>
        <p:txBody>
          <a:bodyPr wrap="square" lIns="48980" tIns="24490" rIns="48980" bIns="24490" rtlCol="0">
            <a:spAutoFit/>
          </a:bodyPr>
          <a:lstStyle/>
          <a:p>
            <a:pPr algn="ctr"/>
            <a:r>
              <a:rPr lang="ru-RU" sz="30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ru-RU" sz="1275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sz="1275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олна</a:t>
            </a:r>
          </a:p>
          <a:p>
            <a:pPr algn="ctr"/>
            <a:r>
              <a:rPr lang="ru-RU" sz="825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прель 2019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4632327" y="3125588"/>
            <a:ext cx="936858" cy="834289"/>
          </a:xfrm>
          <a:prstGeom prst="rect">
            <a:avLst/>
          </a:prstGeom>
          <a:noFill/>
        </p:spPr>
        <p:txBody>
          <a:bodyPr wrap="square" lIns="48980" tIns="24490" rIns="48980" bIns="24490" rtlCol="0">
            <a:spAutoFit/>
          </a:bodyPr>
          <a:lstStyle/>
          <a:p>
            <a:pPr algn="ctr"/>
            <a:r>
              <a:rPr lang="ru-RU" sz="30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ru-RU" sz="1275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sz="1275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олна</a:t>
            </a:r>
          </a:p>
          <a:p>
            <a:pPr algn="ctr"/>
            <a:r>
              <a:rPr lang="ru-RU" sz="825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юль 2019</a:t>
            </a:r>
          </a:p>
        </p:txBody>
      </p:sp>
      <p:pic>
        <p:nvPicPr>
          <p:cNvPr id="88" name="Picture 3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131" y="3188667"/>
            <a:ext cx="66587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9" name="TextBox 88"/>
          <p:cNvSpPr txBox="1"/>
          <p:nvPr/>
        </p:nvSpPr>
        <p:spPr>
          <a:xfrm>
            <a:off x="2195386" y="3215830"/>
            <a:ext cx="2427416" cy="326457"/>
          </a:xfrm>
          <a:prstGeom prst="rect">
            <a:avLst/>
          </a:prstGeom>
          <a:noFill/>
        </p:spPr>
        <p:txBody>
          <a:bodyPr wrap="square" lIns="0" tIns="24490" rIns="0" bIns="24490" rtlCol="0">
            <a:spAutoFit/>
          </a:bodyPr>
          <a:lstStyle>
            <a:defPPr>
              <a:defRPr lang="en-US"/>
            </a:defPPr>
            <a:lvl1pPr>
              <a:defRPr sz="180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900" dirty="0"/>
              <a:t>АО </a:t>
            </a:r>
            <a:r>
              <a:rPr lang="ru-RU" sz="900" dirty="0" err="1"/>
              <a:t>Ремдизель</a:t>
            </a:r>
            <a:endParaRPr lang="ru-RU" sz="900" b="0" dirty="0"/>
          </a:p>
          <a:p>
            <a:r>
              <a:rPr lang="ru-RU" sz="900" b="0" dirty="0"/>
              <a:t>г. Набережные Челны</a:t>
            </a:r>
          </a:p>
        </p:txBody>
      </p:sp>
      <p:pic>
        <p:nvPicPr>
          <p:cNvPr id="90" name="Picture 6" descr="C:\Users\user\Desktop\1523485536_tatelectrologo.jp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502" y="3687354"/>
            <a:ext cx="638183" cy="37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1" name="TextBox 90"/>
          <p:cNvSpPr txBox="1"/>
          <p:nvPr/>
        </p:nvSpPr>
        <p:spPr>
          <a:xfrm>
            <a:off x="2188241" y="3677098"/>
            <a:ext cx="2427967" cy="326457"/>
          </a:xfrm>
          <a:prstGeom prst="rect">
            <a:avLst/>
          </a:prstGeom>
          <a:noFill/>
        </p:spPr>
        <p:txBody>
          <a:bodyPr wrap="square" lIns="0" tIns="24490" rIns="0" bIns="24490" rtlCol="0">
            <a:spAutoFit/>
          </a:bodyPr>
          <a:lstStyle>
            <a:defPPr>
              <a:defRPr lang="en-US"/>
            </a:defPPr>
            <a:lvl1pPr>
              <a:defRPr sz="180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900" dirty="0"/>
              <a:t>АО </a:t>
            </a:r>
            <a:r>
              <a:rPr lang="ru-RU" sz="900" dirty="0" err="1"/>
              <a:t>Татэлектромонтаж</a:t>
            </a:r>
            <a:endParaRPr lang="ru-RU" sz="900" b="0" dirty="0"/>
          </a:p>
          <a:p>
            <a:r>
              <a:rPr lang="ru-RU" sz="900" b="0" dirty="0"/>
              <a:t>г. Казань</a:t>
            </a:r>
          </a:p>
        </p:txBody>
      </p:sp>
      <p:pic>
        <p:nvPicPr>
          <p:cNvPr id="92" name="Picture 4" descr="C:\Users\user\Desktop\Kazan_International_Airport_logo.svg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7986" y="3154542"/>
            <a:ext cx="686357" cy="463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3" name="TextBox 92"/>
          <p:cNvSpPr txBox="1"/>
          <p:nvPr/>
        </p:nvSpPr>
        <p:spPr>
          <a:xfrm>
            <a:off x="6607774" y="3179946"/>
            <a:ext cx="2301297" cy="464957"/>
          </a:xfrm>
          <a:prstGeom prst="rect">
            <a:avLst/>
          </a:prstGeom>
          <a:noFill/>
        </p:spPr>
        <p:txBody>
          <a:bodyPr wrap="square" lIns="0" tIns="24490" rIns="48980" bIns="24490" rtlCol="0">
            <a:spAutoFit/>
          </a:bodyPr>
          <a:lstStyle>
            <a:defPPr>
              <a:defRPr lang="en-US"/>
            </a:defPPr>
            <a:lvl1pPr>
              <a:defRPr sz="180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900" dirty="0"/>
              <a:t>АО Международный аэропорт «Казань»</a:t>
            </a:r>
            <a:endParaRPr lang="ru-RU" sz="900" b="0" dirty="0"/>
          </a:p>
          <a:p>
            <a:r>
              <a:rPr lang="ru-RU" sz="900" b="0" dirty="0"/>
              <a:t>г. Казань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6600672" y="3649025"/>
            <a:ext cx="2228673" cy="464957"/>
          </a:xfrm>
          <a:prstGeom prst="rect">
            <a:avLst/>
          </a:prstGeom>
          <a:noFill/>
        </p:spPr>
        <p:txBody>
          <a:bodyPr wrap="square" lIns="0" tIns="24490" rIns="48980" bIns="24490" rtlCol="0">
            <a:spAutoFit/>
          </a:bodyPr>
          <a:lstStyle>
            <a:defPPr>
              <a:defRPr lang="en-US"/>
            </a:defPPr>
            <a:lvl1pPr>
              <a:defRPr sz="180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900" dirty="0"/>
              <a:t>Казанский домостроительный комбинат</a:t>
            </a:r>
          </a:p>
          <a:p>
            <a:r>
              <a:rPr lang="ru-RU" sz="900" b="0" dirty="0"/>
              <a:t>г. Казань</a:t>
            </a:r>
          </a:p>
        </p:txBody>
      </p:sp>
      <p:pic>
        <p:nvPicPr>
          <p:cNvPr id="4" name="Picture 2" descr="C:\Users\user\Desktop\Без названия.jpg"/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813267" y="3674826"/>
            <a:ext cx="573974" cy="43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AutoShape 2" descr="ÐÐ°ÑÑÐ¸Ð½ÐºÐ¸ Ð¿Ð¾ Ð·Ð°Ð¿ÑÐ¾ÑÑ ÑÐµÐ»Ð½Ñ Ð±ÑÐ¾Ð¹Ð»ÐµÑ"/>
          <p:cNvSpPr>
            <a:spLocks noChangeAspect="1" noChangeArrowheads="1"/>
          </p:cNvSpPr>
          <p:nvPr/>
        </p:nvSpPr>
        <p:spPr bwMode="auto">
          <a:xfrm>
            <a:off x="1259681" y="-108347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00041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1" name="Таблица 100">
            <a:extLst>
              <a:ext uri="{FF2B5EF4-FFF2-40B4-BE49-F238E27FC236}">
                <a16:creationId xmlns:a16="http://schemas.microsoft.com/office/drawing/2014/main" id="{4D9B36FF-BA3E-4A27-BE96-7284847090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058988"/>
              </p:ext>
            </p:extLst>
          </p:nvPr>
        </p:nvGraphicFramePr>
        <p:xfrm>
          <a:off x="-235601" y="763467"/>
          <a:ext cx="9369141" cy="535658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3694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141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61801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017772">
                <a:tc gridSpan="2">
                  <a:txBody>
                    <a:bodyPr/>
                    <a:lstStyle/>
                    <a:p>
                      <a:r>
                        <a:rPr lang="ru-RU" dirty="0"/>
                        <a:t>      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69581">
                <a:tc gridSpan="2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74974">
                <a:tc gridSpan="2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90046">
                <a:tc gridSpan="2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21545009"/>
                  </a:ext>
                </a:extLst>
              </a:tr>
              <a:tr h="1304212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8" name="Заголовок 1"/>
          <p:cNvSpPr txBox="1">
            <a:spLocks noGrp="1"/>
          </p:cNvSpPr>
          <p:nvPr>
            <p:ph type="title"/>
          </p:nvPr>
        </p:nvSpPr>
        <p:spPr>
          <a:xfrm>
            <a:off x="68580" y="41435"/>
            <a:ext cx="8808720" cy="7469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2000" b="1" dirty="0"/>
              <a:t>Предприятия-участники проекта повышения производительности труда в Республике Татарстан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50802" y="579237"/>
            <a:ext cx="0" cy="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AutoShape 2" descr="ÐÐ°ÑÑÐ¸Ð½ÐºÐ¸ Ð¿Ð¾ Ð·Ð°Ð¿ÑÐ¾ÑÑ ÑÐµÐ»Ð½Ñ Ð±ÑÐ¾Ð¹Ð»ÐµÑ"/>
          <p:cNvSpPr>
            <a:spLocks noChangeAspect="1" noChangeArrowheads="1"/>
          </p:cNvSpPr>
          <p:nvPr/>
        </p:nvSpPr>
        <p:spPr bwMode="auto">
          <a:xfrm>
            <a:off x="1259681" y="-108347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41149BE-7BDB-4E8C-AA8E-6FB9522B6A15}"/>
              </a:ext>
            </a:extLst>
          </p:cNvPr>
          <p:cNvSpPr txBox="1"/>
          <p:nvPr/>
        </p:nvSpPr>
        <p:spPr>
          <a:xfrm>
            <a:off x="0" y="894007"/>
            <a:ext cx="1249144" cy="819996"/>
          </a:xfrm>
          <a:prstGeom prst="rect">
            <a:avLst/>
          </a:prstGeom>
          <a:noFill/>
        </p:spPr>
        <p:txBody>
          <a:bodyPr wrap="square" lIns="65306" tIns="32653" rIns="65306" bIns="32653" rtlCol="0">
            <a:spAutoFit/>
          </a:bodyPr>
          <a:lstStyle/>
          <a:p>
            <a:pPr algn="ctr"/>
            <a:r>
              <a:rPr lang="ru-RU" sz="28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ru-RU" sz="12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sz="12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олна</a:t>
            </a:r>
          </a:p>
          <a:p>
            <a:pPr algn="ctr"/>
            <a:r>
              <a:rPr lang="ru-RU" sz="9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нтябрь 2019</a:t>
            </a:r>
          </a:p>
        </p:txBody>
      </p:sp>
      <p:sp>
        <p:nvSpPr>
          <p:cNvPr id="37" name="Номер слайда 1">
            <a:extLst>
              <a:ext uri="{FF2B5EF4-FFF2-40B4-BE49-F238E27FC236}">
                <a16:creationId xmlns:a16="http://schemas.microsoft.com/office/drawing/2014/main" id="{4BA99664-ECF3-4FCD-B5D7-B698DE314B26}"/>
              </a:ext>
            </a:extLst>
          </p:cNvPr>
          <p:cNvSpPr txBox="1">
            <a:spLocks/>
          </p:cNvSpPr>
          <p:nvPr/>
        </p:nvSpPr>
        <p:spPr>
          <a:xfrm>
            <a:off x="7853253" y="6492875"/>
            <a:ext cx="376985" cy="365125"/>
          </a:xfrm>
        </p:spPr>
        <p:txBody>
          <a:bodyPr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fld id="{C33C34FD-A43B-634A-9B8C-9626670F7CE8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220F358-BD2E-4640-A7C4-CAFE4CBB5EA9}"/>
              </a:ext>
            </a:extLst>
          </p:cNvPr>
          <p:cNvSpPr txBox="1"/>
          <p:nvPr/>
        </p:nvSpPr>
        <p:spPr>
          <a:xfrm>
            <a:off x="2549692" y="821435"/>
            <a:ext cx="1787840" cy="381415"/>
          </a:xfrm>
          <a:prstGeom prst="rect">
            <a:avLst/>
          </a:prstGeom>
          <a:noFill/>
        </p:spPr>
        <p:txBody>
          <a:bodyPr wrap="square" lIns="0" tIns="32653" rIns="0" bIns="32653" rtlCol="0">
            <a:spAutoFit/>
          </a:bodyPr>
          <a:lstStyle/>
          <a:p>
            <a:r>
              <a:rPr lang="ru-RU" sz="105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ОО «</a:t>
            </a:r>
            <a:r>
              <a:rPr lang="ru-RU" sz="1050" b="1" kern="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йер</a:t>
            </a:r>
            <a:r>
              <a:rPr lang="ru-RU" sz="105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kern="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ридж</a:t>
            </a:r>
            <a:r>
              <a:rPr lang="ru-RU" sz="105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ус»</a:t>
            </a:r>
          </a:p>
          <a:p>
            <a:r>
              <a:rPr lang="ru-RU" sz="10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Набережные Челны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8CAFA4F-6DB9-40A3-A217-78BBA4B3CF9E}"/>
              </a:ext>
            </a:extLst>
          </p:cNvPr>
          <p:cNvSpPr txBox="1"/>
          <p:nvPr/>
        </p:nvSpPr>
        <p:spPr>
          <a:xfrm>
            <a:off x="2549692" y="1315567"/>
            <a:ext cx="1787840" cy="389109"/>
          </a:xfrm>
          <a:prstGeom prst="rect">
            <a:avLst/>
          </a:prstGeom>
          <a:noFill/>
        </p:spPr>
        <p:txBody>
          <a:bodyPr wrap="square" lIns="0" tIns="32653" rIns="0" bIns="32653" rtlCol="0">
            <a:spAutoFit/>
          </a:bodyPr>
          <a:lstStyle>
            <a:defPPr>
              <a:defRPr lang="en-US"/>
            </a:defPPr>
            <a:lvl1pPr>
              <a:defRPr sz="180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050" dirty="0"/>
              <a:t>ООО «Челны-Бройлер»</a:t>
            </a:r>
            <a:endParaRPr lang="ru-RU" sz="1050" b="0" dirty="0"/>
          </a:p>
          <a:p>
            <a:r>
              <a:rPr lang="ru-RU" sz="1000" b="0" dirty="0"/>
              <a:t>г. Набережные Челны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85202F0-F0A7-4697-BC79-4B8E38B8B707}"/>
              </a:ext>
            </a:extLst>
          </p:cNvPr>
          <p:cNvSpPr txBox="1"/>
          <p:nvPr/>
        </p:nvSpPr>
        <p:spPr>
          <a:xfrm>
            <a:off x="2553921" y="1852619"/>
            <a:ext cx="1807993" cy="381415"/>
          </a:xfrm>
          <a:prstGeom prst="rect">
            <a:avLst/>
          </a:prstGeom>
          <a:noFill/>
        </p:spPr>
        <p:txBody>
          <a:bodyPr wrap="square" lIns="0" tIns="32653" rIns="0" bIns="32653" rtlCol="0">
            <a:spAutoFit/>
          </a:bodyPr>
          <a:lstStyle>
            <a:defPPr>
              <a:defRPr lang="en-US"/>
            </a:defPPr>
            <a:lvl1pPr>
              <a:defRPr sz="180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050" dirty="0"/>
              <a:t>АО </a:t>
            </a:r>
            <a:r>
              <a:rPr lang="ru-RU" sz="1050" dirty="0" err="1"/>
              <a:t>Полиматиз</a:t>
            </a:r>
            <a:endParaRPr lang="ru-RU" sz="1050" dirty="0"/>
          </a:p>
          <a:p>
            <a:r>
              <a:rPr lang="ru-RU" sz="1000" b="0" dirty="0"/>
              <a:t>СЭЗ </a:t>
            </a:r>
            <a:r>
              <a:rPr lang="ru-RU" sz="1000" b="0" dirty="0" err="1"/>
              <a:t>Алабуга</a:t>
            </a:r>
            <a:endParaRPr lang="ru-RU" sz="1000" b="0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5CEF8CF-04D6-4BFB-881D-AE88C81A63DB}"/>
              </a:ext>
            </a:extLst>
          </p:cNvPr>
          <p:cNvSpPr txBox="1"/>
          <p:nvPr/>
        </p:nvSpPr>
        <p:spPr>
          <a:xfrm>
            <a:off x="2553921" y="2311420"/>
            <a:ext cx="1771563" cy="381415"/>
          </a:xfrm>
          <a:prstGeom prst="rect">
            <a:avLst/>
          </a:prstGeom>
          <a:noFill/>
        </p:spPr>
        <p:txBody>
          <a:bodyPr wrap="square" lIns="0" tIns="32653" rIns="0" bIns="32653" rtlCol="0">
            <a:spAutoFit/>
          </a:bodyPr>
          <a:lstStyle>
            <a:defPPr>
              <a:defRPr lang="en-US"/>
            </a:defPPr>
            <a:lvl1pPr>
              <a:defRPr sz="180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050" dirty="0"/>
              <a:t>ООО Сатурн</a:t>
            </a:r>
            <a:endParaRPr lang="ru-RU" sz="1000" b="0" dirty="0"/>
          </a:p>
          <a:p>
            <a:r>
              <a:rPr lang="ru-RU" sz="1000" b="0" dirty="0"/>
              <a:t>г. Набережные Челны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1249DE7F-B8C5-4307-90D0-91FADC9E9AA5}"/>
              </a:ext>
            </a:extLst>
          </p:cNvPr>
          <p:cNvSpPr txBox="1"/>
          <p:nvPr/>
        </p:nvSpPr>
        <p:spPr>
          <a:xfrm>
            <a:off x="0" y="1826620"/>
            <a:ext cx="1249144" cy="819996"/>
          </a:xfrm>
          <a:prstGeom prst="rect">
            <a:avLst/>
          </a:prstGeom>
          <a:noFill/>
        </p:spPr>
        <p:txBody>
          <a:bodyPr wrap="square" lIns="65306" tIns="32653" rIns="65306" bIns="32653" rtlCol="0">
            <a:spAutoFit/>
          </a:bodyPr>
          <a:lstStyle/>
          <a:p>
            <a:pPr algn="ctr"/>
            <a:r>
              <a:rPr lang="ru-RU" sz="28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r>
              <a:rPr lang="ru-RU" sz="12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sz="12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олна</a:t>
            </a:r>
          </a:p>
          <a:p>
            <a:pPr algn="ctr"/>
            <a:r>
              <a:rPr lang="ru-RU" sz="9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Декабрь 2019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63938A5-6428-4CD3-9DAE-30283503E63D}"/>
              </a:ext>
            </a:extLst>
          </p:cNvPr>
          <p:cNvSpPr txBox="1"/>
          <p:nvPr/>
        </p:nvSpPr>
        <p:spPr>
          <a:xfrm>
            <a:off x="6969968" y="865864"/>
            <a:ext cx="2163572" cy="381415"/>
          </a:xfrm>
          <a:prstGeom prst="rect">
            <a:avLst/>
          </a:prstGeom>
          <a:noFill/>
        </p:spPr>
        <p:txBody>
          <a:bodyPr wrap="square" lIns="0" tIns="32653" rIns="0" bIns="32653" rtlCol="0">
            <a:spAutoFit/>
          </a:bodyPr>
          <a:lstStyle>
            <a:defPPr>
              <a:defRPr lang="en-US"/>
            </a:defPPr>
            <a:lvl1pPr>
              <a:defRPr sz="180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050" dirty="0"/>
              <a:t>ООО </a:t>
            </a:r>
            <a:r>
              <a:rPr lang="ru-RU" sz="1050" dirty="0" err="1"/>
              <a:t>СервисМонтажИнтеграция</a:t>
            </a:r>
            <a:endParaRPr lang="ru-RU" sz="1000" b="0" dirty="0"/>
          </a:p>
          <a:p>
            <a:r>
              <a:rPr lang="ru-RU" sz="1000" b="0" dirty="0"/>
              <a:t>г. Казань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01435E6E-1F56-434D-B582-608A96436F54}"/>
              </a:ext>
            </a:extLst>
          </p:cNvPr>
          <p:cNvSpPr txBox="1"/>
          <p:nvPr/>
        </p:nvSpPr>
        <p:spPr>
          <a:xfrm>
            <a:off x="6964474" y="1323544"/>
            <a:ext cx="2105010" cy="389109"/>
          </a:xfrm>
          <a:prstGeom prst="rect">
            <a:avLst/>
          </a:prstGeom>
          <a:noFill/>
        </p:spPr>
        <p:txBody>
          <a:bodyPr wrap="square" lIns="0" tIns="32653" rIns="0" bIns="32653" rtlCol="0">
            <a:spAutoFit/>
          </a:bodyPr>
          <a:lstStyle>
            <a:defPPr>
              <a:defRPr lang="en-US"/>
            </a:defPPr>
            <a:lvl1pPr>
              <a:defRPr sz="180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050" dirty="0"/>
              <a:t>ООО </a:t>
            </a:r>
            <a:r>
              <a:rPr lang="ru-RU" sz="1050" dirty="0" err="1"/>
              <a:t>Казметрострой</a:t>
            </a:r>
            <a:endParaRPr lang="ru-RU" sz="1000" b="0" dirty="0"/>
          </a:p>
          <a:p>
            <a:r>
              <a:rPr lang="ru-RU" sz="1000" b="0" dirty="0"/>
              <a:t>г. Казань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A032465F-B5F9-44BC-B6C5-39D743C7C698}"/>
              </a:ext>
            </a:extLst>
          </p:cNvPr>
          <p:cNvSpPr txBox="1"/>
          <p:nvPr/>
        </p:nvSpPr>
        <p:spPr>
          <a:xfrm>
            <a:off x="6958982" y="1816164"/>
            <a:ext cx="2185019" cy="481442"/>
          </a:xfrm>
          <a:prstGeom prst="rect">
            <a:avLst/>
          </a:prstGeom>
          <a:noFill/>
        </p:spPr>
        <p:txBody>
          <a:bodyPr wrap="square" lIns="0" tIns="32653" rIns="0" bIns="32653" rtlCol="0">
            <a:spAutoFit/>
          </a:bodyPr>
          <a:lstStyle>
            <a:defPPr>
              <a:defRPr lang="en-US"/>
            </a:defPPr>
            <a:lvl1pPr>
              <a:defRPr sz="180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900" dirty="0"/>
              <a:t>ПАО «Казанский </a:t>
            </a:r>
          </a:p>
          <a:p>
            <a:r>
              <a:rPr lang="ru-RU" sz="900" dirty="0"/>
              <a:t>вертолётный завод</a:t>
            </a:r>
            <a:endParaRPr lang="ru-RU" sz="800" b="0" dirty="0"/>
          </a:p>
          <a:p>
            <a:r>
              <a:rPr lang="ru-RU" sz="800" b="0" dirty="0"/>
              <a:t>г. Казань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6E25DFA1-5EA8-4633-A707-0F8C2B465495}"/>
              </a:ext>
            </a:extLst>
          </p:cNvPr>
          <p:cNvSpPr txBox="1"/>
          <p:nvPr/>
        </p:nvSpPr>
        <p:spPr>
          <a:xfrm>
            <a:off x="6958983" y="2338351"/>
            <a:ext cx="2174557" cy="327554"/>
          </a:xfrm>
          <a:prstGeom prst="rect">
            <a:avLst/>
          </a:prstGeom>
          <a:noFill/>
        </p:spPr>
        <p:txBody>
          <a:bodyPr wrap="square" lIns="0" tIns="32653" rIns="0" bIns="32653" rtlCol="0">
            <a:spAutoFit/>
          </a:bodyPr>
          <a:lstStyle>
            <a:defPPr>
              <a:defRPr lang="en-US"/>
            </a:defPPr>
            <a:lvl1pPr>
              <a:defRPr sz="180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900" dirty="0"/>
              <a:t>ООО «Казанский агрегатный завод</a:t>
            </a:r>
          </a:p>
          <a:p>
            <a:r>
              <a:rPr lang="ru-RU" sz="800" b="0" dirty="0"/>
              <a:t>г. Казань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842F2C1-08D4-4B5A-9DA7-0EE295D51835}"/>
              </a:ext>
            </a:extLst>
          </p:cNvPr>
          <p:cNvSpPr txBox="1"/>
          <p:nvPr/>
        </p:nvSpPr>
        <p:spPr>
          <a:xfrm>
            <a:off x="-21593" y="2810180"/>
            <a:ext cx="1249144" cy="819996"/>
          </a:xfrm>
          <a:prstGeom prst="rect">
            <a:avLst/>
          </a:prstGeom>
          <a:noFill/>
        </p:spPr>
        <p:txBody>
          <a:bodyPr wrap="square" lIns="65306" tIns="32653" rIns="65306" bIns="32653" rtlCol="0">
            <a:spAutoFit/>
          </a:bodyPr>
          <a:lstStyle/>
          <a:p>
            <a:pPr algn="ctr"/>
            <a:r>
              <a:rPr lang="ru-RU" sz="28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ru-RU" sz="12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sz="12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олна</a:t>
            </a:r>
          </a:p>
          <a:p>
            <a:pPr algn="ctr"/>
            <a:r>
              <a:rPr lang="ru-RU" sz="9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рт 2020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F5E30A9-C801-4C0A-8986-64D311C9588D}"/>
              </a:ext>
            </a:extLst>
          </p:cNvPr>
          <p:cNvSpPr txBox="1"/>
          <p:nvPr/>
        </p:nvSpPr>
        <p:spPr>
          <a:xfrm>
            <a:off x="4511830" y="2846426"/>
            <a:ext cx="1249144" cy="819996"/>
          </a:xfrm>
          <a:prstGeom prst="rect">
            <a:avLst/>
          </a:prstGeom>
          <a:noFill/>
        </p:spPr>
        <p:txBody>
          <a:bodyPr wrap="square" lIns="65306" tIns="32653" rIns="65306" bIns="32653" rtlCol="0">
            <a:spAutoFit/>
          </a:bodyPr>
          <a:lstStyle/>
          <a:p>
            <a:pPr algn="ctr"/>
            <a:r>
              <a:rPr lang="ru-RU" sz="28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r>
              <a:rPr lang="ru-RU" sz="12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sz="12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олна</a:t>
            </a:r>
          </a:p>
          <a:p>
            <a:pPr algn="ctr"/>
            <a:r>
              <a:rPr lang="ru-RU" sz="9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юнь 2020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1F95B81-D59B-44B5-B604-929FC51D9276}"/>
              </a:ext>
            </a:extLst>
          </p:cNvPr>
          <p:cNvSpPr txBox="1"/>
          <p:nvPr/>
        </p:nvSpPr>
        <p:spPr>
          <a:xfrm>
            <a:off x="2553922" y="2831069"/>
            <a:ext cx="1771563" cy="389109"/>
          </a:xfrm>
          <a:prstGeom prst="rect">
            <a:avLst/>
          </a:prstGeom>
          <a:noFill/>
        </p:spPr>
        <p:txBody>
          <a:bodyPr wrap="square" lIns="0" tIns="32653" rIns="0" bIns="32653" rtlCol="0">
            <a:spAutoFit/>
          </a:bodyPr>
          <a:lstStyle>
            <a:defPPr>
              <a:defRPr lang="en-US"/>
            </a:defPPr>
            <a:lvl1pPr>
              <a:defRPr sz="180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050" dirty="0"/>
              <a:t>ООО ПО «</a:t>
            </a:r>
            <a:r>
              <a:rPr lang="ru-RU" sz="1050" dirty="0" err="1"/>
              <a:t>Промвест</a:t>
            </a:r>
            <a:r>
              <a:rPr lang="ru-RU" sz="1050" dirty="0"/>
              <a:t>»</a:t>
            </a:r>
            <a:endParaRPr lang="ru-RU" sz="1000" b="0" dirty="0"/>
          </a:p>
          <a:p>
            <a:r>
              <a:rPr lang="ru-RU" sz="1000" b="0" dirty="0"/>
              <a:t>г. Набережные Челны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1E09DB26-9D68-4B4C-8300-BD4650079211}"/>
              </a:ext>
            </a:extLst>
          </p:cNvPr>
          <p:cNvSpPr txBox="1"/>
          <p:nvPr/>
        </p:nvSpPr>
        <p:spPr>
          <a:xfrm>
            <a:off x="2553922" y="3250993"/>
            <a:ext cx="1781090" cy="542997"/>
          </a:xfrm>
          <a:prstGeom prst="rect">
            <a:avLst/>
          </a:prstGeom>
          <a:noFill/>
        </p:spPr>
        <p:txBody>
          <a:bodyPr wrap="square" lIns="0" tIns="32653" rIns="0" bIns="32653" rtlCol="0">
            <a:spAutoFit/>
          </a:bodyPr>
          <a:lstStyle>
            <a:defPPr>
              <a:defRPr lang="en-US"/>
            </a:defPPr>
            <a:lvl1pPr>
              <a:defRPr sz="180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050" dirty="0"/>
              <a:t>ФКП "Казанский пороховой завод"</a:t>
            </a:r>
            <a:endParaRPr lang="ru-RU" sz="1000" b="0" dirty="0"/>
          </a:p>
          <a:p>
            <a:r>
              <a:rPr lang="ru-RU" sz="1000" b="0" dirty="0"/>
              <a:t>г. Казань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411B85EB-DA88-41F9-9A37-1FDA983D754D}"/>
              </a:ext>
            </a:extLst>
          </p:cNvPr>
          <p:cNvSpPr txBox="1"/>
          <p:nvPr/>
        </p:nvSpPr>
        <p:spPr>
          <a:xfrm>
            <a:off x="6969968" y="2825419"/>
            <a:ext cx="2115995" cy="381415"/>
          </a:xfrm>
          <a:prstGeom prst="rect">
            <a:avLst/>
          </a:prstGeom>
          <a:noFill/>
        </p:spPr>
        <p:txBody>
          <a:bodyPr wrap="square" lIns="0" tIns="32653" rIns="65306" bIns="32653" rtlCol="0">
            <a:spAutoFit/>
          </a:bodyPr>
          <a:lstStyle>
            <a:defPPr>
              <a:defRPr lang="en-US"/>
            </a:defPPr>
            <a:lvl1pPr>
              <a:defRPr sz="180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050" dirty="0"/>
              <a:t>ООО «Агрофирма «</a:t>
            </a:r>
            <a:r>
              <a:rPr lang="ru-RU" sz="1050" dirty="0" err="1"/>
              <a:t>Аняк</a:t>
            </a:r>
            <a:r>
              <a:rPr lang="ru-RU" sz="1050" dirty="0"/>
              <a:t>»</a:t>
            </a:r>
            <a:endParaRPr lang="ru-RU" sz="1000" b="0" dirty="0"/>
          </a:p>
          <a:p>
            <a:r>
              <a:rPr lang="ru-RU" sz="1000" b="0" dirty="0" err="1"/>
              <a:t>Актанышский</a:t>
            </a:r>
            <a:r>
              <a:rPr lang="ru-RU" sz="1000" b="0" dirty="0"/>
              <a:t> р-н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198FE36-8850-470B-904F-70CEEC4D5738}"/>
              </a:ext>
            </a:extLst>
          </p:cNvPr>
          <p:cNvSpPr txBox="1"/>
          <p:nvPr/>
        </p:nvSpPr>
        <p:spPr>
          <a:xfrm>
            <a:off x="6958982" y="3251962"/>
            <a:ext cx="2083820" cy="527609"/>
          </a:xfrm>
          <a:prstGeom prst="rect">
            <a:avLst/>
          </a:prstGeom>
          <a:noFill/>
        </p:spPr>
        <p:txBody>
          <a:bodyPr wrap="square" lIns="0" tIns="32653" rIns="65306" bIns="32653" rtlCol="0">
            <a:spAutoFit/>
          </a:bodyPr>
          <a:lstStyle>
            <a:defPPr>
              <a:defRPr lang="en-US"/>
            </a:defPPr>
            <a:lvl1pPr>
              <a:defRPr sz="180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000" dirty="0"/>
              <a:t>ОАО «Казанский оптико-механический завод»</a:t>
            </a:r>
          </a:p>
          <a:p>
            <a:r>
              <a:rPr lang="ru-RU" sz="1000" b="0" dirty="0"/>
              <a:t>г. Казань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A95E8A5C-12E9-484D-92E6-4E642C24BDEF}"/>
              </a:ext>
            </a:extLst>
          </p:cNvPr>
          <p:cNvSpPr txBox="1"/>
          <p:nvPr/>
        </p:nvSpPr>
        <p:spPr>
          <a:xfrm>
            <a:off x="-55825" y="3906347"/>
            <a:ext cx="1249144" cy="819996"/>
          </a:xfrm>
          <a:prstGeom prst="rect">
            <a:avLst/>
          </a:prstGeom>
          <a:noFill/>
        </p:spPr>
        <p:txBody>
          <a:bodyPr wrap="square" lIns="65306" tIns="32653" rIns="65306" bIns="32653" rtlCol="0">
            <a:spAutoFit/>
          </a:bodyPr>
          <a:lstStyle/>
          <a:p>
            <a:pPr algn="ctr"/>
            <a:r>
              <a:rPr lang="ru-RU" sz="28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  <a:r>
              <a:rPr lang="ru-RU" sz="12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sz="12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олна</a:t>
            </a:r>
          </a:p>
          <a:p>
            <a:pPr algn="ctr"/>
            <a:r>
              <a:rPr lang="ru-RU" sz="9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нтябрь 2020</a:t>
            </a:r>
          </a:p>
        </p:txBody>
      </p:sp>
      <p:pic>
        <p:nvPicPr>
          <p:cNvPr id="59" name="Picture 2" descr="C:\Users\user\Desktop\haier.png">
            <a:extLst>
              <a:ext uri="{FF2B5EF4-FFF2-40B4-BE49-F238E27FC236}">
                <a16:creationId xmlns:a16="http://schemas.microsoft.com/office/drawing/2014/main" id="{52901E93-934B-4B8E-899D-CA33D9452F1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686" b="23580"/>
          <a:stretch/>
        </p:blipFill>
        <p:spPr bwMode="auto">
          <a:xfrm>
            <a:off x="1304379" y="879802"/>
            <a:ext cx="1010981" cy="3241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3" descr="C:\Users\user\Pictures\news-1519809490.jpg">
            <a:extLst>
              <a:ext uri="{FF2B5EF4-FFF2-40B4-BE49-F238E27FC236}">
                <a16:creationId xmlns:a16="http://schemas.microsoft.com/office/drawing/2014/main" id="{6350DD70-74D2-44E0-BF62-F4CED5D1AD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0" b="4625"/>
          <a:stretch/>
        </p:blipFill>
        <p:spPr bwMode="auto">
          <a:xfrm>
            <a:off x="1387209" y="1215912"/>
            <a:ext cx="834134" cy="5256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id="{4AE6116F-9833-408A-9029-6084108F1077}"/>
              </a:ext>
            </a:extLst>
          </p:cNvPr>
          <p:cNvSpPr txBox="1"/>
          <p:nvPr/>
        </p:nvSpPr>
        <p:spPr>
          <a:xfrm>
            <a:off x="4511830" y="3913967"/>
            <a:ext cx="1249144" cy="819996"/>
          </a:xfrm>
          <a:prstGeom prst="rect">
            <a:avLst/>
          </a:prstGeom>
          <a:noFill/>
        </p:spPr>
        <p:txBody>
          <a:bodyPr wrap="square" lIns="65306" tIns="32653" rIns="65306" bIns="32653" rtlCol="0">
            <a:spAutoFit/>
          </a:bodyPr>
          <a:lstStyle/>
          <a:p>
            <a:pPr algn="ctr"/>
            <a:r>
              <a:rPr lang="ru-RU" sz="28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  <a:r>
              <a:rPr lang="ru-RU" sz="12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sz="12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олна</a:t>
            </a:r>
          </a:p>
          <a:p>
            <a:pPr algn="ctr"/>
            <a:r>
              <a:rPr lang="ru-RU" sz="9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кабрь 2020</a:t>
            </a:r>
          </a:p>
        </p:txBody>
      </p:sp>
      <p:pic>
        <p:nvPicPr>
          <p:cNvPr id="68" name="Picture 6" descr="ÐÐ°ÑÑÐ¸Ð½ÐºÐ¸ Ð¿Ð¾ Ð·Ð°Ð¿ÑÐ¾ÑÑ ÑÐ°ÑÑÑÐ½ ÑÐµÐ»Ð½Ñ">
            <a:extLst>
              <a:ext uri="{FF2B5EF4-FFF2-40B4-BE49-F238E27FC236}">
                <a16:creationId xmlns:a16="http://schemas.microsoft.com/office/drawing/2014/main" id="{BF9F7A5A-5648-49BC-BAE1-6D1B90586B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927"/>
          <a:stretch/>
        </p:blipFill>
        <p:spPr bwMode="auto">
          <a:xfrm>
            <a:off x="1427480" y="2315491"/>
            <a:ext cx="682606" cy="382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12" descr="ÐÐ°ÑÑÐ¸Ð½ÐºÐ¸ Ð¿Ð¾ Ð·Ð°Ð¿ÑÐ¾ÑÑ Ð°Ð·Ð½Ð°ÐºÐ°ÐµÐ²Ð¾ ÑÑÑÐµ">
            <a:extLst>
              <a:ext uri="{FF2B5EF4-FFF2-40B4-BE49-F238E27FC236}">
                <a16:creationId xmlns:a16="http://schemas.microsoft.com/office/drawing/2014/main" id="{B41D93E9-31AD-497D-BC67-1A44176DD3E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26" t="22518" r="13296" b="19542"/>
          <a:stretch/>
        </p:blipFill>
        <p:spPr bwMode="auto">
          <a:xfrm>
            <a:off x="5562811" y="3909860"/>
            <a:ext cx="1337606" cy="444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2" descr="ÐÐ°ÑÑÐ¸Ð½ÐºÐ¸ Ð¿Ð¾ Ð·Ð°Ð¿ÑÐ¾ÑÑ ÐºÐ°Ð·Ð°Ð½ÑÐºÐ¸Ð¹ Ð²ÐµÑÑÐ¾Ð»ÐµÑÐ½ÑÐ¹ Ð·Ð°Ð²Ð¾Ð´">
            <a:extLst>
              <a:ext uri="{FF2B5EF4-FFF2-40B4-BE49-F238E27FC236}">
                <a16:creationId xmlns:a16="http://schemas.microsoft.com/office/drawing/2014/main" id="{CEA911B0-FFD9-4811-9127-0F2BBE3B16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0098" y="1873462"/>
            <a:ext cx="1909292" cy="345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2" descr="http://vysota.aero/bitrix/templates/vysota_new/img/logo.png">
            <a:extLst>
              <a:ext uri="{FF2B5EF4-FFF2-40B4-BE49-F238E27FC236}">
                <a16:creationId xmlns:a16="http://schemas.microsoft.com/office/drawing/2014/main" id="{F54F00C6-4275-4421-B143-2F1D8D3D59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3663" y="2316452"/>
            <a:ext cx="1914476" cy="3858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4" descr="ÐÐ°ÑÑÐ¸Ð½ÐºÐ¸ Ð¿Ð¾ Ð·Ð°Ð¿ÑÐ¾ÑÑ &quot;Ð¿Ð¾Ð»Ð¸Ð¼Ð°ÑÐ¸Ð·&quot;">
            <a:extLst>
              <a:ext uri="{FF2B5EF4-FFF2-40B4-BE49-F238E27FC236}">
                <a16:creationId xmlns:a16="http://schemas.microsoft.com/office/drawing/2014/main" id="{2B751636-571C-46D3-9CE5-9D9071DB793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267" b="24836"/>
          <a:stretch/>
        </p:blipFill>
        <p:spPr bwMode="auto">
          <a:xfrm>
            <a:off x="1307898" y="1801649"/>
            <a:ext cx="935209" cy="481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Рисунок 72">
            <a:extLst>
              <a:ext uri="{FF2B5EF4-FFF2-40B4-BE49-F238E27FC236}">
                <a16:creationId xmlns:a16="http://schemas.microsoft.com/office/drawing/2014/main" id="{F4259C79-D29F-4C9C-AF26-C09EEB885319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08382" y="3346169"/>
            <a:ext cx="1219202" cy="371857"/>
          </a:xfrm>
          <a:prstGeom prst="rect">
            <a:avLst/>
          </a:prstGeom>
        </p:spPr>
      </p:pic>
      <p:pic>
        <p:nvPicPr>
          <p:cNvPr id="75" name="Рисунок 74" descr="Изображение выглядит как текст, знак, легкий, сидит&#10;&#10;Автоматически созданное описание">
            <a:extLst>
              <a:ext uri="{FF2B5EF4-FFF2-40B4-BE49-F238E27FC236}">
                <a16:creationId xmlns:a16="http://schemas.microsoft.com/office/drawing/2014/main" id="{CA90B5A8-1049-4CAA-856F-F97CC7D6F04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02512" y="2808550"/>
            <a:ext cx="1434456" cy="438178"/>
          </a:xfrm>
          <a:prstGeom prst="rect">
            <a:avLst/>
          </a:prstGeom>
        </p:spPr>
      </p:pic>
      <p:sp>
        <p:nvSpPr>
          <p:cNvPr id="94" name="TextBox 93">
            <a:extLst>
              <a:ext uri="{FF2B5EF4-FFF2-40B4-BE49-F238E27FC236}">
                <a16:creationId xmlns:a16="http://schemas.microsoft.com/office/drawing/2014/main" id="{FE01090D-8F1A-4A2E-83A5-150A64D6B919}"/>
              </a:ext>
            </a:extLst>
          </p:cNvPr>
          <p:cNvSpPr txBox="1"/>
          <p:nvPr/>
        </p:nvSpPr>
        <p:spPr>
          <a:xfrm>
            <a:off x="2553922" y="3909860"/>
            <a:ext cx="1787840" cy="381415"/>
          </a:xfrm>
          <a:prstGeom prst="rect">
            <a:avLst/>
          </a:prstGeom>
          <a:noFill/>
        </p:spPr>
        <p:txBody>
          <a:bodyPr wrap="square" lIns="0" tIns="32653" rIns="0" bIns="32653" rtlCol="0">
            <a:spAutoFit/>
          </a:bodyPr>
          <a:lstStyle>
            <a:defPPr>
              <a:defRPr lang="en-US"/>
            </a:defPPr>
            <a:lvl1pPr>
              <a:defRPr sz="180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050" dirty="0"/>
              <a:t>ОАО «</a:t>
            </a:r>
            <a:r>
              <a:rPr lang="ru-RU" sz="1050" dirty="0" err="1"/>
              <a:t>Заинский</a:t>
            </a:r>
            <a:r>
              <a:rPr lang="ru-RU" sz="1050" dirty="0"/>
              <a:t> сахар"</a:t>
            </a:r>
            <a:endParaRPr lang="ru-RU" sz="1000" b="0" dirty="0"/>
          </a:p>
          <a:p>
            <a:r>
              <a:rPr lang="ru-RU" sz="1000" b="0" dirty="0"/>
              <a:t>г. Заинск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E5E302DC-CC3B-414E-A9B9-4CD063084580}"/>
              </a:ext>
            </a:extLst>
          </p:cNvPr>
          <p:cNvSpPr txBox="1"/>
          <p:nvPr/>
        </p:nvSpPr>
        <p:spPr>
          <a:xfrm>
            <a:off x="2553922" y="4387095"/>
            <a:ext cx="1948227" cy="389109"/>
          </a:xfrm>
          <a:prstGeom prst="rect">
            <a:avLst/>
          </a:prstGeom>
          <a:noFill/>
        </p:spPr>
        <p:txBody>
          <a:bodyPr wrap="square" lIns="0" tIns="32653" rIns="0" bIns="32653" rtlCol="0">
            <a:spAutoFit/>
          </a:bodyPr>
          <a:lstStyle>
            <a:defPPr>
              <a:defRPr lang="en-US"/>
            </a:defPPr>
            <a:lvl1pPr>
              <a:defRPr sz="105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ОО НПП «</a:t>
            </a:r>
            <a:r>
              <a:rPr lang="ru-RU" dirty="0" err="1"/>
              <a:t>Ру</a:t>
            </a:r>
            <a:r>
              <a:rPr lang="ru-RU" dirty="0"/>
              <a:t>-Инжиниринг»</a:t>
            </a:r>
          </a:p>
          <a:p>
            <a:r>
              <a:rPr lang="ru-RU" b="0" dirty="0"/>
              <a:t>г. Набережные Челны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A1E0739E-FE02-4A52-AEDD-B208489E085A}"/>
              </a:ext>
            </a:extLst>
          </p:cNvPr>
          <p:cNvSpPr txBox="1"/>
          <p:nvPr/>
        </p:nvSpPr>
        <p:spPr>
          <a:xfrm>
            <a:off x="6975069" y="3920094"/>
            <a:ext cx="2083819" cy="373720"/>
          </a:xfrm>
          <a:prstGeom prst="rect">
            <a:avLst/>
          </a:prstGeom>
          <a:noFill/>
        </p:spPr>
        <p:txBody>
          <a:bodyPr wrap="square" lIns="0" tIns="32653" rIns="65306" bIns="32653" rtlCol="0">
            <a:spAutoFit/>
          </a:bodyPr>
          <a:lstStyle>
            <a:defPPr>
              <a:defRPr lang="en-US"/>
            </a:defPPr>
            <a:lvl1pPr>
              <a:defRPr sz="180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000" dirty="0"/>
              <a:t>ООО «</a:t>
            </a:r>
            <a:r>
              <a:rPr lang="ru-RU" sz="1000" dirty="0" err="1"/>
              <a:t>Азнакай</a:t>
            </a:r>
            <a:r>
              <a:rPr lang="ru-RU" sz="1000" dirty="0"/>
              <a:t> </a:t>
            </a:r>
            <a:r>
              <a:rPr lang="ru-RU" sz="1000" dirty="0" err="1"/>
              <a:t>Сэте</a:t>
            </a:r>
            <a:r>
              <a:rPr lang="ru-RU" sz="1000" dirty="0"/>
              <a:t>»</a:t>
            </a:r>
          </a:p>
          <a:p>
            <a:r>
              <a:rPr lang="ru-RU" sz="1000" b="0" dirty="0"/>
              <a:t>г. Азнакаево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351B9B4E-F890-4ED0-A0FB-16F89BABFDEE}"/>
              </a:ext>
            </a:extLst>
          </p:cNvPr>
          <p:cNvSpPr txBox="1"/>
          <p:nvPr/>
        </p:nvSpPr>
        <p:spPr>
          <a:xfrm>
            <a:off x="6958983" y="4460516"/>
            <a:ext cx="2083818" cy="227526"/>
          </a:xfrm>
          <a:prstGeom prst="rect">
            <a:avLst/>
          </a:prstGeom>
          <a:noFill/>
        </p:spPr>
        <p:txBody>
          <a:bodyPr wrap="square" lIns="0" tIns="32653" rIns="0" bIns="32653" rtlCol="0">
            <a:spAutoFit/>
          </a:bodyPr>
          <a:lstStyle>
            <a:defPPr>
              <a:defRPr lang="en-US"/>
            </a:defPPr>
            <a:lvl1pPr>
              <a:defRPr sz="1050" b="1" ker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Место вакантно</a:t>
            </a:r>
          </a:p>
        </p:txBody>
      </p:sp>
      <p:pic>
        <p:nvPicPr>
          <p:cNvPr id="99" name="Рисунок 98">
            <a:extLst>
              <a:ext uri="{FF2B5EF4-FFF2-40B4-BE49-F238E27FC236}">
                <a16:creationId xmlns:a16="http://schemas.microsoft.com/office/drawing/2014/main" id="{80BDDE52-8842-449F-A916-D6047E3CE9A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880486" y="3267201"/>
            <a:ext cx="492855" cy="492855"/>
          </a:xfrm>
          <a:prstGeom prst="rect">
            <a:avLst/>
          </a:prstGeom>
        </p:spPr>
      </p:pic>
      <p:pic>
        <p:nvPicPr>
          <p:cNvPr id="100" name="Picture 2" descr="Картинки по запросу &quot;заинский сахар оао&quot;">
            <a:extLst>
              <a:ext uri="{FF2B5EF4-FFF2-40B4-BE49-F238E27FC236}">
                <a16:creationId xmlns:a16="http://schemas.microsoft.com/office/drawing/2014/main" id="{FCD5A9C1-CE21-4B89-8510-22B7EC4EE9D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53" t="13857" r="26576" b="26472"/>
          <a:stretch/>
        </p:blipFill>
        <p:spPr bwMode="auto">
          <a:xfrm>
            <a:off x="1427480" y="3872213"/>
            <a:ext cx="703364" cy="464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Картинки по запросу &quot;сервис монтаж интеграция&quot;">
            <a:extLst>
              <a:ext uri="{FF2B5EF4-FFF2-40B4-BE49-F238E27FC236}">
                <a16:creationId xmlns:a16="http://schemas.microsoft.com/office/drawing/2014/main" id="{89A7A9BA-909B-4033-AF15-66C95992DC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3563" y="839950"/>
            <a:ext cx="1535442" cy="46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Company">
            <a:extLst>
              <a:ext uri="{FF2B5EF4-FFF2-40B4-BE49-F238E27FC236}">
                <a16:creationId xmlns:a16="http://schemas.microsoft.com/office/drawing/2014/main" id="{3D594B35-E266-4A6C-9CD1-9C92988462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5881" y="1361644"/>
            <a:ext cx="1809153" cy="345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Картинки по запросу &quot;rudrive&quot;">
            <a:extLst>
              <a:ext uri="{FF2B5EF4-FFF2-40B4-BE49-F238E27FC236}">
                <a16:creationId xmlns:a16="http://schemas.microsoft.com/office/drawing/2014/main" id="{923D2757-240A-4ABC-B8FB-5ADB90FE85D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195" b="24601"/>
          <a:stretch/>
        </p:blipFill>
        <p:spPr bwMode="auto">
          <a:xfrm>
            <a:off x="1434797" y="4393400"/>
            <a:ext cx="703364" cy="361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29447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>
            <a:extLst>
              <a:ext uri="{FF2B5EF4-FFF2-40B4-BE49-F238E27FC236}">
                <a16:creationId xmlns:a16="http://schemas.microsoft.com/office/drawing/2014/main" id="{4278E0B0-9930-4257-9102-3687EFDDDB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999" y="50800"/>
            <a:ext cx="6820955" cy="482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833930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03515" y="12924"/>
            <a:ext cx="8678387" cy="8534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2000" b="1" dirty="0"/>
              <a:t>ФЦК – ответственный за реализацию проектов на конкретных предприятиях</a:t>
            </a:r>
          </a:p>
        </p:txBody>
      </p:sp>
      <p:sp>
        <p:nvSpPr>
          <p:cNvPr id="20" name="Пятиугольник 19"/>
          <p:cNvSpPr/>
          <p:nvPr/>
        </p:nvSpPr>
        <p:spPr>
          <a:xfrm>
            <a:off x="8100406" y="1534317"/>
            <a:ext cx="583591" cy="540000"/>
          </a:xfrm>
          <a:prstGeom prst="homePlate">
            <a:avLst>
              <a:gd name="adj" fmla="val 14858"/>
            </a:avLst>
          </a:prstGeom>
          <a:solidFill>
            <a:srgbClr val="F5FBA7"/>
          </a:solidFill>
          <a:ln w="9525" cap="flat" cmpd="sng" algn="ctr">
            <a:solidFill>
              <a:srgbClr val="F5FBA7"/>
            </a:solidFill>
            <a:prstDash val="solid"/>
          </a:ln>
          <a:effectLst/>
        </p:spPr>
        <p:txBody>
          <a:bodyPr lIns="65306" tIns="32653" rIns="65306" bIns="32653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1" name="Пятиугольник 20"/>
          <p:cNvSpPr/>
          <p:nvPr/>
        </p:nvSpPr>
        <p:spPr>
          <a:xfrm>
            <a:off x="7564294" y="1534317"/>
            <a:ext cx="643717" cy="540000"/>
          </a:xfrm>
          <a:prstGeom prst="homePlate">
            <a:avLst>
              <a:gd name="adj" fmla="val 14858"/>
            </a:avLst>
          </a:prstGeom>
          <a:solidFill>
            <a:schemeClr val="tx2">
              <a:lumMod val="60000"/>
              <a:lumOff val="40000"/>
            </a:schemeClr>
          </a:solidFill>
          <a:ln w="9525" cap="flat" cmpd="sng" algn="ctr">
            <a:solidFill>
              <a:srgbClr val="1F497D">
                <a:lumMod val="40000"/>
                <a:lumOff val="60000"/>
              </a:srgbClr>
            </a:solidFill>
            <a:prstDash val="solid"/>
          </a:ln>
          <a:effectLst/>
        </p:spPr>
        <p:txBody>
          <a:bodyPr lIns="65306" tIns="32653" rIns="65306" bIns="32653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2" name="Пятиугольник 21"/>
          <p:cNvSpPr/>
          <p:nvPr/>
        </p:nvSpPr>
        <p:spPr>
          <a:xfrm>
            <a:off x="7084787" y="1534317"/>
            <a:ext cx="583591" cy="540000"/>
          </a:xfrm>
          <a:prstGeom prst="homePlate">
            <a:avLst>
              <a:gd name="adj" fmla="val 14858"/>
            </a:avLst>
          </a:prstGeom>
          <a:solidFill>
            <a:srgbClr val="F5FBA7"/>
          </a:solidFill>
          <a:ln w="9525" cap="flat" cmpd="sng" algn="ctr">
            <a:solidFill>
              <a:srgbClr val="F5FBA7"/>
            </a:solidFill>
            <a:prstDash val="solid"/>
          </a:ln>
          <a:effectLst/>
        </p:spPr>
        <p:txBody>
          <a:bodyPr lIns="65306" tIns="32653" rIns="65306" bIns="32653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3" name="Пятиугольник 22"/>
          <p:cNvSpPr/>
          <p:nvPr/>
        </p:nvSpPr>
        <p:spPr>
          <a:xfrm>
            <a:off x="6548643" y="1534317"/>
            <a:ext cx="643717" cy="540000"/>
          </a:xfrm>
          <a:prstGeom prst="homePlate">
            <a:avLst>
              <a:gd name="adj" fmla="val 14858"/>
            </a:avLst>
          </a:prstGeom>
          <a:solidFill>
            <a:schemeClr val="tx2">
              <a:lumMod val="60000"/>
              <a:lumOff val="40000"/>
            </a:schemeClr>
          </a:solidFill>
          <a:ln w="9525" cap="flat" cmpd="sng" algn="ctr">
            <a:solidFill>
              <a:srgbClr val="1F497D">
                <a:lumMod val="40000"/>
                <a:lumOff val="60000"/>
              </a:srgbClr>
            </a:solidFill>
            <a:prstDash val="solid"/>
          </a:ln>
          <a:effectLst/>
        </p:spPr>
        <p:txBody>
          <a:bodyPr lIns="65306" tIns="32653" rIns="65306" bIns="32653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4" name="TextBox 3"/>
          <p:cNvSpPr txBox="1"/>
          <p:nvPr/>
        </p:nvSpPr>
        <p:spPr>
          <a:xfrm>
            <a:off x="1165674" y="812595"/>
            <a:ext cx="112242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95781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8908" algn="l" defTabSz="95781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7816" algn="l" defTabSz="95781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6724" algn="l" defTabSz="95781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15631" algn="l" defTabSz="95781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4539" algn="l" defTabSz="95781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73447" algn="l" defTabSz="95781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52355" algn="l" defTabSz="95781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31263" algn="l" defTabSz="95781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3 месяца</a:t>
            </a:r>
          </a:p>
        </p:txBody>
      </p:sp>
      <p:sp>
        <p:nvSpPr>
          <p:cNvPr id="25" name="TextBox 16"/>
          <p:cNvSpPr txBox="1"/>
          <p:nvPr/>
        </p:nvSpPr>
        <p:spPr>
          <a:xfrm>
            <a:off x="4572000" y="812595"/>
            <a:ext cx="112242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95781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8908" algn="l" defTabSz="95781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7816" algn="l" defTabSz="95781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6724" algn="l" defTabSz="95781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15631" algn="l" defTabSz="95781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4539" algn="l" defTabSz="95781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73447" algn="l" defTabSz="95781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52355" algn="l" defTabSz="95781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31263" algn="l" defTabSz="95781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3 месяца</a:t>
            </a:r>
          </a:p>
        </p:txBody>
      </p:sp>
      <p:sp>
        <p:nvSpPr>
          <p:cNvPr id="26" name="Пятиугольник 25"/>
          <p:cNvSpPr/>
          <p:nvPr/>
        </p:nvSpPr>
        <p:spPr>
          <a:xfrm>
            <a:off x="3452294" y="1222948"/>
            <a:ext cx="3207949" cy="540001"/>
          </a:xfrm>
          <a:prstGeom prst="homePlate">
            <a:avLst>
              <a:gd name="adj" fmla="val 14858"/>
            </a:avLst>
          </a:prstGeom>
          <a:solidFill>
            <a:srgbClr val="F5FBA7"/>
          </a:solidFill>
          <a:ln w="9525" cap="flat" cmpd="sng" algn="ctr">
            <a:solidFill>
              <a:srgbClr val="F5FBA7"/>
            </a:solidFill>
            <a:prstDash val="solid"/>
          </a:ln>
          <a:effectLst/>
        </p:spPr>
        <p:txBody>
          <a:bodyPr lIns="65306" tIns="32653" rIns="65306" bIns="32653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 Внедрение улучшений (поддержка)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20% на площадке</a:t>
            </a:r>
          </a:p>
        </p:txBody>
      </p:sp>
      <p:sp>
        <p:nvSpPr>
          <p:cNvPr id="27" name="Пятиугольник 26"/>
          <p:cNvSpPr/>
          <p:nvPr/>
        </p:nvSpPr>
        <p:spPr>
          <a:xfrm>
            <a:off x="179527" y="1222949"/>
            <a:ext cx="3362427" cy="540000"/>
          </a:xfrm>
          <a:prstGeom prst="homePlate">
            <a:avLst>
              <a:gd name="adj" fmla="val 14858"/>
            </a:avLst>
          </a:prstGeom>
          <a:solidFill>
            <a:schemeClr val="tx2">
              <a:lumMod val="60000"/>
              <a:lumOff val="40000"/>
            </a:schemeClr>
          </a:solidFill>
          <a:ln w="9525" cap="flat" cmpd="sng" algn="ctr">
            <a:solidFill>
              <a:srgbClr val="1F497D">
                <a:lumMod val="40000"/>
                <a:lumOff val="60000"/>
              </a:srgbClr>
            </a:solidFill>
            <a:prstDash val="solid"/>
          </a:ln>
          <a:effectLst/>
        </p:spPr>
        <p:txBody>
          <a:bodyPr lIns="65306" tIns="32653" rIns="65306" bIns="32653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иагностика и целевое состояние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80 % на площадке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74339" y="2644640"/>
            <a:ext cx="64859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srgbClr val="1F497D"/>
                </a:solidFill>
                <a:latin typeface="+mj-lt"/>
                <a:cs typeface="Arial" panose="020B0604020202020204" pitchFamily="34" charset="0"/>
              </a:rPr>
              <a:t>Реализация проекта на предприятии включает поддержку</a:t>
            </a:r>
            <a:r>
              <a:rPr lang="en-US" sz="1400" b="1" dirty="0">
                <a:solidFill>
                  <a:srgbClr val="1F497D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1F497D"/>
                </a:solidFill>
                <a:latin typeface="+mj-lt"/>
                <a:cs typeface="Arial" panose="020B0604020202020204" pitchFamily="34" charset="0"/>
              </a:rPr>
              <a:t>по ключевым направлениям: </a:t>
            </a:r>
          </a:p>
        </p:txBody>
      </p:sp>
      <p:sp>
        <p:nvSpPr>
          <p:cNvPr id="29" name="Правая фигурная скобка 28"/>
          <p:cNvSpPr/>
          <p:nvPr/>
        </p:nvSpPr>
        <p:spPr>
          <a:xfrm rot="5400000">
            <a:off x="3278241" y="-647237"/>
            <a:ext cx="209529" cy="6374158"/>
          </a:xfrm>
          <a:prstGeom prst="rightBrace">
            <a:avLst>
              <a:gd name="adj1" fmla="val 37652"/>
              <a:gd name="adj2" fmla="val 50000"/>
            </a:avLst>
          </a:prstGeom>
          <a:noFill/>
          <a:ln w="28575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cs typeface="Arial" panose="020B0604020202020204" pitchFamily="34" charset="0"/>
            </a:endParaRPr>
          </a:p>
        </p:txBody>
      </p:sp>
      <p:sp>
        <p:nvSpPr>
          <p:cNvPr id="30" name="Дуга 29"/>
          <p:cNvSpPr/>
          <p:nvPr/>
        </p:nvSpPr>
        <p:spPr>
          <a:xfrm>
            <a:off x="8532440" y="1593007"/>
            <a:ext cx="432048" cy="422679"/>
          </a:xfrm>
          <a:prstGeom prst="arc">
            <a:avLst>
              <a:gd name="adj1" fmla="val 1499328"/>
              <a:gd name="adj2" fmla="val 19867943"/>
            </a:avLst>
          </a:prstGeom>
          <a:noFill/>
          <a:ln w="38100" cap="flat" cmpd="sng" algn="ctr">
            <a:solidFill>
              <a:srgbClr val="1E86C8"/>
            </a:solidFill>
            <a:prstDash val="solid"/>
            <a:headEnd type="none" w="med" len="med"/>
            <a:tailEnd type="triangle" w="med" len="med"/>
          </a:ln>
          <a:effectLst/>
        </p:spPr>
        <p:txBody>
          <a:bodyPr rtlCol="0" anchor="ctr"/>
          <a:lstStyle/>
          <a:p>
            <a:pPr marL="0" marR="0" lvl="0" indent="0" algn="ctr" defTabSz="9578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>
              <a:ln>
                <a:noFill/>
              </a:ln>
              <a:solidFill>
                <a:srgbClr val="003C86">
                  <a:lumMod val="60000"/>
                  <a:lumOff val="40000"/>
                </a:srgbClr>
              </a:solidFill>
              <a:effectLst/>
              <a:uLnTx/>
              <a:uFillTx/>
              <a:latin typeface="+mj-lt"/>
              <a:cs typeface="Arial" panose="020B0604020202020204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395541" y="3136182"/>
            <a:ext cx="5937067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850574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b="1" kern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Создание потоков-образцов по повышению производительности труда;</a:t>
            </a:r>
          </a:p>
          <a:p>
            <a:pPr marL="171450" indent="-171450" defTabSz="850574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kern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Декомпозиция целей предприятия до натуральных показателей до уровня руководителей участков;</a:t>
            </a:r>
          </a:p>
          <a:p>
            <a:pPr marL="171450" indent="-171450" defTabSz="850574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kern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Обучение сотрудников предприятия и РЦК;</a:t>
            </a:r>
          </a:p>
          <a:p>
            <a:pPr marL="171450" indent="-171450" defTabSz="850574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kern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Внедрение методологии проектного управления;</a:t>
            </a:r>
          </a:p>
          <a:p>
            <a:pPr marL="171450" indent="-171450" defTabSz="850574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kern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Внедрение системы мотивации и поддержки изменений.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6439616" y="2760460"/>
            <a:ext cx="268908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b="1" dirty="0">
                <a:solidFill>
                  <a:srgbClr val="1F497D"/>
                </a:solidFill>
                <a:latin typeface="+mj-lt"/>
                <a:cs typeface="Arial" panose="020B0604020202020204" pitchFamily="34" charset="0"/>
              </a:rPr>
              <a:t>Тиражирование подходов по повышению производительности труда во всех производственных и обеспечивающих  процессах</a:t>
            </a:r>
          </a:p>
        </p:txBody>
      </p:sp>
      <p:sp>
        <p:nvSpPr>
          <p:cNvPr id="33" name="Правая фигурная скобка 32"/>
          <p:cNvSpPr/>
          <p:nvPr/>
        </p:nvSpPr>
        <p:spPr>
          <a:xfrm rot="5400000">
            <a:off x="7665133" y="1340038"/>
            <a:ext cx="209529" cy="2399608"/>
          </a:xfrm>
          <a:prstGeom prst="rightBrace">
            <a:avLst>
              <a:gd name="adj1" fmla="val 37652"/>
              <a:gd name="adj2" fmla="val 50000"/>
            </a:avLst>
          </a:prstGeom>
          <a:noFill/>
          <a:ln w="28575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cs typeface="Arial" panose="020B0604020202020204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3047321" y="2135382"/>
            <a:ext cx="7136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b="1" dirty="0">
                <a:solidFill>
                  <a:srgbClr val="1F497D"/>
                </a:solidFill>
                <a:latin typeface="+mj-lt"/>
                <a:cs typeface="Arial" panose="020B0604020202020204" pitchFamily="34" charset="0"/>
              </a:rPr>
              <a:t>ФЦК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7001069" y="2135382"/>
            <a:ext cx="175240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b="1" dirty="0">
                <a:solidFill>
                  <a:srgbClr val="1F497D"/>
                </a:solidFill>
                <a:latin typeface="+mj-lt"/>
                <a:cs typeface="Arial" panose="020B0604020202020204" pitchFamily="34" charset="0"/>
              </a:rPr>
              <a:t>Предприятие</a:t>
            </a:r>
          </a:p>
        </p:txBody>
      </p:sp>
    </p:spTree>
    <p:extLst>
      <p:ext uri="{BB962C8B-B14F-4D97-AF65-F5344CB8AC3E}">
        <p14:creationId xmlns:p14="http://schemas.microsoft.com/office/powerpoint/2010/main" val="40913502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03515" y="12924"/>
            <a:ext cx="8678387" cy="8534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2000" b="1" dirty="0"/>
              <a:t>Основные направления повышения эффективности производства на предприятии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204353" y="1101973"/>
            <a:ext cx="46723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96112"/>
            <a:r>
              <a:rPr lang="ru-RU" sz="1600" b="1" dirty="0">
                <a:solidFill>
                  <a:srgbClr val="0070C0"/>
                </a:solidFill>
              </a:rPr>
              <a:t>ТИПИЧНЫЙ ПРОЦЕСС ПРОИЗВОДСТВА ИЗДЕЛИЯ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5884835" y="978863"/>
            <a:ext cx="35283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 defTabSz="896112">
              <a:defRPr sz="1600" b="1">
                <a:solidFill>
                  <a:srgbClr val="0070C0"/>
                </a:solidFill>
              </a:defRPr>
            </a:lvl1pPr>
          </a:lstStyle>
          <a:p>
            <a:pPr algn="l"/>
            <a:r>
              <a:rPr lang="ru-RU" dirty="0"/>
              <a:t>ЧТО МЫ ДЕЛАЕМ В РАМКАХ ПРОЕКТА: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6272577" y="2139702"/>
            <a:ext cx="2482869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850382">
              <a:defRPr/>
            </a:pPr>
            <a:r>
              <a:rPr lang="ru-RU" sz="1400" kern="0" dirty="0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Сокращаем запасы не менее чем </a:t>
            </a:r>
            <a:r>
              <a:rPr lang="ru-RU" sz="1400" b="1" kern="0" dirty="0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на 50%</a:t>
            </a:r>
          </a:p>
        </p:txBody>
      </p:sp>
      <p:sp>
        <p:nvSpPr>
          <p:cNvPr id="30" name="Прямоугольник 28"/>
          <p:cNvSpPr/>
          <p:nvPr/>
        </p:nvSpPr>
        <p:spPr>
          <a:xfrm>
            <a:off x="6256994" y="1635646"/>
            <a:ext cx="2482869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850382">
              <a:defRPr/>
            </a:pPr>
            <a:r>
              <a:rPr lang="ru-RU" sz="1400" kern="0" dirty="0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Снижаем время протекания процесса минимум </a:t>
            </a:r>
            <a:r>
              <a:rPr lang="ru-RU" sz="1400" b="1" kern="0" dirty="0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в 2 раза</a:t>
            </a:r>
          </a:p>
        </p:txBody>
      </p:sp>
      <p:sp>
        <p:nvSpPr>
          <p:cNvPr id="31" name="Прямоугольник 28"/>
          <p:cNvSpPr/>
          <p:nvPr/>
        </p:nvSpPr>
        <p:spPr>
          <a:xfrm>
            <a:off x="6272576" y="2644919"/>
            <a:ext cx="2482869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850382">
              <a:defRPr/>
            </a:pPr>
            <a:r>
              <a:rPr lang="ru-RU" sz="1400" kern="0" dirty="0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Повышаем загрузку персонала в среднем </a:t>
            </a:r>
            <a:r>
              <a:rPr lang="ru-RU" sz="1400" b="1" kern="0" dirty="0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до 85%</a:t>
            </a:r>
          </a:p>
        </p:txBody>
      </p:sp>
      <p:sp>
        <p:nvSpPr>
          <p:cNvPr id="32" name="Прямоугольник 28"/>
          <p:cNvSpPr/>
          <p:nvPr/>
        </p:nvSpPr>
        <p:spPr>
          <a:xfrm>
            <a:off x="6286640" y="3651870"/>
            <a:ext cx="2482869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850382">
              <a:defRPr/>
            </a:pPr>
            <a:r>
              <a:rPr lang="ru-RU" sz="1400" kern="0" dirty="0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Снижаем дистанцию и время транспортировки </a:t>
            </a:r>
            <a:r>
              <a:rPr lang="ru-RU" sz="1400" b="1" kern="0" dirty="0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на 30%</a:t>
            </a:r>
          </a:p>
        </p:txBody>
      </p:sp>
      <p:sp>
        <p:nvSpPr>
          <p:cNvPr id="33" name="Прямоугольник 28"/>
          <p:cNvSpPr/>
          <p:nvPr/>
        </p:nvSpPr>
        <p:spPr>
          <a:xfrm>
            <a:off x="6276838" y="4157087"/>
            <a:ext cx="2482869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850382">
              <a:defRPr/>
            </a:pPr>
            <a:r>
              <a:rPr lang="ru-RU" sz="1400" kern="0" dirty="0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Уменьшаем объем партий не менее чем </a:t>
            </a:r>
            <a:r>
              <a:rPr lang="ru-RU" sz="1400" b="1" kern="0" dirty="0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в 4 раза</a:t>
            </a:r>
          </a:p>
        </p:txBody>
      </p:sp>
      <p:sp>
        <p:nvSpPr>
          <p:cNvPr id="34" name="Прямоугольник 28"/>
          <p:cNvSpPr/>
          <p:nvPr/>
        </p:nvSpPr>
        <p:spPr>
          <a:xfrm>
            <a:off x="6276838" y="3147814"/>
            <a:ext cx="2482869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850382">
              <a:defRPr/>
            </a:pPr>
            <a:r>
              <a:rPr lang="ru-RU" sz="1400" kern="0" dirty="0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Повышаем загрузку оборудования </a:t>
            </a:r>
            <a:r>
              <a:rPr lang="ru-RU" sz="1400" b="1" kern="0" dirty="0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до 85%</a:t>
            </a:r>
          </a:p>
        </p:txBody>
      </p:sp>
      <p:pic>
        <p:nvPicPr>
          <p:cNvPr id="3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770" y="1595745"/>
            <a:ext cx="5027993" cy="2860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36" name="Прямая соединительная линия 9"/>
          <p:cNvCxnSpPr/>
          <p:nvPr/>
        </p:nvCxnSpPr>
        <p:spPr>
          <a:xfrm>
            <a:off x="6256993" y="2067694"/>
            <a:ext cx="258016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9"/>
          <p:cNvCxnSpPr/>
          <p:nvPr/>
        </p:nvCxnSpPr>
        <p:spPr>
          <a:xfrm>
            <a:off x="6272576" y="2571750"/>
            <a:ext cx="258016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9"/>
          <p:cNvCxnSpPr/>
          <p:nvPr/>
        </p:nvCxnSpPr>
        <p:spPr>
          <a:xfrm>
            <a:off x="6256994" y="3075806"/>
            <a:ext cx="258016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9"/>
          <p:cNvCxnSpPr/>
          <p:nvPr/>
        </p:nvCxnSpPr>
        <p:spPr>
          <a:xfrm>
            <a:off x="6272575" y="3579862"/>
            <a:ext cx="258016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9"/>
          <p:cNvCxnSpPr/>
          <p:nvPr/>
        </p:nvCxnSpPr>
        <p:spPr>
          <a:xfrm>
            <a:off x="6272574" y="4083918"/>
            <a:ext cx="258016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8955" y="1671260"/>
            <a:ext cx="451801" cy="3596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0448" y="2206661"/>
            <a:ext cx="388813" cy="296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2827" y="2689598"/>
            <a:ext cx="386635" cy="3415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" name="Picture 5"/>
          <p:cNvPicPr>
            <a:picLocks noChangeAspect="1" noChangeArrowheads="1"/>
          </p:cNvPicPr>
          <p:nvPr/>
        </p:nvPicPr>
        <p:blipFill>
          <a:blip r:embed="rId6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6286" y="3171697"/>
            <a:ext cx="399716" cy="3831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5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2060" y="3711299"/>
            <a:ext cx="454918" cy="3120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Picture 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4483" y="4205352"/>
            <a:ext cx="403321" cy="446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140174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03515" y="12924"/>
            <a:ext cx="8678387" cy="8534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2000" b="1" dirty="0"/>
              <a:t>Почему бизнес не активно включается в проект?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94238" y="741479"/>
            <a:ext cx="52858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b="1" dirty="0">
                <a:solidFill>
                  <a:prstClr val="black"/>
                </a:solidFill>
                <a:latin typeface="+mj-lt"/>
              </a:rPr>
              <a:t>ЦИТАТЫ РУКОВОДИТЕЛЕЙ ПРЕДПРИЯТИЙ-КАНДИДАТОВ ПРОЕКТА: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940152" y="822198"/>
            <a:ext cx="28085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/>
            </a:lvl1pPr>
          </a:lstStyle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dirty="0">
                <a:solidFill>
                  <a:prstClr val="black"/>
                </a:solidFill>
                <a:latin typeface="+mj-lt"/>
              </a:rPr>
              <a:t>ВЫВОДЫ: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6209490" y="1398262"/>
            <a:ext cx="2934510" cy="231920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lIns="68415" tIns="34208" rIns="68415" bIns="34208" rtlCol="0" anchor="t" anchorCtr="0"/>
          <a:lstStyle/>
          <a:p>
            <a:pPr defTabSz="95781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kern="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Бизнес не понимает внутренние резервы</a:t>
            </a:r>
          </a:p>
          <a:p>
            <a:pPr defTabSz="95781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00" b="1" kern="0" dirty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  <a:p>
            <a:pPr defTabSz="95781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00" b="1" kern="0" dirty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  <a:p>
            <a:pPr defTabSz="95781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kern="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Бизнес не ставит амбициозных целей, т.к. боится, что за невыполнение придется отвечать</a:t>
            </a:r>
          </a:p>
          <a:p>
            <a:pPr defTabSz="95781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00" kern="0" dirty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  <a:p>
            <a:pPr defTabSz="95781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kern="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Бизнес не хочет (боится) вмешательства государства в свои дела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872482" y="1434133"/>
            <a:ext cx="4042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2400" b="1" dirty="0">
                <a:solidFill>
                  <a:srgbClr val="1E86C8"/>
                </a:solidFill>
                <a:latin typeface="+mj-lt"/>
              </a:rPr>
              <a:t>1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872482" y="2767147"/>
            <a:ext cx="4042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2400" b="1" dirty="0">
                <a:solidFill>
                  <a:srgbClr val="1E86C8"/>
                </a:solidFill>
                <a:latin typeface="+mj-lt"/>
              </a:rPr>
              <a:t>2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855894" y="3978849"/>
            <a:ext cx="4042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2400" b="1" dirty="0">
                <a:solidFill>
                  <a:srgbClr val="1E86C8"/>
                </a:solidFill>
                <a:latin typeface="+mj-lt"/>
              </a:rPr>
              <a:t>3</a:t>
            </a:r>
          </a:p>
        </p:txBody>
      </p:sp>
      <p:sp>
        <p:nvSpPr>
          <p:cNvPr id="21" name="Равнобедренный треугольник 20"/>
          <p:cNvSpPr/>
          <p:nvPr/>
        </p:nvSpPr>
        <p:spPr>
          <a:xfrm rot="5400000">
            <a:off x="4080781" y="2683495"/>
            <a:ext cx="3247055" cy="346888"/>
          </a:xfrm>
          <a:prstGeom prst="triangle">
            <a:avLst/>
          </a:prstGeom>
          <a:solidFill>
            <a:srgbClr val="1E86C8"/>
          </a:solidFill>
          <a:ln w="9525" cap="flat" cmpd="sng" algn="ctr">
            <a:solidFill>
              <a:srgbClr val="1E86C8"/>
            </a:solidFill>
            <a:prstDash val="solid"/>
          </a:ln>
          <a:effectLst/>
        </p:spPr>
        <p:txBody>
          <a:bodyPr lIns="0" rIns="0" rtlCol="0"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600" b="1" i="1" kern="0">
              <a:solidFill>
                <a:prstClr val="white"/>
              </a:solidFill>
              <a:latin typeface="+mj-lt"/>
            </a:endParaRPr>
          </a:p>
        </p:txBody>
      </p:sp>
      <p:sp>
        <p:nvSpPr>
          <p:cNvPr id="22" name="Выноска-облако 21"/>
          <p:cNvSpPr/>
          <p:nvPr/>
        </p:nvSpPr>
        <p:spPr>
          <a:xfrm>
            <a:off x="499690" y="1467719"/>
            <a:ext cx="4408715" cy="1005234"/>
          </a:xfrm>
          <a:prstGeom prst="cloudCallout">
            <a:avLst/>
          </a:prstGeom>
          <a:solidFill>
            <a:srgbClr val="1E86C8"/>
          </a:solidFill>
          <a:ln w="9525" cap="flat" cmpd="sng" algn="ctr">
            <a:solidFill>
              <a:srgbClr val="1E86C8"/>
            </a:solidFill>
            <a:prstDash val="solid"/>
          </a:ln>
          <a:effectLst/>
        </p:spPr>
        <p:txBody>
          <a:bodyPr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«У меня в бизнес плане и так заложен 10% рост выручки, мне достаточно»</a:t>
            </a:r>
          </a:p>
        </p:txBody>
      </p:sp>
      <p:sp>
        <p:nvSpPr>
          <p:cNvPr id="23" name="Выноска-облако 22"/>
          <p:cNvSpPr/>
          <p:nvPr/>
        </p:nvSpPr>
        <p:spPr>
          <a:xfrm>
            <a:off x="229672" y="2603084"/>
            <a:ext cx="4678733" cy="1005234"/>
          </a:xfrm>
          <a:prstGeom prst="cloudCallout">
            <a:avLst/>
          </a:prstGeom>
          <a:solidFill>
            <a:srgbClr val="1E86C8"/>
          </a:solidFill>
          <a:ln w="9525" cap="flat" cmpd="sng" algn="ctr">
            <a:solidFill>
              <a:srgbClr val="1E86C8"/>
            </a:solidFill>
            <a:prstDash val="solid"/>
          </a:ln>
          <a:effectLst/>
        </p:spPr>
        <p:txBody>
          <a:bodyPr lIns="0" rIns="0" rtlCol="0"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 b="1" i="1" kern="0" dirty="0">
                <a:solidFill>
                  <a:prstClr val="white"/>
                </a:solidFill>
                <a:latin typeface="+mj-lt"/>
              </a:rPr>
              <a:t>«Повышением эффективности процессов мы занимаемся давно, лучше быть не может»</a:t>
            </a:r>
          </a:p>
        </p:txBody>
      </p:sp>
      <p:sp>
        <p:nvSpPr>
          <p:cNvPr id="24" name="Выноска-облако 23"/>
          <p:cNvSpPr/>
          <p:nvPr/>
        </p:nvSpPr>
        <p:spPr>
          <a:xfrm>
            <a:off x="859986" y="3814786"/>
            <a:ext cx="4408715" cy="1005234"/>
          </a:xfrm>
          <a:prstGeom prst="cloudCallout">
            <a:avLst/>
          </a:prstGeom>
          <a:solidFill>
            <a:srgbClr val="1E86C8"/>
          </a:solidFill>
          <a:ln w="9525" cap="flat" cmpd="sng" algn="ctr">
            <a:solidFill>
              <a:srgbClr val="1E86C8"/>
            </a:solidFill>
            <a:prstDash val="solid"/>
          </a:ln>
          <a:effectLst/>
        </p:spPr>
        <p:txBody>
          <a:bodyPr lIns="0" rIns="0" rtlCol="0"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 b="1" i="1" kern="0" dirty="0">
                <a:solidFill>
                  <a:prstClr val="white"/>
                </a:solidFill>
                <a:latin typeface="+mj-lt"/>
              </a:rPr>
              <a:t>«Бесплатный сыр только в мышеловке»</a:t>
            </a:r>
          </a:p>
        </p:txBody>
      </p:sp>
    </p:spTree>
    <p:extLst>
      <p:ext uri="{BB962C8B-B14F-4D97-AF65-F5344CB8AC3E}">
        <p14:creationId xmlns:p14="http://schemas.microsoft.com/office/powerpoint/2010/main" val="423147638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03515" y="12924"/>
            <a:ext cx="8678387" cy="8534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2000" b="1" dirty="0"/>
              <a:t>Нас повсюду окружают ПОТЕРИ!!!</a:t>
            </a:r>
          </a:p>
        </p:txBody>
      </p:sp>
      <p:sp>
        <p:nvSpPr>
          <p:cNvPr id="30" name="Пятиугольник 29"/>
          <p:cNvSpPr/>
          <p:nvPr>
            <p:custDataLst>
              <p:tags r:id="rId1"/>
            </p:custDataLst>
          </p:nvPr>
        </p:nvSpPr>
        <p:spPr bwMode="auto">
          <a:xfrm>
            <a:off x="1629627" y="1415488"/>
            <a:ext cx="5560369" cy="678656"/>
          </a:xfrm>
          <a:prstGeom prst="homePlate">
            <a:avLst>
              <a:gd name="adj" fmla="val 17544"/>
            </a:avLst>
          </a:prstGeom>
          <a:solidFill>
            <a:srgbClr val="1E86C8"/>
          </a:solidFill>
          <a:ln w="9525" cap="flat" cmpd="sng" algn="ctr">
            <a:solidFill>
              <a:srgbClr val="1E86C8"/>
            </a:solidFill>
            <a:prstDash val="solid"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31" name="Прямоугольник 30"/>
          <p:cNvSpPr/>
          <p:nvPr>
            <p:custDataLst>
              <p:tags r:id="rId2"/>
            </p:custDataLst>
          </p:nvPr>
        </p:nvSpPr>
        <p:spPr>
          <a:xfrm>
            <a:off x="2868985" y="1590710"/>
            <a:ext cx="4321011" cy="563155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</a:ln>
          <a:effectLst/>
        </p:spPr>
        <p:txBody>
          <a:bodyPr lIns="65306" tIns="32653" rIns="65306" bIns="32653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Прямоугольник 31"/>
          <p:cNvSpPr/>
          <p:nvPr>
            <p:custDataLst>
              <p:tags r:id="rId3"/>
            </p:custDataLst>
          </p:nvPr>
        </p:nvSpPr>
        <p:spPr>
          <a:xfrm>
            <a:off x="1032934" y="853246"/>
            <a:ext cx="7067458" cy="373720"/>
          </a:xfrm>
          <a:prstGeom prst="rect">
            <a:avLst/>
          </a:prstGeom>
          <a:noFill/>
          <a:ln>
            <a:noFill/>
          </a:ln>
        </p:spPr>
        <p:txBody>
          <a:bodyPr wrap="square" lIns="102845" tIns="32653" rIns="102845" bIns="32653" anchor="ctr" anchorCtr="0">
            <a:spAutoFit/>
          </a:bodyPr>
          <a:lstStyle/>
          <a:p>
            <a:pPr algn="ctr" defTabSz="914400" eaLnBrk="1" fontAlgn="auto" hangingPunct="1">
              <a:spcAft>
                <a:spcPts val="0"/>
              </a:spcAft>
            </a:pPr>
            <a:r>
              <a:rPr kumimoji="1" lang="ru-RU" altLang="ja-JP" sz="1600" b="1" dirty="0">
                <a:solidFill>
                  <a:srgbClr val="010000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rPr>
              <a:t>Любую работу можно </a:t>
            </a:r>
            <a:r>
              <a:rPr kumimoji="1" lang="ru-RU" altLang="ja-JP" sz="2000" b="1" dirty="0">
                <a:solidFill>
                  <a:srgbClr val="010000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rPr>
              <a:t>разделить</a:t>
            </a:r>
            <a:r>
              <a:rPr kumimoji="1" lang="ru-RU" altLang="ja-JP" sz="1600" b="1" dirty="0">
                <a:solidFill>
                  <a:srgbClr val="010000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rPr>
              <a:t> на три составляющие</a:t>
            </a:r>
          </a:p>
        </p:txBody>
      </p:sp>
      <p:sp>
        <p:nvSpPr>
          <p:cNvPr id="33" name="TextBox 32"/>
          <p:cNvSpPr txBox="1"/>
          <p:nvPr>
            <p:custDataLst>
              <p:tags r:id="rId4"/>
            </p:custDataLst>
          </p:nvPr>
        </p:nvSpPr>
        <p:spPr>
          <a:xfrm>
            <a:off x="12725" y="2053346"/>
            <a:ext cx="1602194" cy="466053"/>
          </a:xfrm>
          <a:prstGeom prst="rect">
            <a:avLst/>
          </a:prstGeom>
          <a:noFill/>
        </p:spPr>
        <p:txBody>
          <a:bodyPr wrap="square" lIns="65306" tIns="32653" rIns="65306" bIns="32653" rtlCol="0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300" b="1" dirty="0">
                <a:solidFill>
                  <a:srgbClr val="1E86C8"/>
                </a:solidFill>
                <a:latin typeface="+mj-lt"/>
              </a:rPr>
              <a:t>ИСПОЛНИТЕЛЬ</a:t>
            </a:r>
          </a:p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300" b="1" dirty="0">
                <a:solidFill>
                  <a:srgbClr val="1E86C8"/>
                </a:solidFill>
                <a:latin typeface="+mj-lt"/>
              </a:rPr>
              <a:t>(ПОСТАВЩИК)</a:t>
            </a:r>
          </a:p>
        </p:txBody>
      </p:sp>
      <p:sp>
        <p:nvSpPr>
          <p:cNvPr id="34" name="TextBox 33"/>
          <p:cNvSpPr txBox="1"/>
          <p:nvPr>
            <p:custDataLst>
              <p:tags r:id="rId5"/>
            </p:custDataLst>
          </p:nvPr>
        </p:nvSpPr>
        <p:spPr>
          <a:xfrm>
            <a:off x="7506335" y="2185103"/>
            <a:ext cx="1491594" cy="265999"/>
          </a:xfrm>
          <a:prstGeom prst="rect">
            <a:avLst/>
          </a:prstGeom>
          <a:noFill/>
        </p:spPr>
        <p:txBody>
          <a:bodyPr wrap="square" lIns="65306" tIns="32653" rIns="65306" bIns="32653" rtlCol="0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300" b="1" dirty="0">
                <a:solidFill>
                  <a:srgbClr val="0070C0"/>
                </a:solidFill>
                <a:latin typeface="+mj-lt"/>
              </a:rPr>
              <a:t>ЗАКАЗЧИК</a:t>
            </a:r>
          </a:p>
        </p:txBody>
      </p:sp>
      <p:sp>
        <p:nvSpPr>
          <p:cNvPr id="35" name="Нашивка 15"/>
          <p:cNvSpPr/>
          <p:nvPr>
            <p:custDataLst>
              <p:tags r:id="rId6"/>
            </p:custDataLst>
          </p:nvPr>
        </p:nvSpPr>
        <p:spPr bwMode="auto">
          <a:xfrm>
            <a:off x="5331759" y="1588977"/>
            <a:ext cx="1705179" cy="655694"/>
          </a:xfrm>
          <a:custGeom>
            <a:avLst/>
            <a:gdLst>
              <a:gd name="connsiteX0" fmla="*/ 0 w 792616"/>
              <a:gd name="connsiteY0" fmla="*/ 0 h 655694"/>
              <a:gd name="connsiteX1" fmla="*/ 661215 w 792616"/>
              <a:gd name="connsiteY1" fmla="*/ 0 h 655694"/>
              <a:gd name="connsiteX2" fmla="*/ 792616 w 792616"/>
              <a:gd name="connsiteY2" fmla="*/ 327847 h 655694"/>
              <a:gd name="connsiteX3" fmla="*/ 661215 w 792616"/>
              <a:gd name="connsiteY3" fmla="*/ 655694 h 655694"/>
              <a:gd name="connsiteX4" fmla="*/ 0 w 792616"/>
              <a:gd name="connsiteY4" fmla="*/ 655694 h 655694"/>
              <a:gd name="connsiteX5" fmla="*/ 131401 w 792616"/>
              <a:gd name="connsiteY5" fmla="*/ 327847 h 655694"/>
              <a:gd name="connsiteX6" fmla="*/ 0 w 792616"/>
              <a:gd name="connsiteY6" fmla="*/ 0 h 655694"/>
              <a:gd name="connsiteX0" fmla="*/ 0 w 792616"/>
              <a:gd name="connsiteY0" fmla="*/ 0 h 655694"/>
              <a:gd name="connsiteX1" fmla="*/ 661215 w 792616"/>
              <a:gd name="connsiteY1" fmla="*/ 0 h 655694"/>
              <a:gd name="connsiteX2" fmla="*/ 792616 w 792616"/>
              <a:gd name="connsiteY2" fmla="*/ 327847 h 655694"/>
              <a:gd name="connsiteX3" fmla="*/ 661215 w 792616"/>
              <a:gd name="connsiteY3" fmla="*/ 655694 h 655694"/>
              <a:gd name="connsiteX4" fmla="*/ 0 w 792616"/>
              <a:gd name="connsiteY4" fmla="*/ 655694 h 655694"/>
              <a:gd name="connsiteX5" fmla="*/ 118066 w 792616"/>
              <a:gd name="connsiteY5" fmla="*/ 325942 h 655694"/>
              <a:gd name="connsiteX6" fmla="*/ 0 w 792616"/>
              <a:gd name="connsiteY6" fmla="*/ 0 h 655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92616" h="655694">
                <a:moveTo>
                  <a:pt x="0" y="0"/>
                </a:moveTo>
                <a:lnTo>
                  <a:pt x="661215" y="0"/>
                </a:lnTo>
                <a:lnTo>
                  <a:pt x="792616" y="327847"/>
                </a:lnTo>
                <a:lnTo>
                  <a:pt x="661215" y="655694"/>
                </a:lnTo>
                <a:lnTo>
                  <a:pt x="0" y="655694"/>
                </a:lnTo>
                <a:lnTo>
                  <a:pt x="118066" y="325942"/>
                </a:lnTo>
                <a:lnTo>
                  <a:pt x="0" y="0"/>
                </a:lnTo>
                <a:close/>
              </a:path>
            </a:pathLst>
          </a:custGeom>
          <a:solidFill>
            <a:srgbClr val="FFFF00"/>
          </a:solidFill>
          <a:ln w="9525" cap="flat" cmpd="sng" algn="ctr">
            <a:noFill/>
            <a:prstDash val="solid"/>
          </a:ln>
          <a:effectLst/>
        </p:spPr>
        <p:txBody>
          <a:bodyPr wrap="square"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36" name="Нашивка 16"/>
          <p:cNvSpPr/>
          <p:nvPr>
            <p:custDataLst>
              <p:tags r:id="rId7"/>
            </p:custDataLst>
          </p:nvPr>
        </p:nvSpPr>
        <p:spPr bwMode="gray">
          <a:xfrm>
            <a:off x="6609967" y="1587073"/>
            <a:ext cx="760593" cy="657599"/>
          </a:xfrm>
          <a:custGeom>
            <a:avLst/>
            <a:gdLst>
              <a:gd name="connsiteX0" fmla="*/ 0 w 449263"/>
              <a:gd name="connsiteY0" fmla="*/ 0 h 655694"/>
              <a:gd name="connsiteX1" fmla="*/ 290511 w 449263"/>
              <a:gd name="connsiteY1" fmla="*/ 0 h 655694"/>
              <a:gd name="connsiteX2" fmla="*/ 449263 w 449263"/>
              <a:gd name="connsiteY2" fmla="*/ 327847 h 655694"/>
              <a:gd name="connsiteX3" fmla="*/ 290511 w 449263"/>
              <a:gd name="connsiteY3" fmla="*/ 655694 h 655694"/>
              <a:gd name="connsiteX4" fmla="*/ 0 w 449263"/>
              <a:gd name="connsiteY4" fmla="*/ 655694 h 655694"/>
              <a:gd name="connsiteX5" fmla="*/ 158752 w 449263"/>
              <a:gd name="connsiteY5" fmla="*/ 327847 h 655694"/>
              <a:gd name="connsiteX6" fmla="*/ 0 w 449263"/>
              <a:gd name="connsiteY6" fmla="*/ 0 h 655694"/>
              <a:gd name="connsiteX0" fmla="*/ 0 w 449263"/>
              <a:gd name="connsiteY0" fmla="*/ 0 h 655694"/>
              <a:gd name="connsiteX1" fmla="*/ 290511 w 449263"/>
              <a:gd name="connsiteY1" fmla="*/ 0 h 655694"/>
              <a:gd name="connsiteX2" fmla="*/ 449263 w 449263"/>
              <a:gd name="connsiteY2" fmla="*/ 327847 h 655694"/>
              <a:gd name="connsiteX3" fmla="*/ 290511 w 449263"/>
              <a:gd name="connsiteY3" fmla="*/ 655694 h 655694"/>
              <a:gd name="connsiteX4" fmla="*/ 0 w 449263"/>
              <a:gd name="connsiteY4" fmla="*/ 655694 h 655694"/>
              <a:gd name="connsiteX5" fmla="*/ 122557 w 449263"/>
              <a:gd name="connsiteY5" fmla="*/ 325942 h 655694"/>
              <a:gd name="connsiteX6" fmla="*/ 0 w 449263"/>
              <a:gd name="connsiteY6" fmla="*/ 0 h 655694"/>
              <a:gd name="connsiteX0" fmla="*/ 0 w 462598"/>
              <a:gd name="connsiteY0" fmla="*/ 0 h 661409"/>
              <a:gd name="connsiteX1" fmla="*/ 303846 w 462598"/>
              <a:gd name="connsiteY1" fmla="*/ 5715 h 661409"/>
              <a:gd name="connsiteX2" fmla="*/ 462598 w 462598"/>
              <a:gd name="connsiteY2" fmla="*/ 333562 h 661409"/>
              <a:gd name="connsiteX3" fmla="*/ 303846 w 462598"/>
              <a:gd name="connsiteY3" fmla="*/ 661409 h 661409"/>
              <a:gd name="connsiteX4" fmla="*/ 13335 w 462598"/>
              <a:gd name="connsiteY4" fmla="*/ 661409 h 661409"/>
              <a:gd name="connsiteX5" fmla="*/ 135892 w 462598"/>
              <a:gd name="connsiteY5" fmla="*/ 331657 h 661409"/>
              <a:gd name="connsiteX6" fmla="*/ 0 w 462598"/>
              <a:gd name="connsiteY6" fmla="*/ 0 h 661409"/>
              <a:gd name="connsiteX0" fmla="*/ 0 w 462598"/>
              <a:gd name="connsiteY0" fmla="*/ 0 h 655694"/>
              <a:gd name="connsiteX1" fmla="*/ 303846 w 462598"/>
              <a:gd name="connsiteY1" fmla="*/ 0 h 655694"/>
              <a:gd name="connsiteX2" fmla="*/ 462598 w 462598"/>
              <a:gd name="connsiteY2" fmla="*/ 327847 h 655694"/>
              <a:gd name="connsiteX3" fmla="*/ 303846 w 462598"/>
              <a:gd name="connsiteY3" fmla="*/ 655694 h 655694"/>
              <a:gd name="connsiteX4" fmla="*/ 13335 w 462598"/>
              <a:gd name="connsiteY4" fmla="*/ 655694 h 655694"/>
              <a:gd name="connsiteX5" fmla="*/ 135892 w 462598"/>
              <a:gd name="connsiteY5" fmla="*/ 325942 h 655694"/>
              <a:gd name="connsiteX6" fmla="*/ 0 w 462598"/>
              <a:gd name="connsiteY6" fmla="*/ 0 h 655694"/>
              <a:gd name="connsiteX0" fmla="*/ 1905 w 464503"/>
              <a:gd name="connsiteY0" fmla="*/ 0 h 661409"/>
              <a:gd name="connsiteX1" fmla="*/ 305751 w 464503"/>
              <a:gd name="connsiteY1" fmla="*/ 0 h 661409"/>
              <a:gd name="connsiteX2" fmla="*/ 464503 w 464503"/>
              <a:gd name="connsiteY2" fmla="*/ 327847 h 661409"/>
              <a:gd name="connsiteX3" fmla="*/ 305751 w 464503"/>
              <a:gd name="connsiteY3" fmla="*/ 655694 h 661409"/>
              <a:gd name="connsiteX4" fmla="*/ 0 w 464503"/>
              <a:gd name="connsiteY4" fmla="*/ 661409 h 661409"/>
              <a:gd name="connsiteX5" fmla="*/ 137797 w 464503"/>
              <a:gd name="connsiteY5" fmla="*/ 325942 h 661409"/>
              <a:gd name="connsiteX6" fmla="*/ 1905 w 464503"/>
              <a:gd name="connsiteY6" fmla="*/ 0 h 661409"/>
              <a:gd name="connsiteX0" fmla="*/ 3810 w 466408"/>
              <a:gd name="connsiteY0" fmla="*/ 0 h 655694"/>
              <a:gd name="connsiteX1" fmla="*/ 307656 w 466408"/>
              <a:gd name="connsiteY1" fmla="*/ 0 h 655694"/>
              <a:gd name="connsiteX2" fmla="*/ 466408 w 466408"/>
              <a:gd name="connsiteY2" fmla="*/ 327847 h 655694"/>
              <a:gd name="connsiteX3" fmla="*/ 307656 w 466408"/>
              <a:gd name="connsiteY3" fmla="*/ 655694 h 655694"/>
              <a:gd name="connsiteX4" fmla="*/ 0 w 466408"/>
              <a:gd name="connsiteY4" fmla="*/ 653789 h 655694"/>
              <a:gd name="connsiteX5" fmla="*/ 139702 w 466408"/>
              <a:gd name="connsiteY5" fmla="*/ 325942 h 655694"/>
              <a:gd name="connsiteX6" fmla="*/ 3810 w 466408"/>
              <a:gd name="connsiteY6" fmla="*/ 0 h 655694"/>
              <a:gd name="connsiteX0" fmla="*/ 3810 w 466408"/>
              <a:gd name="connsiteY0" fmla="*/ 1905 h 657599"/>
              <a:gd name="connsiteX1" fmla="*/ 330516 w 466408"/>
              <a:gd name="connsiteY1" fmla="*/ 0 h 657599"/>
              <a:gd name="connsiteX2" fmla="*/ 466408 w 466408"/>
              <a:gd name="connsiteY2" fmla="*/ 329752 h 657599"/>
              <a:gd name="connsiteX3" fmla="*/ 307656 w 466408"/>
              <a:gd name="connsiteY3" fmla="*/ 657599 h 657599"/>
              <a:gd name="connsiteX4" fmla="*/ 0 w 466408"/>
              <a:gd name="connsiteY4" fmla="*/ 655694 h 657599"/>
              <a:gd name="connsiteX5" fmla="*/ 139702 w 466408"/>
              <a:gd name="connsiteY5" fmla="*/ 327847 h 657599"/>
              <a:gd name="connsiteX6" fmla="*/ 3810 w 466408"/>
              <a:gd name="connsiteY6" fmla="*/ 1905 h 657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6408" h="657599">
                <a:moveTo>
                  <a:pt x="3810" y="1905"/>
                </a:moveTo>
                <a:lnTo>
                  <a:pt x="330516" y="0"/>
                </a:lnTo>
                <a:lnTo>
                  <a:pt x="466408" y="329752"/>
                </a:lnTo>
                <a:lnTo>
                  <a:pt x="307656" y="657599"/>
                </a:lnTo>
                <a:lnTo>
                  <a:pt x="0" y="655694"/>
                </a:lnTo>
                <a:lnTo>
                  <a:pt x="139702" y="327847"/>
                </a:lnTo>
                <a:lnTo>
                  <a:pt x="3810" y="1905"/>
                </a:lnTo>
                <a:close/>
              </a:path>
            </a:pathLst>
          </a:custGeom>
          <a:solidFill>
            <a:srgbClr val="00B050"/>
          </a:solidFill>
          <a:ln w="9525" cap="flat" cmpd="sng" algn="ctr">
            <a:noFill/>
            <a:prstDash val="solid"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37" name="Пятиугольник 36"/>
          <p:cNvSpPr/>
          <p:nvPr>
            <p:custDataLst>
              <p:tags r:id="rId8"/>
            </p:custDataLst>
          </p:nvPr>
        </p:nvSpPr>
        <p:spPr bwMode="gray">
          <a:xfrm>
            <a:off x="1629628" y="1588977"/>
            <a:ext cx="4026562" cy="655694"/>
          </a:xfrm>
          <a:prstGeom prst="homePlate">
            <a:avLst>
              <a:gd name="adj" fmla="val 18330"/>
            </a:avLst>
          </a:prstGeom>
          <a:solidFill>
            <a:srgbClr val="CA3568"/>
          </a:solidFill>
          <a:ln w="9525" cap="flat" cmpd="sng" algn="ctr">
            <a:noFill/>
            <a:prstDash val="solid"/>
          </a:ln>
          <a:effectLst/>
        </p:spPr>
        <p:txBody>
          <a:bodyPr wrap="square"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38" name="TextBox 37"/>
          <p:cNvSpPr txBox="1"/>
          <p:nvPr>
            <p:custDataLst>
              <p:tags r:id="rId9"/>
            </p:custDataLst>
          </p:nvPr>
        </p:nvSpPr>
        <p:spPr>
          <a:xfrm>
            <a:off x="2351293" y="1373441"/>
            <a:ext cx="4129446" cy="250610"/>
          </a:xfrm>
          <a:prstGeom prst="rect">
            <a:avLst/>
          </a:prstGeom>
          <a:noFill/>
        </p:spPr>
        <p:txBody>
          <a:bodyPr wrap="square" lIns="65306" tIns="32653" rIns="65306" bIns="32653" rtlCol="0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1" dirty="0">
                <a:solidFill>
                  <a:prstClr val="white"/>
                </a:solidFill>
                <a:latin typeface="+mj-lt"/>
              </a:rPr>
              <a:t>ПРОЦЕСС ПРОИЗВОДСТВА ПРОДУКТА</a:t>
            </a:r>
          </a:p>
        </p:txBody>
      </p:sp>
      <p:sp>
        <p:nvSpPr>
          <p:cNvPr id="39" name="TextBox 38"/>
          <p:cNvSpPr txBox="1"/>
          <p:nvPr>
            <p:custDataLst>
              <p:tags r:id="rId10"/>
            </p:custDataLst>
          </p:nvPr>
        </p:nvSpPr>
        <p:spPr>
          <a:xfrm>
            <a:off x="3893282" y="1731021"/>
            <a:ext cx="637355" cy="312165"/>
          </a:xfrm>
          <a:prstGeom prst="rect">
            <a:avLst/>
          </a:prstGeom>
          <a:noFill/>
        </p:spPr>
        <p:txBody>
          <a:bodyPr wrap="square" lIns="65306" tIns="32653" rIns="65306" bIns="32653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b="1" dirty="0">
                <a:solidFill>
                  <a:prstClr val="white"/>
                </a:solidFill>
                <a:latin typeface="+mj-lt"/>
              </a:rPr>
              <a:t>1</a:t>
            </a:r>
          </a:p>
        </p:txBody>
      </p:sp>
      <p:sp>
        <p:nvSpPr>
          <p:cNvPr id="40" name="TextBox 39"/>
          <p:cNvSpPr txBox="1"/>
          <p:nvPr>
            <p:custDataLst>
              <p:tags r:id="rId11"/>
            </p:custDataLst>
          </p:nvPr>
        </p:nvSpPr>
        <p:spPr>
          <a:xfrm>
            <a:off x="6061235" y="1746582"/>
            <a:ext cx="412957" cy="312165"/>
          </a:xfrm>
          <a:prstGeom prst="rect">
            <a:avLst/>
          </a:prstGeom>
          <a:noFill/>
        </p:spPr>
        <p:txBody>
          <a:bodyPr wrap="square" lIns="65306" tIns="32653" rIns="65306" bIns="32653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b="1" dirty="0">
                <a:solidFill>
                  <a:srgbClr val="000000"/>
                </a:solidFill>
                <a:latin typeface="+mj-lt"/>
              </a:rPr>
              <a:t>2</a:t>
            </a:r>
          </a:p>
        </p:txBody>
      </p:sp>
      <p:sp>
        <p:nvSpPr>
          <p:cNvPr id="41" name="TextBox 40"/>
          <p:cNvSpPr txBox="1"/>
          <p:nvPr>
            <p:custDataLst>
              <p:tags r:id="rId12"/>
            </p:custDataLst>
          </p:nvPr>
        </p:nvSpPr>
        <p:spPr>
          <a:xfrm>
            <a:off x="6932337" y="1734095"/>
            <a:ext cx="257781" cy="312165"/>
          </a:xfrm>
          <a:prstGeom prst="rect">
            <a:avLst/>
          </a:prstGeom>
          <a:noFill/>
        </p:spPr>
        <p:txBody>
          <a:bodyPr wrap="square" lIns="65306" tIns="32653" rIns="65306" bIns="32653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b="1" dirty="0">
                <a:solidFill>
                  <a:prstClr val="white"/>
                </a:solidFill>
                <a:latin typeface="+mj-lt"/>
              </a:rPr>
              <a:t>3</a:t>
            </a:r>
          </a:p>
        </p:txBody>
      </p:sp>
      <p:cxnSp>
        <p:nvCxnSpPr>
          <p:cNvPr id="42" name="Прямая соединительная линия 41"/>
          <p:cNvCxnSpPr>
            <a:cxnSpLocks/>
          </p:cNvCxnSpPr>
          <p:nvPr>
            <p:custDataLst>
              <p:tags r:id="rId13"/>
            </p:custDataLst>
          </p:nvPr>
        </p:nvCxnSpPr>
        <p:spPr>
          <a:xfrm>
            <a:off x="1739570" y="2251477"/>
            <a:ext cx="0" cy="1691354"/>
          </a:xfrm>
          <a:prstGeom prst="line">
            <a:avLst/>
          </a:prstGeom>
          <a:noFill/>
          <a:ln w="9525" cap="flat" cmpd="sng" algn="ctr">
            <a:solidFill>
              <a:srgbClr val="CA3568"/>
            </a:solidFill>
            <a:prstDash val="dash"/>
            <a:headEnd type="oval" w="med" len="med"/>
            <a:tailEnd type="oval" w="med" len="med"/>
          </a:ln>
          <a:effectLst/>
        </p:spPr>
      </p:cxnSp>
      <p:sp>
        <p:nvSpPr>
          <p:cNvPr id="43" name="TextBox 42"/>
          <p:cNvSpPr txBox="1"/>
          <p:nvPr>
            <p:custDataLst>
              <p:tags r:id="rId14"/>
            </p:custDataLst>
          </p:nvPr>
        </p:nvSpPr>
        <p:spPr>
          <a:xfrm>
            <a:off x="1860830" y="2460068"/>
            <a:ext cx="1491594" cy="1173939"/>
          </a:xfrm>
          <a:prstGeom prst="rect">
            <a:avLst/>
          </a:prstGeom>
          <a:noFill/>
        </p:spPr>
        <p:txBody>
          <a:bodyPr wrap="square" lIns="65306" tIns="32653" rIns="65306" bIns="32653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1" dirty="0">
                <a:solidFill>
                  <a:srgbClr val="000000"/>
                </a:solidFill>
                <a:latin typeface="+mj-lt"/>
              </a:rPr>
              <a:t>ПОТЕРИ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dirty="0">
                <a:solidFill>
                  <a:srgbClr val="000000"/>
                </a:solidFill>
                <a:latin typeface="+mj-lt"/>
              </a:rPr>
              <a:t>Работа, которая не добавляет ценности продукту (услуге) </a:t>
            </a:r>
          </a:p>
        </p:txBody>
      </p:sp>
      <p:cxnSp>
        <p:nvCxnSpPr>
          <p:cNvPr id="44" name="Прямая соединительная линия 43"/>
          <p:cNvCxnSpPr/>
          <p:nvPr>
            <p:custDataLst>
              <p:tags r:id="rId15"/>
            </p:custDataLst>
          </p:nvPr>
        </p:nvCxnSpPr>
        <p:spPr>
          <a:xfrm flipV="1">
            <a:off x="5702527" y="2244671"/>
            <a:ext cx="0" cy="159766"/>
          </a:xfrm>
          <a:prstGeom prst="line">
            <a:avLst/>
          </a:prstGeom>
          <a:noFill/>
          <a:ln w="9525" cap="flat" cmpd="sng" algn="ctr">
            <a:solidFill>
              <a:srgbClr val="FFC000"/>
            </a:solidFill>
            <a:prstDash val="dash"/>
            <a:headEnd type="none" w="med" len="med"/>
            <a:tailEnd type="oval" w="med" len="med"/>
          </a:ln>
          <a:effectLst/>
        </p:spPr>
      </p:cxnSp>
      <p:cxnSp>
        <p:nvCxnSpPr>
          <p:cNvPr id="45" name="Прямая соединительная линия 44"/>
          <p:cNvCxnSpPr/>
          <p:nvPr>
            <p:custDataLst>
              <p:tags r:id="rId16"/>
            </p:custDataLst>
          </p:nvPr>
        </p:nvCxnSpPr>
        <p:spPr>
          <a:xfrm flipH="1">
            <a:off x="4149298" y="2404555"/>
            <a:ext cx="1553236" cy="0"/>
          </a:xfrm>
          <a:prstGeom prst="line">
            <a:avLst/>
          </a:prstGeom>
          <a:noFill/>
          <a:ln w="9525" cap="flat" cmpd="sng" algn="ctr">
            <a:solidFill>
              <a:srgbClr val="FFC000"/>
            </a:solidFill>
            <a:prstDash val="dash"/>
            <a:headEnd type="none" w="med" len="med"/>
            <a:tailEnd type="none" w="med" len="med"/>
          </a:ln>
          <a:effectLst/>
        </p:spPr>
      </p:cxnSp>
      <p:cxnSp>
        <p:nvCxnSpPr>
          <p:cNvPr id="46" name="Прямая соединительная линия 45"/>
          <p:cNvCxnSpPr/>
          <p:nvPr>
            <p:custDataLst>
              <p:tags r:id="rId17"/>
            </p:custDataLst>
          </p:nvPr>
        </p:nvCxnSpPr>
        <p:spPr>
          <a:xfrm>
            <a:off x="4149292" y="2399463"/>
            <a:ext cx="0" cy="1537977"/>
          </a:xfrm>
          <a:prstGeom prst="line">
            <a:avLst/>
          </a:prstGeom>
          <a:noFill/>
          <a:ln w="9525" cap="flat" cmpd="sng" algn="ctr">
            <a:solidFill>
              <a:srgbClr val="FFC000"/>
            </a:solidFill>
            <a:prstDash val="dash"/>
            <a:headEnd type="none" w="med" len="med"/>
            <a:tailEnd type="oval" w="med" len="med"/>
          </a:ln>
          <a:effectLst/>
        </p:spPr>
      </p:cxnSp>
      <p:sp>
        <p:nvSpPr>
          <p:cNvPr id="47" name="TextBox 46"/>
          <p:cNvSpPr txBox="1"/>
          <p:nvPr>
            <p:custDataLst>
              <p:tags r:id="rId18"/>
            </p:custDataLst>
          </p:nvPr>
        </p:nvSpPr>
        <p:spPr>
          <a:xfrm>
            <a:off x="4211960" y="2461229"/>
            <a:ext cx="2072268" cy="1543271"/>
          </a:xfrm>
          <a:prstGeom prst="rect">
            <a:avLst/>
          </a:prstGeom>
          <a:noFill/>
        </p:spPr>
        <p:txBody>
          <a:bodyPr wrap="square" lIns="65306" tIns="32653" rIns="65306" bIns="32653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1" dirty="0">
                <a:solidFill>
                  <a:srgbClr val="000000"/>
                </a:solidFill>
                <a:latin typeface="+mj-lt"/>
              </a:rPr>
              <a:t>НЕЗНАЧИМАЯ РАБОТА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dirty="0">
                <a:solidFill>
                  <a:srgbClr val="000000"/>
                </a:solidFill>
                <a:latin typeface="+mj-lt"/>
              </a:rPr>
              <a:t>Работа, которая не  добавляет ценности продукту (услуге), но при текущем состоянии производства без нее обойтись невозможно</a:t>
            </a:r>
          </a:p>
        </p:txBody>
      </p:sp>
      <p:cxnSp>
        <p:nvCxnSpPr>
          <p:cNvPr id="48" name="Прямая соединительная линия 47"/>
          <p:cNvCxnSpPr>
            <a:cxnSpLocks/>
          </p:cNvCxnSpPr>
          <p:nvPr>
            <p:custDataLst>
              <p:tags r:id="rId19"/>
            </p:custDataLst>
          </p:nvPr>
        </p:nvCxnSpPr>
        <p:spPr>
          <a:xfrm flipH="1">
            <a:off x="6351134" y="2251477"/>
            <a:ext cx="412737" cy="1691354"/>
          </a:xfrm>
          <a:prstGeom prst="line">
            <a:avLst/>
          </a:prstGeom>
          <a:noFill/>
          <a:ln w="9525" cap="flat" cmpd="sng" algn="ctr">
            <a:solidFill>
              <a:srgbClr val="00B050"/>
            </a:solidFill>
            <a:prstDash val="dash"/>
            <a:headEnd type="oval" w="med" len="med"/>
            <a:tailEnd type="oval" w="med" len="med"/>
          </a:ln>
          <a:effectLst/>
        </p:spPr>
      </p:cxnSp>
      <p:sp>
        <p:nvSpPr>
          <p:cNvPr id="49" name="TextBox 48"/>
          <p:cNvSpPr txBox="1"/>
          <p:nvPr>
            <p:custDataLst>
              <p:tags r:id="rId20"/>
            </p:custDataLst>
          </p:nvPr>
        </p:nvSpPr>
        <p:spPr>
          <a:xfrm>
            <a:off x="6809002" y="2451102"/>
            <a:ext cx="2261503" cy="1543271"/>
          </a:xfrm>
          <a:prstGeom prst="rect">
            <a:avLst/>
          </a:prstGeom>
          <a:noFill/>
        </p:spPr>
        <p:txBody>
          <a:bodyPr wrap="square" lIns="65306" tIns="32653" rIns="65306" bIns="32653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1" dirty="0">
                <a:solidFill>
                  <a:srgbClr val="000000"/>
                </a:solidFill>
                <a:latin typeface="+mj-lt"/>
              </a:rPr>
              <a:t>ЗНАЧИМАЯ РАБОТА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dirty="0">
                <a:solidFill>
                  <a:srgbClr val="000000"/>
                </a:solidFill>
                <a:latin typeface="+mj-lt"/>
              </a:rPr>
              <a:t>Работа, которую необходимо выполнять для обеспечения требований Заказчика. Работа добавляющая ценность продукту (услуге)</a:t>
            </a:r>
          </a:p>
        </p:txBody>
      </p:sp>
      <p:sp>
        <p:nvSpPr>
          <p:cNvPr id="50" name="Овал 49"/>
          <p:cNvSpPr/>
          <p:nvPr>
            <p:custDataLst>
              <p:tags r:id="rId21"/>
            </p:custDataLst>
          </p:nvPr>
        </p:nvSpPr>
        <p:spPr>
          <a:xfrm>
            <a:off x="1304217" y="3937440"/>
            <a:ext cx="621403" cy="466053"/>
          </a:xfrm>
          <a:prstGeom prst="ellipse">
            <a:avLst/>
          </a:prstGeom>
          <a:solidFill>
            <a:srgbClr val="EEECE1"/>
          </a:solidFill>
          <a:ln w="9525" cap="flat" cmpd="sng" algn="ctr">
            <a:solidFill>
              <a:srgbClr val="CA3568"/>
            </a:solidFill>
            <a:prstDash val="solid"/>
          </a:ln>
          <a:effectLst/>
        </p:spPr>
        <p:txBody>
          <a:bodyPr lIns="0" tIns="32653" rIns="0" bIns="32653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85%</a:t>
            </a:r>
            <a:endParaRPr kumimoji="0" lang="ru-RU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1" name="Овал 50"/>
          <p:cNvSpPr/>
          <p:nvPr>
            <p:custDataLst>
              <p:tags r:id="rId22"/>
            </p:custDataLst>
          </p:nvPr>
        </p:nvSpPr>
        <p:spPr>
          <a:xfrm>
            <a:off x="3674441" y="3913221"/>
            <a:ext cx="593682" cy="445262"/>
          </a:xfrm>
          <a:prstGeom prst="ellipse">
            <a:avLst/>
          </a:prstGeom>
          <a:solidFill>
            <a:srgbClr val="EEECE1"/>
          </a:solidFill>
          <a:ln w="9525" cap="flat" cmpd="sng" algn="ctr">
            <a:solidFill>
              <a:srgbClr val="FFC000"/>
            </a:solidFill>
            <a:prstDash val="solid"/>
          </a:ln>
          <a:effectLst/>
        </p:spPr>
        <p:txBody>
          <a:bodyPr lIns="0" tIns="32653" rIns="0" bIns="32653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0%</a:t>
            </a:r>
            <a:endParaRPr kumimoji="0" lang="ru-RU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2" name="Овал 51"/>
          <p:cNvSpPr/>
          <p:nvPr>
            <p:custDataLst>
              <p:tags r:id="rId23"/>
            </p:custDataLst>
          </p:nvPr>
        </p:nvSpPr>
        <p:spPr>
          <a:xfrm>
            <a:off x="6227363" y="3940954"/>
            <a:ext cx="466408" cy="371155"/>
          </a:xfrm>
          <a:prstGeom prst="ellipse">
            <a:avLst/>
          </a:prstGeom>
          <a:solidFill>
            <a:srgbClr val="EEECE1"/>
          </a:solidFill>
          <a:ln w="9525" cap="flat" cmpd="sng" algn="ctr">
            <a:solidFill>
              <a:srgbClr val="2EB01C"/>
            </a:solidFill>
            <a:prstDash val="solid"/>
          </a:ln>
          <a:effectLst/>
        </p:spPr>
        <p:txBody>
          <a:bodyPr lIns="0" tIns="32653" rIns="0" bIns="32653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5%</a:t>
            </a:r>
            <a:endParaRPr kumimoji="0" lang="ru-RU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3" name="Прямоугольник 52"/>
          <p:cNvSpPr/>
          <p:nvPr>
            <p:custDataLst>
              <p:tags r:id="rId24"/>
            </p:custDataLst>
          </p:nvPr>
        </p:nvSpPr>
        <p:spPr>
          <a:xfrm>
            <a:off x="1032934" y="4453646"/>
            <a:ext cx="7067458" cy="373720"/>
          </a:xfrm>
          <a:prstGeom prst="rect">
            <a:avLst/>
          </a:prstGeom>
          <a:noFill/>
          <a:ln>
            <a:noFill/>
          </a:ln>
        </p:spPr>
        <p:txBody>
          <a:bodyPr wrap="square" lIns="102845" tIns="32653" rIns="102845" bIns="32653" anchor="ctr" anchorCtr="0">
            <a:spAutoFit/>
          </a:bodyPr>
          <a:lstStyle/>
          <a:p>
            <a:pPr algn="ctr" defTabSz="914400" eaLnBrk="1" fontAlgn="auto" hangingPunct="1">
              <a:spcAft>
                <a:spcPts val="0"/>
              </a:spcAft>
            </a:pPr>
            <a:r>
              <a:rPr kumimoji="1" lang="ru-RU" altLang="ja-JP" sz="2000" b="1" dirty="0">
                <a:solidFill>
                  <a:srgbClr val="010000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rPr>
              <a:t>Заказчик не готов платить за ПОТЕРИ</a:t>
            </a:r>
          </a:p>
        </p:txBody>
      </p:sp>
      <p:pic>
        <p:nvPicPr>
          <p:cNvPr id="54" name="Picture 8" descr="D:\ак\памятки разные\иконки\ч1-09.png"/>
          <p:cNvPicPr>
            <a:picLocks noChangeAspect="1" noChangeArrowheads="1"/>
          </p:cNvPicPr>
          <p:nvPr/>
        </p:nvPicPr>
        <p:blipFill>
          <a:blip r:embed="rId26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690" y="1204789"/>
            <a:ext cx="1208826" cy="840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9" descr="D:\ак\памятки разные\иконки\ч1-08.png"/>
          <p:cNvPicPr>
            <a:picLocks noChangeAspect="1" noChangeArrowheads="1"/>
          </p:cNvPicPr>
          <p:nvPr/>
        </p:nvPicPr>
        <p:blipFill>
          <a:blip r:embed="rId27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9013" y="1291135"/>
            <a:ext cx="1076692" cy="796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140174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03515" y="12924"/>
            <a:ext cx="8678387" cy="8534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2000" b="1" dirty="0"/>
              <a:t>Суть производственных систем, выстроенных на принципах бережливого производства </a:t>
            </a:r>
          </a:p>
        </p:txBody>
      </p:sp>
      <p:sp>
        <p:nvSpPr>
          <p:cNvPr id="30" name="Скругленная прямоугольная выноска 29"/>
          <p:cNvSpPr/>
          <p:nvPr/>
        </p:nvSpPr>
        <p:spPr>
          <a:xfrm>
            <a:off x="6213278" y="1384622"/>
            <a:ext cx="2786210" cy="2478364"/>
          </a:xfrm>
          <a:prstGeom prst="wedgeRoundRectCallout">
            <a:avLst>
              <a:gd name="adj1" fmla="val 7999"/>
              <a:gd name="adj2" fmla="val 63281"/>
              <a:gd name="adj3" fmla="val 16667"/>
            </a:avLst>
          </a:prstGeom>
          <a:solidFill>
            <a:sysClr val="window" lastClr="FFFFFF"/>
          </a:solidFill>
          <a:ln w="25400" cap="flat" cmpd="sng" algn="ctr">
            <a:solidFill>
              <a:srgbClr val="1E86C8"/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</a:rPr>
              <a:t>НЕИСПОЛЬЗОВАННЫЙ ПОТЕНЦИАЛ ЧЕЛОВЕКА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873869" y="4079581"/>
            <a:ext cx="2093067" cy="708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075" tIns="46038" rIns="92075" bIns="46038">
            <a:spAutoFit/>
          </a:bodyPr>
          <a:lstStyle/>
          <a:p>
            <a:pPr defTabSz="762000" eaLnBrk="1" fontAlgn="auto" hangingPunct="1">
              <a:spcAft>
                <a:spcPts val="0"/>
              </a:spcAft>
            </a:pPr>
            <a:r>
              <a:rPr kumimoji="1" lang="ru-RU" altLang="ja-JP" sz="2000" b="1" kern="0" dirty="0">
                <a:solidFill>
                  <a:prstClr val="black"/>
                </a:solidFill>
                <a:latin typeface="+mj-lt"/>
                <a:ea typeface="ＭＳ Ｐゴシック" panose="020B0600070205080204" pitchFamily="34" charset="-128"/>
                <a:cs typeface="Arial" panose="020B0604020202020204" pitchFamily="34" charset="0"/>
              </a:rPr>
              <a:t>2. РАБОТАТЬ </a:t>
            </a:r>
            <a:br>
              <a:rPr kumimoji="1" lang="ru-RU" altLang="ja-JP" sz="2000" b="1" kern="0" dirty="0">
                <a:solidFill>
                  <a:prstClr val="black"/>
                </a:solidFill>
                <a:latin typeface="+mj-lt"/>
                <a:ea typeface="ＭＳ Ｐゴシック" panose="020B0600070205080204" pitchFamily="34" charset="-128"/>
                <a:cs typeface="Arial" panose="020B0604020202020204" pitchFamily="34" charset="0"/>
              </a:rPr>
            </a:br>
            <a:r>
              <a:rPr kumimoji="1" lang="ru-RU" altLang="ja-JP" sz="2000" b="1" kern="0" dirty="0">
                <a:solidFill>
                  <a:prstClr val="black"/>
                </a:solidFill>
                <a:latin typeface="+mj-lt"/>
                <a:ea typeface="ＭＳ Ｐゴシック" panose="020B0600070205080204" pitchFamily="34" charset="-128"/>
                <a:cs typeface="Arial" panose="020B0604020202020204" pitchFamily="34" charset="0"/>
              </a:rPr>
              <a:t>НАД:</a:t>
            </a:r>
            <a:endParaRPr kumimoji="1" lang="ru-RU" sz="2000" b="1" kern="0" dirty="0">
              <a:solidFill>
                <a:prstClr val="black"/>
              </a:solidFill>
              <a:latin typeface="+mj-lt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32" name="Rectangle 70"/>
          <p:cNvSpPr>
            <a:spLocks noChangeArrowheads="1"/>
          </p:cNvSpPr>
          <p:nvPr/>
        </p:nvSpPr>
        <p:spPr bwMode="auto">
          <a:xfrm>
            <a:off x="873869" y="880566"/>
            <a:ext cx="6757467" cy="4007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075" tIns="46038" rIns="92075" bIns="46038">
            <a:spAutoFit/>
          </a:bodyPr>
          <a:lstStyle>
            <a:lvl1pPr defTabSz="762000" eaLnBrk="0" hangingPunct="0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defTabSz="762000" eaLnBrk="0" hangingPunct="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defTabSz="762000" eaLnBrk="0" hangingPunct="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defTabSz="762000" eaLnBrk="0" hangingPunct="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defTabSz="762000" eaLnBrk="0" hangingPunct="0">
              <a:spcBef>
                <a:spcPct val="20000"/>
              </a:spcBef>
              <a:buChar char="•"/>
              <a:defRPr kumimoji="1" sz="20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0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0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0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0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eaLnBrk="1" fontAlgn="auto" hangingPunct="1">
              <a:spcBef>
                <a:spcPct val="0"/>
              </a:spcBef>
              <a:spcAft>
                <a:spcPts val="0"/>
              </a:spcAft>
              <a:buFontTx/>
              <a:buNone/>
              <a:defRPr/>
            </a:pPr>
            <a:r>
              <a:rPr lang="ru-RU" altLang="ja-JP" sz="2000" b="1" kern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1. УВИДЕТЬ </a:t>
            </a:r>
            <a:r>
              <a:rPr lang="en-US" altLang="ja-JP" sz="2000" b="1" kern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ru-RU" altLang="ja-JP" sz="2000" b="1" kern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ПОТЕРИ И РЕЗЕРВЫ В ПОТОКЕ</a:t>
            </a:r>
            <a:endParaRPr lang="en-US" altLang="ja-JP" sz="2000" b="1" kern="0" dirty="0">
              <a:solidFill>
                <a:prstClr val="black"/>
              </a:solidFill>
              <a:latin typeface="+mj-lt"/>
              <a:cs typeface="Arial" panose="020B0604020202020204" pitchFamily="34" charset="0"/>
            </a:endParaRPr>
          </a:p>
        </p:txBody>
      </p:sp>
      <p:pic>
        <p:nvPicPr>
          <p:cNvPr id="33" name="Рисунок 3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4138" y="2320726"/>
            <a:ext cx="2227609" cy="1113108"/>
          </a:xfrm>
          <a:prstGeom prst="rect">
            <a:avLst/>
          </a:prstGeom>
        </p:spPr>
      </p:pic>
      <p:sp>
        <p:nvSpPr>
          <p:cNvPr id="34" name="Прямоугольник 33"/>
          <p:cNvSpPr/>
          <p:nvPr/>
        </p:nvSpPr>
        <p:spPr>
          <a:xfrm>
            <a:off x="6969765" y="4093201"/>
            <a:ext cx="2029723" cy="70788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defTabSz="914400" eaLnBrk="1" fontAlgn="auto" hangingPunct="1">
              <a:spcAft>
                <a:spcPts val="0"/>
              </a:spcAft>
            </a:pPr>
            <a:r>
              <a:rPr lang="ru-RU" sz="1600" b="1" dirty="0">
                <a:solidFill>
                  <a:srgbClr val="1E86C8"/>
                </a:solidFill>
                <a:latin typeface="+mj-lt"/>
              </a:rPr>
              <a:t>Мобилизацией </a:t>
            </a:r>
            <a:br>
              <a:rPr lang="ru-RU" sz="1600" b="1" dirty="0">
                <a:solidFill>
                  <a:srgbClr val="1E86C8"/>
                </a:solidFill>
                <a:latin typeface="+mj-lt"/>
              </a:rPr>
            </a:br>
            <a:r>
              <a:rPr lang="ru-RU" sz="1600" b="1" dirty="0">
                <a:solidFill>
                  <a:srgbClr val="1E86C8"/>
                </a:solidFill>
                <a:latin typeface="+mj-lt"/>
              </a:rPr>
              <a:t>потенциала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5120762" y="4084057"/>
            <a:ext cx="1574470" cy="70788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defTabSz="914400" eaLnBrk="1" fontAlgn="auto" hangingPunct="1">
              <a:spcAft>
                <a:spcPts val="0"/>
              </a:spcAft>
            </a:pPr>
            <a:r>
              <a:rPr lang="ru-RU" sz="1600" b="1" dirty="0">
                <a:solidFill>
                  <a:srgbClr val="1E86C8"/>
                </a:solidFill>
                <a:latin typeface="+mj-lt"/>
              </a:rPr>
              <a:t>Вскрытием </a:t>
            </a:r>
            <a:br>
              <a:rPr lang="ru-RU" sz="1600" b="1" dirty="0">
                <a:solidFill>
                  <a:srgbClr val="1E86C8"/>
                </a:solidFill>
                <a:latin typeface="+mj-lt"/>
              </a:rPr>
            </a:br>
            <a:r>
              <a:rPr lang="ru-RU" sz="1600" b="1" dirty="0">
                <a:solidFill>
                  <a:srgbClr val="1E86C8"/>
                </a:solidFill>
                <a:latin typeface="+mj-lt"/>
              </a:rPr>
              <a:t>резервов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3094832" y="4095870"/>
            <a:ext cx="1837362" cy="70788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defTabSz="914400" eaLnBrk="1" fontAlgn="auto" hangingPunct="1">
              <a:spcAft>
                <a:spcPts val="0"/>
              </a:spcAft>
            </a:pPr>
            <a:r>
              <a:rPr lang="ru-RU" sz="1600" b="1" dirty="0">
                <a:solidFill>
                  <a:srgbClr val="1E86C8"/>
                </a:solidFill>
                <a:latin typeface="+mj-lt"/>
              </a:rPr>
              <a:t>Устранением </a:t>
            </a:r>
            <a:br>
              <a:rPr lang="ru-RU" sz="1600" b="1" dirty="0">
                <a:solidFill>
                  <a:srgbClr val="1E86C8"/>
                </a:solidFill>
                <a:latin typeface="+mj-lt"/>
              </a:rPr>
            </a:br>
            <a:r>
              <a:rPr lang="ru-RU" sz="1600" b="1" dirty="0">
                <a:solidFill>
                  <a:srgbClr val="1E86C8"/>
                </a:solidFill>
                <a:latin typeface="+mj-lt"/>
              </a:rPr>
              <a:t>потерь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4789042" y="4241652"/>
            <a:ext cx="36420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kern="0" dirty="0">
                <a:solidFill>
                  <a:srgbClr val="1E86C8"/>
                </a:solidFill>
                <a:latin typeface="Calibri"/>
              </a:rPr>
              <a:t>+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6619062" y="4192934"/>
            <a:ext cx="36420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kern="0" dirty="0">
                <a:solidFill>
                  <a:srgbClr val="1E86C8"/>
                </a:solidFill>
                <a:latin typeface="Calibri"/>
              </a:rPr>
              <a:t>+</a:t>
            </a:r>
          </a:p>
        </p:txBody>
      </p:sp>
      <p:pic>
        <p:nvPicPr>
          <p:cNvPr id="39" name="Picture 3" descr="D:\ак\памятки разные\иконки\33-02.png"/>
          <p:cNvPicPr>
            <a:picLocks noChangeAspect="1" noChangeArrowheads="1"/>
          </p:cNvPicPr>
          <p:nvPr/>
        </p:nvPicPr>
        <p:blipFill rotWithShape="1">
          <a:blip r:embed="rId3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32" t="10569" r="29114"/>
          <a:stretch/>
        </p:blipFill>
        <p:spPr bwMode="auto">
          <a:xfrm>
            <a:off x="71534" y="4079009"/>
            <a:ext cx="894332" cy="7416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" descr="Related imag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66314" y="813451"/>
            <a:ext cx="704773" cy="649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Скругленная прямоугольная выноска 40"/>
          <p:cNvSpPr/>
          <p:nvPr/>
        </p:nvSpPr>
        <p:spPr>
          <a:xfrm>
            <a:off x="416423" y="1384622"/>
            <a:ext cx="2822425" cy="2478364"/>
          </a:xfrm>
          <a:prstGeom prst="wedgeRoundRectCallout">
            <a:avLst>
              <a:gd name="adj1" fmla="val 55957"/>
              <a:gd name="adj2" fmla="val 62504"/>
              <a:gd name="adj3" fmla="val 16667"/>
            </a:avLst>
          </a:prstGeom>
          <a:solidFill>
            <a:sysClr val="window" lastClr="FFFFFF"/>
          </a:solidFill>
          <a:ln w="25400" cap="flat" cmpd="sng" algn="ctr">
            <a:solidFill>
              <a:srgbClr val="1E86C8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</a:rPr>
              <a:t>7 ВИДОВ ПОТЕРЬ:</a:t>
            </a:r>
          </a:p>
          <a:p>
            <a:pPr marL="249238" marR="0" lvl="0" indent="-2492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Лишняя транспортировка</a:t>
            </a:r>
          </a:p>
          <a:p>
            <a:pPr marL="249238" marR="0" lvl="0" indent="-2492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Лишняя обработка</a:t>
            </a:r>
          </a:p>
          <a:p>
            <a:pPr marL="249238" marR="0" lvl="0" indent="-2492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Складирование (запасы)</a:t>
            </a:r>
          </a:p>
          <a:p>
            <a:pPr marL="249238" marR="0" lvl="0" indent="-2492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Ожидание (отделить человека от станка)</a:t>
            </a:r>
          </a:p>
          <a:p>
            <a:pPr marL="249238" marR="0" lvl="0" indent="-2492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Лишние движения (эргономика)</a:t>
            </a:r>
          </a:p>
          <a:p>
            <a:pPr marL="249238" marR="0" lvl="0" indent="-2492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Брак (передается на следующие стадии)</a:t>
            </a:r>
          </a:p>
          <a:p>
            <a:pPr marL="249238" marR="0" lvl="0" indent="-2492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Перепроизводство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  <p:sp>
        <p:nvSpPr>
          <p:cNvPr id="42" name="Скругленная прямоугольная выноска 41"/>
          <p:cNvSpPr/>
          <p:nvPr/>
        </p:nvSpPr>
        <p:spPr>
          <a:xfrm>
            <a:off x="3377828" y="1384622"/>
            <a:ext cx="2669331" cy="2478364"/>
          </a:xfrm>
          <a:prstGeom prst="wedgeRoundRectCallout">
            <a:avLst>
              <a:gd name="adj1" fmla="val 31437"/>
              <a:gd name="adj2" fmla="val 60951"/>
              <a:gd name="adj3" fmla="val 16667"/>
            </a:avLst>
          </a:prstGeom>
          <a:solidFill>
            <a:sysClr val="window" lastClr="FFFFFF"/>
          </a:solidFill>
          <a:ln w="25400" cap="flat" cmpd="sng" algn="ctr">
            <a:solidFill>
              <a:srgbClr val="1E86C8"/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</a:rPr>
              <a:t>3 РЕЗЕРВА ПРОИЗВОДИТЕЛЬ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</a:rPr>
              <a:t>-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</a:rPr>
              <a:t>НОСТИ: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Труда 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Оборудования 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Материалов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140174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9466" y="381581"/>
            <a:ext cx="6251971" cy="164917"/>
          </a:xfrm>
        </p:spPr>
        <p:txBody>
          <a:bodyPr/>
          <a:lstStyle/>
          <a:p>
            <a:r>
              <a:rPr lang="ru-RU" dirty="0"/>
              <a:t>Процесс реализации программы на отдельном предприятии-участнике </a:t>
            </a:r>
          </a:p>
        </p:txBody>
      </p:sp>
      <p:sp>
        <p:nvSpPr>
          <p:cNvPr id="141" name="Прямоугольник 4"/>
          <p:cNvSpPr/>
          <p:nvPr>
            <p:custDataLst>
              <p:tags r:id="rId1"/>
            </p:custDataLst>
          </p:nvPr>
        </p:nvSpPr>
        <p:spPr>
          <a:xfrm>
            <a:off x="780495" y="4143563"/>
            <a:ext cx="8043653" cy="592521"/>
          </a:xfrm>
          <a:prstGeom prst="rect">
            <a:avLst/>
          </a:prstGeom>
          <a:solidFill>
            <a:srgbClr val="F79646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60948" tIns="30474" rIns="60948" bIns="30474" rtlCol="0" anchor="ctr"/>
          <a:lstStyle/>
          <a:p>
            <a:pPr algn="ctr"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2" name="Прямоугольник 5"/>
          <p:cNvSpPr/>
          <p:nvPr>
            <p:custDataLst>
              <p:tags r:id="rId2"/>
            </p:custDataLst>
          </p:nvPr>
        </p:nvSpPr>
        <p:spPr>
          <a:xfrm>
            <a:off x="932688" y="3487336"/>
            <a:ext cx="7891460" cy="688274"/>
          </a:xfrm>
          <a:prstGeom prst="rect">
            <a:avLst/>
          </a:prstGeom>
          <a:solidFill>
            <a:srgbClr val="9BBB59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60948" tIns="30474" rIns="60948" bIns="30474" rtlCol="0" anchor="ctr"/>
          <a:lstStyle/>
          <a:p>
            <a:pPr algn="ctr"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3" name="Прямоугольник 6"/>
          <p:cNvSpPr/>
          <p:nvPr>
            <p:custDataLst>
              <p:tags r:id="rId3"/>
            </p:custDataLst>
          </p:nvPr>
        </p:nvSpPr>
        <p:spPr>
          <a:xfrm>
            <a:off x="810768" y="1837289"/>
            <a:ext cx="8013383" cy="806898"/>
          </a:xfrm>
          <a:prstGeom prst="rect">
            <a:avLst/>
          </a:prstGeom>
          <a:solidFill>
            <a:srgbClr val="D8F2FB"/>
          </a:solidFill>
          <a:ln w="25400" cap="flat" cmpd="sng" algn="ctr">
            <a:noFill/>
            <a:prstDash val="solid"/>
          </a:ln>
          <a:effectLst/>
        </p:spPr>
        <p:txBody>
          <a:bodyPr lIns="60948" tIns="30474" rIns="60948" bIns="30474" rtlCol="0" anchor="ctr"/>
          <a:lstStyle/>
          <a:p>
            <a:pPr algn="ctr"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4" name="Прямоугольник 7"/>
          <p:cNvSpPr/>
          <p:nvPr>
            <p:custDataLst>
              <p:tags r:id="rId4"/>
            </p:custDataLst>
          </p:nvPr>
        </p:nvSpPr>
        <p:spPr>
          <a:xfrm>
            <a:off x="883920" y="2644186"/>
            <a:ext cx="7940231" cy="865001"/>
          </a:xfrm>
          <a:prstGeom prst="rect">
            <a:avLst/>
          </a:prstGeom>
          <a:solidFill>
            <a:srgbClr val="E6E0EC"/>
          </a:solidFill>
          <a:ln w="25400" cap="flat" cmpd="sng" algn="ctr">
            <a:noFill/>
            <a:prstDash val="solid"/>
          </a:ln>
          <a:effectLst/>
        </p:spPr>
        <p:txBody>
          <a:bodyPr lIns="60948" tIns="30474" rIns="60948" bIns="30474" rtlCol="0" anchor="ctr"/>
          <a:lstStyle/>
          <a:p>
            <a:pPr algn="ctr"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5" name="Прямоугольник 8"/>
          <p:cNvSpPr/>
          <p:nvPr>
            <p:custDataLst>
              <p:tags r:id="rId5"/>
            </p:custDataLst>
          </p:nvPr>
        </p:nvSpPr>
        <p:spPr>
          <a:xfrm>
            <a:off x="810768" y="1224279"/>
            <a:ext cx="8013383" cy="64906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0948" tIns="30474" rIns="60948" bIns="30474" rtlCol="0" anchor="ctr"/>
          <a:lstStyle/>
          <a:p>
            <a:pPr algn="ctr"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7" name="Пятиугольник 12"/>
          <p:cNvSpPr/>
          <p:nvPr>
            <p:custDataLst>
              <p:tags r:id="rId6"/>
            </p:custDataLst>
          </p:nvPr>
        </p:nvSpPr>
        <p:spPr>
          <a:xfrm>
            <a:off x="319849" y="1224279"/>
            <a:ext cx="815393" cy="649060"/>
          </a:xfrm>
          <a:prstGeom prst="homePlate">
            <a:avLst>
              <a:gd name="adj" fmla="val 5883"/>
            </a:avLst>
          </a:prstGeom>
          <a:solidFill>
            <a:sysClr val="window" lastClr="FFFFFF">
              <a:lumMod val="85000"/>
            </a:sys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КОМПОЗИЦИЯ</a:t>
            </a:r>
            <a:b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ЕЙ</a:t>
            </a:r>
          </a:p>
        </p:txBody>
      </p:sp>
      <p:sp>
        <p:nvSpPr>
          <p:cNvPr id="148" name="Пятиугольник 13"/>
          <p:cNvSpPr/>
          <p:nvPr>
            <p:custDataLst>
              <p:tags r:id="rId7"/>
            </p:custDataLst>
          </p:nvPr>
        </p:nvSpPr>
        <p:spPr>
          <a:xfrm>
            <a:off x="319849" y="1873341"/>
            <a:ext cx="815393" cy="770846"/>
          </a:xfrm>
          <a:prstGeom prst="homePlate">
            <a:avLst>
              <a:gd name="adj" fmla="val 5614"/>
            </a:avLst>
          </a:prstGeom>
          <a:solidFill>
            <a:srgbClr val="3BBEED">
              <a:lumMod val="40000"/>
              <a:lumOff val="60000"/>
            </a:srgb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ТИМИЗАЦИЯ ПОТОКОВ ПО ПРОИЗВОДСТВУ ПРОДУКЦИИ</a:t>
            </a:r>
          </a:p>
        </p:txBody>
      </p:sp>
      <p:sp>
        <p:nvSpPr>
          <p:cNvPr id="149" name="Пятиугольник 14"/>
          <p:cNvSpPr/>
          <p:nvPr>
            <p:custDataLst>
              <p:tags r:id="rId8"/>
            </p:custDataLst>
          </p:nvPr>
        </p:nvSpPr>
        <p:spPr>
          <a:xfrm>
            <a:off x="319849" y="3485817"/>
            <a:ext cx="815393" cy="689793"/>
          </a:xfrm>
          <a:prstGeom prst="homePlate">
            <a:avLst>
              <a:gd name="adj" fmla="val 7344"/>
            </a:avLst>
          </a:prstGeom>
          <a:solidFill>
            <a:srgbClr val="9BBB59">
              <a:lumMod val="60000"/>
              <a:lumOff val="40000"/>
            </a:srgb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УЧЕНИЕ</a:t>
            </a:r>
          </a:p>
        </p:txBody>
      </p:sp>
      <p:sp>
        <p:nvSpPr>
          <p:cNvPr id="150" name="Пятиугольник 15"/>
          <p:cNvSpPr/>
          <p:nvPr>
            <p:custDataLst>
              <p:tags r:id="rId9"/>
            </p:custDataLst>
          </p:nvPr>
        </p:nvSpPr>
        <p:spPr>
          <a:xfrm>
            <a:off x="319849" y="4162931"/>
            <a:ext cx="815393" cy="582804"/>
          </a:xfrm>
          <a:prstGeom prst="homePlate">
            <a:avLst>
              <a:gd name="adj" fmla="val 8204"/>
            </a:avLst>
          </a:prstGeom>
          <a:solidFill>
            <a:srgbClr val="F79646">
              <a:lumMod val="60000"/>
              <a:lumOff val="40000"/>
            </a:srgb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ИЗМЕНЕНИЯМИ</a:t>
            </a:r>
          </a:p>
        </p:txBody>
      </p:sp>
      <p:sp>
        <p:nvSpPr>
          <p:cNvPr id="151" name="Пятиугольник 16"/>
          <p:cNvSpPr/>
          <p:nvPr>
            <p:custDataLst>
              <p:tags r:id="rId10"/>
            </p:custDataLst>
          </p:nvPr>
        </p:nvSpPr>
        <p:spPr>
          <a:xfrm>
            <a:off x="319849" y="2644186"/>
            <a:ext cx="815393" cy="865001"/>
          </a:xfrm>
          <a:prstGeom prst="homePlate">
            <a:avLst>
              <a:gd name="adj" fmla="val 6286"/>
            </a:avLst>
          </a:prstGeom>
          <a:solidFill>
            <a:srgbClr val="8064A2">
              <a:lumMod val="40000"/>
              <a:lumOff val="60000"/>
            </a:srgb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</a:t>
            </a:r>
            <a:b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АМИ И МЕТОДОЛОГИЕЙ</a:t>
            </a:r>
          </a:p>
        </p:txBody>
      </p:sp>
      <p:sp>
        <p:nvSpPr>
          <p:cNvPr id="152" name="Скругленный прямоугольник 17"/>
          <p:cNvSpPr/>
          <p:nvPr>
            <p:custDataLst>
              <p:tags r:id="rId11"/>
            </p:custDataLst>
          </p:nvPr>
        </p:nvSpPr>
        <p:spPr>
          <a:xfrm>
            <a:off x="2765141" y="1285882"/>
            <a:ext cx="2071818" cy="229943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3" name="Скругленный прямоугольник 18"/>
          <p:cNvSpPr/>
          <p:nvPr>
            <p:custDataLst>
              <p:tags r:id="rId12"/>
            </p:custDataLst>
          </p:nvPr>
        </p:nvSpPr>
        <p:spPr>
          <a:xfrm>
            <a:off x="1479197" y="1915979"/>
            <a:ext cx="944694" cy="665248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40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4" name="Прямоугольник 19"/>
          <p:cNvSpPr/>
          <p:nvPr>
            <p:custDataLst>
              <p:tags r:id="rId13"/>
            </p:custDataLst>
          </p:nvPr>
        </p:nvSpPr>
        <p:spPr>
          <a:xfrm>
            <a:off x="1524528" y="2031338"/>
            <a:ext cx="856689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10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ыбор потоков для оптимизации </a:t>
            </a:r>
            <a:endParaRPr lang="ru-RU" sz="10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55" name="Прямоугольник 20"/>
          <p:cNvSpPr/>
          <p:nvPr>
            <p:custDataLst>
              <p:tags r:id="rId14"/>
            </p:custDataLst>
          </p:nvPr>
        </p:nvSpPr>
        <p:spPr>
          <a:xfrm>
            <a:off x="2825626" y="1334280"/>
            <a:ext cx="192949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азработка дерева целей, постановка КПЭ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56" name="Скругленный прямоугольник 21"/>
          <p:cNvSpPr/>
          <p:nvPr>
            <p:custDataLst>
              <p:tags r:id="rId15"/>
            </p:custDataLst>
          </p:nvPr>
        </p:nvSpPr>
        <p:spPr>
          <a:xfrm>
            <a:off x="1477151" y="3509467"/>
            <a:ext cx="948680" cy="352293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7" name="Прямоугольник 22"/>
          <p:cNvSpPr/>
          <p:nvPr>
            <p:custDataLst>
              <p:tags r:id="rId16"/>
            </p:custDataLst>
          </p:nvPr>
        </p:nvSpPr>
        <p:spPr>
          <a:xfrm>
            <a:off x="1486351" y="3514510"/>
            <a:ext cx="945474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учение/стажировка рабочей группы пилотного проекта по оптимизации потоков</a:t>
            </a:r>
          </a:p>
        </p:txBody>
      </p:sp>
      <p:sp>
        <p:nvSpPr>
          <p:cNvPr id="158" name="Скругленный прямоугольник 23"/>
          <p:cNvSpPr/>
          <p:nvPr>
            <p:custDataLst>
              <p:tags r:id="rId17"/>
            </p:custDataLst>
          </p:nvPr>
        </p:nvSpPr>
        <p:spPr>
          <a:xfrm>
            <a:off x="2746579" y="2366582"/>
            <a:ext cx="2090383" cy="229943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9" name="Прямоугольник 24"/>
          <p:cNvSpPr/>
          <p:nvPr>
            <p:custDataLst>
              <p:tags r:id="rId18"/>
            </p:custDataLst>
          </p:nvPr>
        </p:nvSpPr>
        <p:spPr>
          <a:xfrm>
            <a:off x="2815428" y="2397966"/>
            <a:ext cx="1900542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10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оздание участков-образцов</a:t>
            </a:r>
          </a:p>
        </p:txBody>
      </p:sp>
      <p:sp>
        <p:nvSpPr>
          <p:cNvPr id="160" name="Скругленный прямоугольник 25"/>
          <p:cNvSpPr/>
          <p:nvPr>
            <p:custDataLst>
              <p:tags r:id="rId19"/>
            </p:custDataLst>
          </p:nvPr>
        </p:nvSpPr>
        <p:spPr>
          <a:xfrm>
            <a:off x="5390485" y="1929702"/>
            <a:ext cx="1920505" cy="409809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1" name="Прямоугольник 26"/>
          <p:cNvSpPr/>
          <p:nvPr>
            <p:custDataLst>
              <p:tags r:id="rId20"/>
            </p:custDataLst>
          </p:nvPr>
        </p:nvSpPr>
        <p:spPr>
          <a:xfrm>
            <a:off x="5407710" y="1929958"/>
            <a:ext cx="1880421" cy="4154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9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еализация мероприятий по достижению целевого состояния потоков</a:t>
            </a:r>
            <a:endParaRPr lang="ru-RU" sz="9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2" name="Скругленный прямоугольник 27"/>
          <p:cNvSpPr/>
          <p:nvPr>
            <p:custDataLst>
              <p:tags r:id="rId21"/>
            </p:custDataLst>
          </p:nvPr>
        </p:nvSpPr>
        <p:spPr>
          <a:xfrm>
            <a:off x="5381496" y="1289913"/>
            <a:ext cx="1929495" cy="443391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3" name="Прямоугольник 28"/>
          <p:cNvSpPr/>
          <p:nvPr>
            <p:custDataLst>
              <p:tags r:id="rId22"/>
            </p:custDataLst>
          </p:nvPr>
        </p:nvSpPr>
        <p:spPr>
          <a:xfrm>
            <a:off x="5468667" y="1442591"/>
            <a:ext cx="1796379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9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недрение инфоцентра предприятия</a:t>
            </a:r>
            <a:endParaRPr lang="ru-RU" sz="9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4" name="Скругленный прямоугольник 29"/>
          <p:cNvSpPr/>
          <p:nvPr>
            <p:custDataLst>
              <p:tags r:id="rId23"/>
            </p:custDataLst>
          </p:nvPr>
        </p:nvSpPr>
        <p:spPr>
          <a:xfrm>
            <a:off x="2765141" y="1603244"/>
            <a:ext cx="2071818" cy="224747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/>
            <a:endParaRPr lang="ru-RU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5" name="Скругленный прямоугольник 32"/>
          <p:cNvSpPr/>
          <p:nvPr>
            <p:custDataLst>
              <p:tags r:id="rId24"/>
            </p:custDataLst>
          </p:nvPr>
        </p:nvSpPr>
        <p:spPr>
          <a:xfrm>
            <a:off x="7538720" y="3134383"/>
            <a:ext cx="1147817" cy="309983"/>
          </a:xfrm>
          <a:prstGeom prst="roundRect">
            <a:avLst/>
          </a:prstGeom>
          <a:solidFill>
            <a:srgbClr val="8064A2">
              <a:lumMod val="40000"/>
              <a:lumOff val="60000"/>
            </a:srgbClr>
          </a:solidFill>
          <a:ln w="9525" cap="flat" cmpd="sng" algn="ctr">
            <a:solidFill>
              <a:srgbClr val="8064A2"/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6" name="Прямоугольник 33"/>
          <p:cNvSpPr/>
          <p:nvPr>
            <p:custDataLst>
              <p:tags r:id="rId25"/>
            </p:custDataLst>
          </p:nvPr>
        </p:nvSpPr>
        <p:spPr>
          <a:xfrm>
            <a:off x="7566640" y="3196655"/>
            <a:ext cx="1119894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недрение системы по работе с предложениями по улучшениям</a:t>
            </a:r>
            <a:endParaRPr lang="ru-RU" sz="6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7" name="Скругленный прямоугольник 36"/>
          <p:cNvSpPr/>
          <p:nvPr>
            <p:custDataLst>
              <p:tags r:id="rId26"/>
            </p:custDataLst>
          </p:nvPr>
        </p:nvSpPr>
        <p:spPr>
          <a:xfrm>
            <a:off x="5389896" y="3751870"/>
            <a:ext cx="1921093" cy="355366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8" name="Прямоугольник 37"/>
          <p:cNvSpPr/>
          <p:nvPr>
            <p:custDataLst>
              <p:tags r:id="rId27"/>
            </p:custDataLst>
          </p:nvPr>
        </p:nvSpPr>
        <p:spPr>
          <a:xfrm>
            <a:off x="5463482" y="3791470"/>
            <a:ext cx="177184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9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учение участников (членов РГ) проектов</a:t>
            </a:r>
            <a:endParaRPr lang="ru-RU" sz="9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9" name="Скругленный прямоугольник 38"/>
          <p:cNvSpPr/>
          <p:nvPr>
            <p:custDataLst>
              <p:tags r:id="rId28"/>
            </p:custDataLst>
          </p:nvPr>
        </p:nvSpPr>
        <p:spPr>
          <a:xfrm>
            <a:off x="1475025" y="3996259"/>
            <a:ext cx="948865" cy="152522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0" name="Прямоугольник 39"/>
          <p:cNvSpPr/>
          <p:nvPr>
            <p:custDataLst>
              <p:tags r:id="rId29"/>
            </p:custDataLst>
          </p:nvPr>
        </p:nvSpPr>
        <p:spPr>
          <a:xfrm>
            <a:off x="1513328" y="4023719"/>
            <a:ext cx="858631" cy="923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учение ГД предприятия</a:t>
            </a:r>
            <a:endParaRPr lang="ru-RU" sz="6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71" name="Скругленный прямоугольник 40"/>
          <p:cNvSpPr/>
          <p:nvPr>
            <p:custDataLst>
              <p:tags r:id="rId30"/>
            </p:custDataLst>
          </p:nvPr>
        </p:nvSpPr>
        <p:spPr>
          <a:xfrm>
            <a:off x="2733233" y="4204796"/>
            <a:ext cx="1825752" cy="132593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2" name="Прямоугольник 41"/>
          <p:cNvSpPr/>
          <p:nvPr>
            <p:custDataLst>
              <p:tags r:id="rId31"/>
            </p:custDataLst>
          </p:nvPr>
        </p:nvSpPr>
        <p:spPr>
          <a:xfrm>
            <a:off x="2802114" y="4210483"/>
            <a:ext cx="170594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тартовое совещание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73" name="Скругленный прямоугольник 42"/>
          <p:cNvSpPr/>
          <p:nvPr>
            <p:custDataLst>
              <p:tags r:id="rId32"/>
            </p:custDataLst>
          </p:nvPr>
        </p:nvSpPr>
        <p:spPr>
          <a:xfrm>
            <a:off x="4836964" y="4204347"/>
            <a:ext cx="2474023" cy="135475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4" name="Прямоугольник 43"/>
          <p:cNvSpPr/>
          <p:nvPr>
            <p:custDataLst>
              <p:tags r:id="rId33"/>
            </p:custDataLst>
          </p:nvPr>
        </p:nvSpPr>
        <p:spPr>
          <a:xfrm>
            <a:off x="4867566" y="4209449"/>
            <a:ext cx="2404454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оведение Дней информирования</a:t>
            </a:r>
          </a:p>
        </p:txBody>
      </p:sp>
      <p:cxnSp>
        <p:nvCxnSpPr>
          <p:cNvPr id="175" name="Соединительная линия уступом 46"/>
          <p:cNvCxnSpPr>
            <a:cxnSpLocks/>
            <a:endCxn id="164" idx="1"/>
          </p:cNvCxnSpPr>
          <p:nvPr>
            <p:custDataLst>
              <p:tags r:id="rId34"/>
            </p:custDataLst>
          </p:nvPr>
        </p:nvCxnSpPr>
        <p:spPr>
          <a:xfrm>
            <a:off x="2121772" y="1515825"/>
            <a:ext cx="643369" cy="199793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176" name="Соединительная линия уступом 47"/>
          <p:cNvCxnSpPr>
            <a:cxnSpLocks/>
            <a:stCxn id="153" idx="3"/>
            <a:endCxn id="214" idx="1"/>
          </p:cNvCxnSpPr>
          <p:nvPr>
            <p:custDataLst>
              <p:tags r:id="rId35"/>
            </p:custDataLst>
          </p:nvPr>
        </p:nvCxnSpPr>
        <p:spPr>
          <a:xfrm flipV="1">
            <a:off x="2423891" y="2134609"/>
            <a:ext cx="322689" cy="113994"/>
          </a:xfrm>
          <a:prstGeom prst="bentConnector3">
            <a:avLst>
              <a:gd name="adj1" fmla="val 16940"/>
            </a:avLst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177" name="Соединительная линия уступом 48"/>
          <p:cNvCxnSpPr>
            <a:cxnSpLocks/>
            <a:stCxn id="153" idx="3"/>
          </p:cNvCxnSpPr>
          <p:nvPr>
            <p:custDataLst>
              <p:tags r:id="rId36"/>
            </p:custDataLst>
          </p:nvPr>
        </p:nvCxnSpPr>
        <p:spPr>
          <a:xfrm>
            <a:off x="2423891" y="2248603"/>
            <a:ext cx="316419" cy="149057"/>
          </a:xfrm>
          <a:prstGeom prst="bentConnector3">
            <a:avLst>
              <a:gd name="adj1" fmla="val 17088"/>
            </a:avLst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178" name="Соединительная линия уступом 49"/>
          <p:cNvCxnSpPr>
            <a:cxnSpLocks/>
            <a:stCxn id="214" idx="3"/>
            <a:endCxn id="160" idx="1"/>
          </p:cNvCxnSpPr>
          <p:nvPr>
            <p:custDataLst>
              <p:tags r:id="rId37"/>
            </p:custDataLst>
          </p:nvPr>
        </p:nvCxnSpPr>
        <p:spPr>
          <a:xfrm flipV="1">
            <a:off x="4836964" y="2134607"/>
            <a:ext cx="553521" cy="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179" name="Соединительная линия уступом 50"/>
          <p:cNvCxnSpPr/>
          <p:nvPr>
            <p:custDataLst>
              <p:tags r:id="rId38"/>
            </p:custDataLst>
          </p:nvPr>
        </p:nvCxnSpPr>
        <p:spPr>
          <a:xfrm>
            <a:off x="4558984" y="2757486"/>
            <a:ext cx="313973" cy="183947"/>
          </a:xfrm>
          <a:prstGeom prst="bentConnector2">
            <a:avLst/>
          </a:prstGeom>
          <a:noFill/>
          <a:ln w="9525" cap="flat" cmpd="sng" algn="ctr">
            <a:solidFill>
              <a:srgbClr val="8064A2"/>
            </a:solidFill>
            <a:prstDash val="solid"/>
            <a:tailEnd type="triangle"/>
          </a:ln>
          <a:effectLst/>
        </p:spPr>
      </p:cxnSp>
      <p:cxnSp>
        <p:nvCxnSpPr>
          <p:cNvPr id="180" name="Соединительная линия уступом 51"/>
          <p:cNvCxnSpPr>
            <a:cxnSpLocks/>
            <a:stCxn id="152" idx="3"/>
            <a:endCxn id="162" idx="1"/>
          </p:cNvCxnSpPr>
          <p:nvPr>
            <p:custDataLst>
              <p:tags r:id="rId39"/>
            </p:custDataLst>
          </p:nvPr>
        </p:nvCxnSpPr>
        <p:spPr>
          <a:xfrm>
            <a:off x="4836959" y="1400854"/>
            <a:ext cx="544537" cy="110755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tailEnd type="triangle"/>
          </a:ln>
          <a:effectLst/>
        </p:spPr>
      </p:cxnSp>
      <p:cxnSp>
        <p:nvCxnSpPr>
          <p:cNvPr id="181" name="Соединительная линия уступом 52"/>
          <p:cNvCxnSpPr>
            <a:cxnSpLocks/>
            <a:stCxn id="164" idx="3"/>
            <a:endCxn id="162" idx="1"/>
          </p:cNvCxnSpPr>
          <p:nvPr>
            <p:custDataLst>
              <p:tags r:id="rId40"/>
            </p:custDataLst>
          </p:nvPr>
        </p:nvCxnSpPr>
        <p:spPr>
          <a:xfrm flipV="1">
            <a:off x="4836959" y="1511609"/>
            <a:ext cx="544537" cy="204009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tailEnd type="triangle"/>
          </a:ln>
          <a:effectLst/>
        </p:spPr>
      </p:cxnSp>
      <p:cxnSp>
        <p:nvCxnSpPr>
          <p:cNvPr id="182" name="Прямая со стрелкой 53"/>
          <p:cNvCxnSpPr>
            <a:cxnSpLocks/>
            <a:endCxn id="228" idx="1"/>
          </p:cNvCxnSpPr>
          <p:nvPr>
            <p:custDataLst>
              <p:tags r:id="rId41"/>
            </p:custDataLst>
          </p:nvPr>
        </p:nvCxnSpPr>
        <p:spPr>
          <a:xfrm flipV="1">
            <a:off x="1330231" y="4472179"/>
            <a:ext cx="150908" cy="4970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183" name="Соединительная линия уступом 54"/>
          <p:cNvCxnSpPr>
            <a:cxnSpLocks/>
            <a:stCxn id="237" idx="3"/>
            <a:endCxn id="167" idx="1"/>
          </p:cNvCxnSpPr>
          <p:nvPr>
            <p:custDataLst>
              <p:tags r:id="rId42"/>
            </p:custDataLst>
          </p:nvPr>
        </p:nvCxnSpPr>
        <p:spPr>
          <a:xfrm>
            <a:off x="4872774" y="3713076"/>
            <a:ext cx="517122" cy="216477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9BBB59"/>
            </a:solidFill>
            <a:prstDash val="solid"/>
            <a:tailEnd type="triangle"/>
          </a:ln>
          <a:effectLst/>
        </p:spPr>
      </p:cxnSp>
      <p:cxnSp>
        <p:nvCxnSpPr>
          <p:cNvPr id="184" name="Соединительная линия уступом 58"/>
          <p:cNvCxnSpPr>
            <a:cxnSpLocks/>
            <a:stCxn id="169" idx="3"/>
          </p:cNvCxnSpPr>
          <p:nvPr>
            <p:custDataLst>
              <p:tags r:id="rId43"/>
            </p:custDataLst>
          </p:nvPr>
        </p:nvCxnSpPr>
        <p:spPr>
          <a:xfrm flipV="1">
            <a:off x="2423890" y="3406054"/>
            <a:ext cx="502141" cy="666466"/>
          </a:xfrm>
          <a:prstGeom prst="bentConnector2">
            <a:avLst/>
          </a:prstGeom>
          <a:noFill/>
          <a:ln w="9525" cap="flat" cmpd="sng" algn="ctr">
            <a:solidFill>
              <a:srgbClr val="9BBB59"/>
            </a:solidFill>
            <a:prstDash val="solid"/>
            <a:tailEnd type="triangle"/>
          </a:ln>
          <a:effectLst/>
        </p:spPr>
      </p:cxnSp>
      <p:cxnSp>
        <p:nvCxnSpPr>
          <p:cNvPr id="185" name="Соединительная линия уступом 63"/>
          <p:cNvCxnSpPr>
            <a:cxnSpLocks/>
            <a:stCxn id="162" idx="3"/>
          </p:cNvCxnSpPr>
          <p:nvPr>
            <p:custDataLst>
              <p:tags r:id="rId44"/>
            </p:custDataLst>
          </p:nvPr>
        </p:nvCxnSpPr>
        <p:spPr>
          <a:xfrm flipH="1">
            <a:off x="6131561" y="1511609"/>
            <a:ext cx="1179430" cy="1429821"/>
          </a:xfrm>
          <a:prstGeom prst="bentConnector4">
            <a:avLst>
              <a:gd name="adj1" fmla="val -12598"/>
              <a:gd name="adj2" fmla="val 70277"/>
            </a:avLst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tailEnd type="triangle"/>
          </a:ln>
          <a:effectLst/>
        </p:spPr>
      </p:cxnSp>
      <p:cxnSp>
        <p:nvCxnSpPr>
          <p:cNvPr id="186" name="Прямая соединительная линия 66"/>
          <p:cNvCxnSpPr/>
          <p:nvPr>
            <p:custDataLst>
              <p:tags r:id="rId45"/>
            </p:custDataLst>
          </p:nvPr>
        </p:nvCxnSpPr>
        <p:spPr>
          <a:xfrm>
            <a:off x="1331247" y="1446841"/>
            <a:ext cx="0" cy="3030308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</a:ln>
          <a:effectLst/>
        </p:spPr>
      </p:cxnSp>
      <p:cxnSp>
        <p:nvCxnSpPr>
          <p:cNvPr id="187" name="Прямая со стрелкой 67"/>
          <p:cNvCxnSpPr/>
          <p:nvPr>
            <p:custDataLst>
              <p:tags r:id="rId46"/>
            </p:custDataLst>
          </p:nvPr>
        </p:nvCxnSpPr>
        <p:spPr>
          <a:xfrm>
            <a:off x="1330231" y="2225770"/>
            <a:ext cx="150909" cy="1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188" name="Прямая со стрелкой 68"/>
          <p:cNvCxnSpPr>
            <a:cxnSpLocks/>
          </p:cNvCxnSpPr>
          <p:nvPr>
            <p:custDataLst>
              <p:tags r:id="rId47"/>
            </p:custDataLst>
          </p:nvPr>
        </p:nvCxnSpPr>
        <p:spPr>
          <a:xfrm>
            <a:off x="1324976" y="2860147"/>
            <a:ext cx="1421603" cy="1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sp>
        <p:nvSpPr>
          <p:cNvPr id="189" name="Пятиугольник 69"/>
          <p:cNvSpPr/>
          <p:nvPr>
            <p:custDataLst>
              <p:tags r:id="rId48"/>
            </p:custDataLst>
          </p:nvPr>
        </p:nvSpPr>
        <p:spPr>
          <a:xfrm>
            <a:off x="7401127" y="1055301"/>
            <a:ext cx="1346358" cy="183522"/>
          </a:xfrm>
          <a:prstGeom prst="homePlate">
            <a:avLst>
              <a:gd name="adj" fmla="val 10366"/>
            </a:avLst>
          </a:prstGeom>
          <a:solidFill>
            <a:schemeClr val="accent5"/>
          </a:solidFill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189000" tIns="0" rIns="0" bIns="0" rtlCol="0" anchor="ctr"/>
          <a:lstStyle/>
          <a:p>
            <a:pPr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иражирование</a:t>
            </a:r>
          </a:p>
        </p:txBody>
      </p:sp>
      <p:sp>
        <p:nvSpPr>
          <p:cNvPr id="190" name="Пятиугольник 70"/>
          <p:cNvSpPr/>
          <p:nvPr>
            <p:custDataLst>
              <p:tags r:id="rId49"/>
            </p:custDataLst>
          </p:nvPr>
        </p:nvSpPr>
        <p:spPr>
          <a:xfrm>
            <a:off x="4894681" y="1055301"/>
            <a:ext cx="2557679" cy="183522"/>
          </a:xfrm>
          <a:prstGeom prst="homePlate">
            <a:avLst>
              <a:gd name="adj" fmla="val 10366"/>
            </a:avLst>
          </a:prstGeom>
          <a:solidFill>
            <a:srgbClr val="EBE99B">
              <a:lumMod val="60000"/>
              <a:lumOff val="40000"/>
            </a:srgbClr>
          </a:solidFill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39856" tIns="0" rIns="0" bIns="0" rtlCol="0" anchor="ctr"/>
          <a:lstStyle/>
          <a:p>
            <a:pPr algn="ctr" defTabSz="683953"/>
            <a:r>
              <a:rPr lang="ru-RU" sz="675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дрение улучшений</a:t>
            </a:r>
          </a:p>
        </p:txBody>
      </p:sp>
      <p:sp>
        <p:nvSpPr>
          <p:cNvPr id="191" name="Пятиугольник 71"/>
          <p:cNvSpPr/>
          <p:nvPr>
            <p:custDataLst>
              <p:tags r:id="rId50"/>
            </p:custDataLst>
          </p:nvPr>
        </p:nvSpPr>
        <p:spPr>
          <a:xfrm>
            <a:off x="2567106" y="1055301"/>
            <a:ext cx="2385084" cy="183522"/>
          </a:xfrm>
          <a:prstGeom prst="homePlate">
            <a:avLst>
              <a:gd name="adj" fmla="val 10366"/>
            </a:avLst>
          </a:prstGeom>
          <a:solidFill>
            <a:srgbClr val="EBE99B">
              <a:lumMod val="60000"/>
              <a:lumOff val="40000"/>
            </a:srgbClr>
          </a:solidFill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39856" tIns="0" rIns="0" bIns="0" rtlCol="0" anchor="ctr"/>
          <a:lstStyle/>
          <a:p>
            <a:pPr defTabSz="683953"/>
            <a:r>
              <a:rPr lang="ru-RU" sz="675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агностика и планирование</a:t>
            </a:r>
          </a:p>
        </p:txBody>
      </p:sp>
      <p:sp>
        <p:nvSpPr>
          <p:cNvPr id="192" name="Пятиугольник 72"/>
          <p:cNvSpPr/>
          <p:nvPr>
            <p:custDataLst>
              <p:tags r:id="rId51"/>
            </p:custDataLst>
          </p:nvPr>
        </p:nvSpPr>
        <p:spPr>
          <a:xfrm>
            <a:off x="1330233" y="1055301"/>
            <a:ext cx="1230122" cy="183522"/>
          </a:xfrm>
          <a:prstGeom prst="homePlate">
            <a:avLst>
              <a:gd name="adj" fmla="val 10366"/>
            </a:avLst>
          </a:prstGeom>
          <a:solidFill>
            <a:srgbClr val="EBE99B">
              <a:lumMod val="60000"/>
              <a:lumOff val="40000"/>
            </a:srgbClr>
          </a:solidFill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39856" tIns="0" rIns="0" bIns="0" rtlCol="0" anchor="ctr"/>
          <a:lstStyle/>
          <a:p>
            <a:pPr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ка </a:t>
            </a:r>
          </a:p>
        </p:txBody>
      </p:sp>
      <p:cxnSp>
        <p:nvCxnSpPr>
          <p:cNvPr id="193" name="Прямая со стрелкой 88"/>
          <p:cNvCxnSpPr/>
          <p:nvPr>
            <p:custDataLst>
              <p:tags r:id="rId52"/>
            </p:custDataLst>
          </p:nvPr>
        </p:nvCxnSpPr>
        <p:spPr>
          <a:xfrm>
            <a:off x="1330231" y="4104578"/>
            <a:ext cx="150909" cy="1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sp>
        <p:nvSpPr>
          <p:cNvPr id="194" name="TextBox 193"/>
          <p:cNvSpPr txBox="1"/>
          <p:nvPr>
            <p:custDataLst>
              <p:tags r:id="rId53"/>
            </p:custDataLst>
          </p:nvPr>
        </p:nvSpPr>
        <p:spPr>
          <a:xfrm>
            <a:off x="1392091" y="1196350"/>
            <a:ext cx="1251191" cy="276835"/>
          </a:xfrm>
          <a:prstGeom prst="rect">
            <a:avLst/>
          </a:prstGeom>
          <a:noFill/>
        </p:spPr>
        <p:txBody>
          <a:bodyPr wrap="square" lIns="60798" tIns="30399" rIns="60798" bIns="30399" rtlCol="0" anchor="ctr">
            <a:spAutoFit/>
          </a:bodyPr>
          <a:lstStyle/>
          <a:p>
            <a:pPr defTabSz="683953"/>
            <a:r>
              <a:rPr lang="ru-RU" sz="7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бор предприятия и подписание соглашения</a:t>
            </a:r>
          </a:p>
        </p:txBody>
      </p:sp>
      <p:sp>
        <p:nvSpPr>
          <p:cNvPr id="195" name="Скругленный прямоугольник 91"/>
          <p:cNvSpPr/>
          <p:nvPr>
            <p:custDataLst>
              <p:tags r:id="rId54"/>
            </p:custDataLst>
          </p:nvPr>
        </p:nvSpPr>
        <p:spPr>
          <a:xfrm>
            <a:off x="7544542" y="1270522"/>
            <a:ext cx="1143878" cy="176318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6" name="Прямоугольник 92"/>
          <p:cNvSpPr/>
          <p:nvPr>
            <p:custDataLst>
              <p:tags r:id="rId55"/>
            </p:custDataLst>
          </p:nvPr>
        </p:nvSpPr>
        <p:spPr>
          <a:xfrm>
            <a:off x="7594601" y="1308882"/>
            <a:ext cx="1093816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7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Актуализация целей и КПЭ</a:t>
            </a:r>
          </a:p>
        </p:txBody>
      </p:sp>
      <p:sp>
        <p:nvSpPr>
          <p:cNvPr id="197" name="Скругленный прямоугольник 93"/>
          <p:cNvSpPr/>
          <p:nvPr>
            <p:custDataLst>
              <p:tags r:id="rId56"/>
            </p:custDataLst>
          </p:nvPr>
        </p:nvSpPr>
        <p:spPr>
          <a:xfrm>
            <a:off x="7544539" y="1890326"/>
            <a:ext cx="1141998" cy="229943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8" name="Прямоугольник 94"/>
          <p:cNvSpPr/>
          <p:nvPr>
            <p:custDataLst>
              <p:tags r:id="rId57"/>
            </p:custDataLst>
          </p:nvPr>
        </p:nvSpPr>
        <p:spPr>
          <a:xfrm>
            <a:off x="7594602" y="1916533"/>
            <a:ext cx="109381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7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ыбор и оптимизация новых потоков</a:t>
            </a:r>
            <a:endParaRPr lang="ru-RU" sz="7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99" name="Скругленный прямоугольник 95"/>
          <p:cNvSpPr/>
          <p:nvPr>
            <p:custDataLst>
              <p:tags r:id="rId58"/>
            </p:custDataLst>
          </p:nvPr>
        </p:nvSpPr>
        <p:spPr>
          <a:xfrm>
            <a:off x="7539336" y="2163503"/>
            <a:ext cx="1147201" cy="361395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00" name="Прямоугольник 96"/>
          <p:cNvSpPr/>
          <p:nvPr>
            <p:custDataLst>
              <p:tags r:id="rId59"/>
            </p:custDataLst>
          </p:nvPr>
        </p:nvSpPr>
        <p:spPr>
          <a:xfrm>
            <a:off x="7592722" y="2175159"/>
            <a:ext cx="1093815" cy="276999"/>
          </a:xfrm>
          <a:prstGeom prst="rect">
            <a:avLst/>
          </a:prstGeom>
          <a:ln>
            <a:noFill/>
            <a:prstDash val="lgDash"/>
          </a:ln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еализация мероприятий по достижению/приближению идеального состояния потоков</a:t>
            </a:r>
          </a:p>
        </p:txBody>
      </p:sp>
      <p:sp>
        <p:nvSpPr>
          <p:cNvPr id="201" name="Скругленный прямоугольник 97"/>
          <p:cNvSpPr/>
          <p:nvPr>
            <p:custDataLst>
              <p:tags r:id="rId60"/>
            </p:custDataLst>
          </p:nvPr>
        </p:nvSpPr>
        <p:spPr>
          <a:xfrm>
            <a:off x="7549589" y="2711494"/>
            <a:ext cx="1136947" cy="371975"/>
          </a:xfrm>
          <a:prstGeom prst="roundRect">
            <a:avLst>
              <a:gd name="adj" fmla="val 10521"/>
            </a:avLst>
          </a:prstGeom>
          <a:solidFill>
            <a:srgbClr val="8064A2">
              <a:lumMod val="40000"/>
              <a:lumOff val="60000"/>
            </a:srgbClr>
          </a:solidFill>
          <a:ln w="9525" cap="flat" cmpd="sng" algn="ctr">
            <a:solidFill>
              <a:srgbClr val="8064A2"/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02" name="Прямоугольник 98"/>
          <p:cNvSpPr/>
          <p:nvPr>
            <p:custDataLst>
              <p:tags r:id="rId61"/>
            </p:custDataLst>
          </p:nvPr>
        </p:nvSpPr>
        <p:spPr>
          <a:xfrm>
            <a:off x="7599508" y="2721649"/>
            <a:ext cx="113694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ткрытие и реализация проектов по оптимизации дополнительных потоков и процессов</a:t>
            </a:r>
            <a:endParaRPr lang="ru-RU" sz="6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03" name="Овал 105"/>
          <p:cNvSpPr/>
          <p:nvPr>
            <p:custDataLst>
              <p:tags r:id="rId62"/>
            </p:custDataLst>
          </p:nvPr>
        </p:nvSpPr>
        <p:spPr>
          <a:xfrm>
            <a:off x="1259897" y="1270524"/>
            <a:ext cx="167592" cy="181427"/>
          </a:xfrm>
          <a:prstGeom prst="ellipse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900" b="1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4" name="Прямоугольник 110"/>
          <p:cNvSpPr/>
          <p:nvPr>
            <p:custDataLst>
              <p:tags r:id="rId63"/>
            </p:custDataLst>
          </p:nvPr>
        </p:nvSpPr>
        <p:spPr>
          <a:xfrm>
            <a:off x="2851409" y="1658530"/>
            <a:ext cx="1875930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7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недрение пилотного информационного центра</a:t>
            </a:r>
            <a:endParaRPr lang="ru-RU" sz="7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205" name="Прямая со стрелкой 112"/>
          <p:cNvCxnSpPr/>
          <p:nvPr>
            <p:custDataLst>
              <p:tags r:id="rId64"/>
            </p:custDataLst>
          </p:nvPr>
        </p:nvCxnSpPr>
        <p:spPr>
          <a:xfrm>
            <a:off x="1330231" y="3668117"/>
            <a:ext cx="150909" cy="1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206" name="Соединительная линия уступом 113"/>
          <p:cNvCxnSpPr>
            <a:cxnSpLocks/>
            <a:endCxn id="152" idx="1"/>
          </p:cNvCxnSpPr>
          <p:nvPr/>
        </p:nvCxnSpPr>
        <p:spPr>
          <a:xfrm flipV="1">
            <a:off x="2121767" y="1400854"/>
            <a:ext cx="643374" cy="114968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207" name="Прямая со стрелкой 114"/>
          <p:cNvCxnSpPr/>
          <p:nvPr>
            <p:custDataLst>
              <p:tags r:id="rId65"/>
            </p:custDataLst>
          </p:nvPr>
        </p:nvCxnSpPr>
        <p:spPr>
          <a:xfrm>
            <a:off x="1330231" y="1515825"/>
            <a:ext cx="794543" cy="0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208" name="Соединительная линия уступом 116"/>
          <p:cNvCxnSpPr>
            <a:cxnSpLocks/>
            <a:stCxn id="214" idx="3"/>
            <a:endCxn id="242" idx="0"/>
          </p:cNvCxnSpPr>
          <p:nvPr>
            <p:custDataLst>
              <p:tags r:id="rId66"/>
            </p:custDataLst>
          </p:nvPr>
        </p:nvCxnSpPr>
        <p:spPr>
          <a:xfrm>
            <a:off x="4836964" y="2134609"/>
            <a:ext cx="192799" cy="806821"/>
          </a:xfrm>
          <a:prstGeom prst="bentConnector2">
            <a:avLst/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209" name="Соединительная линия уступом 117"/>
          <p:cNvCxnSpPr>
            <a:cxnSpLocks/>
            <a:stCxn id="153" idx="3"/>
            <a:endCxn id="242" idx="1"/>
          </p:cNvCxnSpPr>
          <p:nvPr>
            <p:custDataLst>
              <p:tags r:id="rId67"/>
            </p:custDataLst>
          </p:nvPr>
        </p:nvCxnSpPr>
        <p:spPr>
          <a:xfrm>
            <a:off x="2423891" y="2248603"/>
            <a:ext cx="324644" cy="918039"/>
          </a:xfrm>
          <a:prstGeom prst="bentConnector3">
            <a:avLst>
              <a:gd name="adj1" fmla="val 36699"/>
            </a:avLst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210" name="Соединительная линия уступом 120"/>
          <p:cNvCxnSpPr>
            <a:cxnSpLocks/>
            <a:stCxn id="242" idx="3"/>
            <a:endCxn id="167" idx="0"/>
          </p:cNvCxnSpPr>
          <p:nvPr>
            <p:custDataLst>
              <p:tags r:id="rId68"/>
            </p:custDataLst>
          </p:nvPr>
        </p:nvCxnSpPr>
        <p:spPr>
          <a:xfrm flipH="1">
            <a:off x="6350443" y="3166642"/>
            <a:ext cx="960547" cy="585228"/>
          </a:xfrm>
          <a:prstGeom prst="bentConnector4">
            <a:avLst>
              <a:gd name="adj1" fmla="val -5553"/>
              <a:gd name="adj2" fmla="val 61429"/>
            </a:avLst>
          </a:prstGeom>
          <a:noFill/>
          <a:ln w="9525" cap="flat" cmpd="sng" algn="ctr">
            <a:solidFill>
              <a:srgbClr val="8064A2"/>
            </a:solidFill>
            <a:prstDash val="solid"/>
            <a:tailEnd type="triangle"/>
          </a:ln>
          <a:effectLst/>
        </p:spPr>
      </p:cxnSp>
      <p:cxnSp>
        <p:nvCxnSpPr>
          <p:cNvPr id="211" name="Соединительная линия уступом 121"/>
          <p:cNvCxnSpPr>
            <a:cxnSpLocks/>
            <a:stCxn id="160" idx="3"/>
          </p:cNvCxnSpPr>
          <p:nvPr>
            <p:custDataLst>
              <p:tags r:id="rId69"/>
            </p:custDataLst>
          </p:nvPr>
        </p:nvCxnSpPr>
        <p:spPr>
          <a:xfrm flipH="1">
            <a:off x="6776720" y="2134607"/>
            <a:ext cx="534270" cy="806823"/>
          </a:xfrm>
          <a:prstGeom prst="bentConnector4">
            <a:avLst>
              <a:gd name="adj1" fmla="val -42787"/>
              <a:gd name="adj2" fmla="val 62698"/>
            </a:avLst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sp>
        <p:nvSpPr>
          <p:cNvPr id="212" name="Скругленный прямоугольник 122"/>
          <p:cNvSpPr/>
          <p:nvPr>
            <p:custDataLst>
              <p:tags r:id="rId70"/>
            </p:custDataLst>
          </p:nvPr>
        </p:nvSpPr>
        <p:spPr>
          <a:xfrm>
            <a:off x="2753744" y="2660397"/>
            <a:ext cx="2076947" cy="229943"/>
          </a:xfrm>
          <a:prstGeom prst="roundRect">
            <a:avLst/>
          </a:prstGeom>
          <a:solidFill>
            <a:srgbClr val="8064A2">
              <a:lumMod val="40000"/>
              <a:lumOff val="60000"/>
            </a:srgbClr>
          </a:solidFill>
          <a:ln w="9525" cap="flat" cmpd="sng" algn="ctr">
            <a:solidFill>
              <a:srgbClr val="8064A2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3" name="Прямоугольник 123"/>
          <p:cNvSpPr/>
          <p:nvPr>
            <p:custDataLst>
              <p:tags r:id="rId71"/>
            </p:custDataLst>
          </p:nvPr>
        </p:nvSpPr>
        <p:spPr>
          <a:xfrm>
            <a:off x="2884950" y="2687188"/>
            <a:ext cx="190059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10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Формирование проектного офиса</a:t>
            </a:r>
            <a:endParaRPr lang="ru-RU" sz="10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14" name="Скругленный прямоугольник 124"/>
          <p:cNvSpPr/>
          <p:nvPr>
            <p:custDataLst>
              <p:tags r:id="rId72"/>
            </p:custDataLst>
          </p:nvPr>
        </p:nvSpPr>
        <p:spPr>
          <a:xfrm>
            <a:off x="2746580" y="1929704"/>
            <a:ext cx="2090384" cy="409810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5" name="Прямоугольник 125"/>
          <p:cNvSpPr/>
          <p:nvPr>
            <p:custDataLst>
              <p:tags r:id="rId73"/>
            </p:custDataLst>
          </p:nvPr>
        </p:nvSpPr>
        <p:spPr>
          <a:xfrm>
            <a:off x="2822434" y="1955905"/>
            <a:ext cx="1966155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Анализ текущего и определение целевого, идеального состояния потоков, разработка мероприятий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16" name="Скругленный прямоугольник 135"/>
          <p:cNvSpPr/>
          <p:nvPr>
            <p:custDataLst>
              <p:tags r:id="rId74"/>
            </p:custDataLst>
          </p:nvPr>
        </p:nvSpPr>
        <p:spPr>
          <a:xfrm>
            <a:off x="7544539" y="1488298"/>
            <a:ext cx="1143877" cy="345071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7" name="Прямоугольник 133"/>
          <p:cNvSpPr/>
          <p:nvPr>
            <p:custDataLst>
              <p:tags r:id="rId75"/>
            </p:custDataLst>
          </p:nvPr>
        </p:nvSpPr>
        <p:spPr>
          <a:xfrm>
            <a:off x="7594602" y="1498855"/>
            <a:ext cx="104016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недрение взаимосвязан-ных инфоцентров предприятия, цехов, малых групп</a:t>
            </a:r>
          </a:p>
        </p:txBody>
      </p:sp>
      <p:sp>
        <p:nvSpPr>
          <p:cNvPr id="218" name="Скругленный прямоугольник 156"/>
          <p:cNvSpPr/>
          <p:nvPr>
            <p:custDataLst>
              <p:tags r:id="rId76"/>
            </p:custDataLst>
          </p:nvPr>
        </p:nvSpPr>
        <p:spPr>
          <a:xfrm>
            <a:off x="2733232" y="3831475"/>
            <a:ext cx="2134331" cy="321047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9" name="Прямоугольник 163"/>
          <p:cNvSpPr/>
          <p:nvPr>
            <p:custDataLst>
              <p:tags r:id="rId77"/>
            </p:custDataLst>
          </p:nvPr>
        </p:nvSpPr>
        <p:spPr>
          <a:xfrm>
            <a:off x="2804106" y="3861759"/>
            <a:ext cx="204350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учение руководителей предприятия и участников (членов РГ) проектов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220" name="Соединительная линия уступом 168"/>
          <p:cNvCxnSpPr>
            <a:cxnSpLocks/>
            <a:stCxn id="157" idx="3"/>
            <a:endCxn id="212" idx="1"/>
          </p:cNvCxnSpPr>
          <p:nvPr>
            <p:custDataLst>
              <p:tags r:id="rId78"/>
            </p:custDataLst>
          </p:nvPr>
        </p:nvCxnSpPr>
        <p:spPr>
          <a:xfrm flipV="1">
            <a:off x="2431825" y="2775369"/>
            <a:ext cx="321919" cy="923807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9BBB59"/>
            </a:solidFill>
            <a:prstDash val="solid"/>
            <a:tailEnd type="triangle"/>
          </a:ln>
          <a:effectLst/>
        </p:spPr>
      </p:cxnSp>
      <p:cxnSp>
        <p:nvCxnSpPr>
          <p:cNvPr id="221" name="Соединительная линия уступом 172"/>
          <p:cNvCxnSpPr>
            <a:cxnSpLocks/>
            <a:stCxn id="157" idx="3"/>
            <a:endCxn id="212" idx="1"/>
          </p:cNvCxnSpPr>
          <p:nvPr>
            <p:custDataLst>
              <p:tags r:id="rId79"/>
            </p:custDataLst>
          </p:nvPr>
        </p:nvCxnSpPr>
        <p:spPr>
          <a:xfrm flipV="1">
            <a:off x="2431825" y="2775369"/>
            <a:ext cx="321919" cy="923807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9BBB59"/>
            </a:solidFill>
            <a:prstDash val="solid"/>
            <a:tailEnd type="triangle"/>
          </a:ln>
          <a:effectLst/>
        </p:spPr>
      </p:cxnSp>
      <p:cxnSp>
        <p:nvCxnSpPr>
          <p:cNvPr id="222" name="Соединительная линия уступом 179"/>
          <p:cNvCxnSpPr>
            <a:cxnSpLocks/>
            <a:endCxn id="218" idx="1"/>
          </p:cNvCxnSpPr>
          <p:nvPr>
            <p:custDataLst>
              <p:tags r:id="rId80"/>
            </p:custDataLst>
          </p:nvPr>
        </p:nvCxnSpPr>
        <p:spPr>
          <a:xfrm>
            <a:off x="2141034" y="3881300"/>
            <a:ext cx="592198" cy="110699"/>
          </a:xfrm>
          <a:prstGeom prst="bentConnector3">
            <a:avLst>
              <a:gd name="adj1" fmla="val 65441"/>
            </a:avLst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223" name="Соединительная линия уступом 180"/>
          <p:cNvCxnSpPr>
            <a:cxnSpLocks/>
            <a:endCxn id="237" idx="1"/>
          </p:cNvCxnSpPr>
          <p:nvPr/>
        </p:nvCxnSpPr>
        <p:spPr>
          <a:xfrm flipV="1">
            <a:off x="2141029" y="3713076"/>
            <a:ext cx="593273" cy="168222"/>
          </a:xfrm>
          <a:prstGeom prst="bentConnector3">
            <a:avLst>
              <a:gd name="adj1" fmla="val 80183"/>
            </a:avLst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224" name="Прямая со стрелкой 181"/>
          <p:cNvCxnSpPr/>
          <p:nvPr>
            <p:custDataLst>
              <p:tags r:id="rId81"/>
            </p:custDataLst>
          </p:nvPr>
        </p:nvCxnSpPr>
        <p:spPr>
          <a:xfrm>
            <a:off x="1330231" y="3884651"/>
            <a:ext cx="794543" cy="0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225" name="Скругленный прямоугольник 189"/>
          <p:cNvSpPr/>
          <p:nvPr>
            <p:custDataLst>
              <p:tags r:id="rId82"/>
            </p:custDataLst>
          </p:nvPr>
        </p:nvSpPr>
        <p:spPr>
          <a:xfrm>
            <a:off x="7549589" y="3716100"/>
            <a:ext cx="1164946" cy="355366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26" name="Прямоугольник 190"/>
          <p:cNvSpPr/>
          <p:nvPr>
            <p:custDataLst>
              <p:tags r:id="rId83"/>
            </p:custDataLst>
          </p:nvPr>
        </p:nvSpPr>
        <p:spPr>
          <a:xfrm>
            <a:off x="7566640" y="3769696"/>
            <a:ext cx="112438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учение участников (членов РГ) проектов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227" name="Соединительная линия уступом 201"/>
          <p:cNvCxnSpPr>
            <a:cxnSpLocks/>
          </p:cNvCxnSpPr>
          <p:nvPr>
            <p:custDataLst>
              <p:tags r:id="rId84"/>
            </p:custDataLst>
          </p:nvPr>
        </p:nvCxnSpPr>
        <p:spPr>
          <a:xfrm rot="5400000" flipH="1" flipV="1">
            <a:off x="4763267" y="3497670"/>
            <a:ext cx="593311" cy="384719"/>
          </a:xfrm>
          <a:prstGeom prst="bentConnector3">
            <a:avLst>
              <a:gd name="adj1" fmla="val -7366"/>
            </a:avLst>
          </a:prstGeom>
          <a:noFill/>
          <a:ln w="9525" cap="flat" cmpd="sng" algn="ctr">
            <a:solidFill>
              <a:srgbClr val="9BBB59"/>
            </a:solidFill>
            <a:prstDash val="solid"/>
            <a:tailEnd type="triangle"/>
          </a:ln>
          <a:effectLst/>
        </p:spPr>
      </p:cxnSp>
      <p:sp>
        <p:nvSpPr>
          <p:cNvPr id="228" name="Скругленный прямоугольник 219"/>
          <p:cNvSpPr/>
          <p:nvPr>
            <p:custDataLst>
              <p:tags r:id="rId85"/>
            </p:custDataLst>
          </p:nvPr>
        </p:nvSpPr>
        <p:spPr>
          <a:xfrm>
            <a:off x="1481139" y="4270505"/>
            <a:ext cx="949823" cy="403348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29" name="Прямоугольник 220"/>
          <p:cNvSpPr/>
          <p:nvPr>
            <p:custDataLst>
              <p:tags r:id="rId86"/>
            </p:custDataLst>
          </p:nvPr>
        </p:nvSpPr>
        <p:spPr>
          <a:xfrm>
            <a:off x="1523191" y="4335434"/>
            <a:ext cx="87692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9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иагностика предприятия</a:t>
            </a:r>
            <a:endParaRPr lang="ru-RU" sz="9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30" name="Скругленный прямоугольник 233"/>
          <p:cNvSpPr/>
          <p:nvPr>
            <p:custDataLst>
              <p:tags r:id="rId87"/>
            </p:custDataLst>
          </p:nvPr>
        </p:nvSpPr>
        <p:spPr>
          <a:xfrm>
            <a:off x="3810432" y="4598888"/>
            <a:ext cx="3500554" cy="125919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1" name="Прямоугольник 234"/>
          <p:cNvSpPr/>
          <p:nvPr>
            <p:custDataLst>
              <p:tags r:id="rId88"/>
            </p:custDataLst>
          </p:nvPr>
        </p:nvSpPr>
        <p:spPr>
          <a:xfrm>
            <a:off x="3828921" y="4596456"/>
            <a:ext cx="2444566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еализация плана коммуникации и мотивации</a:t>
            </a:r>
          </a:p>
        </p:txBody>
      </p:sp>
      <p:sp>
        <p:nvSpPr>
          <p:cNvPr id="232" name="Скругленный прямоугольник 238"/>
          <p:cNvSpPr/>
          <p:nvPr>
            <p:custDataLst>
              <p:tags r:id="rId89"/>
            </p:custDataLst>
          </p:nvPr>
        </p:nvSpPr>
        <p:spPr>
          <a:xfrm>
            <a:off x="7549589" y="4189891"/>
            <a:ext cx="1157935" cy="297490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3" name="Прямоугольник 239"/>
          <p:cNvSpPr/>
          <p:nvPr>
            <p:custDataLst>
              <p:tags r:id="rId90"/>
            </p:custDataLst>
          </p:nvPr>
        </p:nvSpPr>
        <p:spPr>
          <a:xfrm>
            <a:off x="7592722" y="4221291"/>
            <a:ext cx="1108459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7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альнейшая реализация плана коммуникаций и мотив.</a:t>
            </a:r>
          </a:p>
        </p:txBody>
      </p:sp>
      <p:cxnSp>
        <p:nvCxnSpPr>
          <p:cNvPr id="234" name="Соединительная линия уступом 242"/>
          <p:cNvCxnSpPr>
            <a:cxnSpLocks/>
            <a:stCxn id="228" idx="3"/>
            <a:endCxn id="171" idx="1"/>
          </p:cNvCxnSpPr>
          <p:nvPr>
            <p:custDataLst>
              <p:tags r:id="rId91"/>
            </p:custDataLst>
          </p:nvPr>
        </p:nvCxnSpPr>
        <p:spPr>
          <a:xfrm flipV="1">
            <a:off x="2430962" y="4271093"/>
            <a:ext cx="302271" cy="201086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D98616"/>
            </a:solidFill>
            <a:prstDash val="solid"/>
            <a:tailEnd type="triangle"/>
          </a:ln>
          <a:effectLst/>
        </p:spPr>
      </p:cxnSp>
      <p:cxnSp>
        <p:nvCxnSpPr>
          <p:cNvPr id="235" name="Соединительная линия уступом 244"/>
          <p:cNvCxnSpPr>
            <a:cxnSpLocks/>
            <a:stCxn id="228" idx="3"/>
            <a:endCxn id="230" idx="1"/>
          </p:cNvCxnSpPr>
          <p:nvPr>
            <p:custDataLst>
              <p:tags r:id="rId92"/>
            </p:custDataLst>
          </p:nvPr>
        </p:nvCxnSpPr>
        <p:spPr>
          <a:xfrm>
            <a:off x="2430962" y="4472179"/>
            <a:ext cx="1379470" cy="189669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D98616"/>
            </a:solidFill>
            <a:prstDash val="solid"/>
            <a:tailEnd type="triangle"/>
          </a:ln>
          <a:effectLst/>
        </p:spPr>
      </p:cxnSp>
      <p:cxnSp>
        <p:nvCxnSpPr>
          <p:cNvPr id="236" name="Соединительная линия уступом 247"/>
          <p:cNvCxnSpPr>
            <a:cxnSpLocks/>
            <a:stCxn id="249" idx="3"/>
            <a:endCxn id="242" idx="2"/>
          </p:cNvCxnSpPr>
          <p:nvPr>
            <p:custDataLst>
              <p:tags r:id="rId93"/>
            </p:custDataLst>
          </p:nvPr>
        </p:nvCxnSpPr>
        <p:spPr>
          <a:xfrm flipH="1" flipV="1">
            <a:off x="5029763" y="3391854"/>
            <a:ext cx="2281223" cy="1050241"/>
          </a:xfrm>
          <a:prstGeom prst="bentConnector4">
            <a:avLst>
              <a:gd name="adj1" fmla="val -3842"/>
              <a:gd name="adj2" fmla="val 80727"/>
            </a:avLst>
          </a:prstGeom>
          <a:noFill/>
          <a:ln w="9525" cap="flat" cmpd="sng" algn="ctr">
            <a:solidFill>
              <a:srgbClr val="D98616"/>
            </a:solidFill>
            <a:prstDash val="solid"/>
            <a:tailEnd type="triangle"/>
          </a:ln>
          <a:effectLst/>
        </p:spPr>
      </p:cxnSp>
      <p:sp>
        <p:nvSpPr>
          <p:cNvPr id="237" name="Скругленный прямоугольник 34"/>
          <p:cNvSpPr/>
          <p:nvPr>
            <p:custDataLst>
              <p:tags r:id="rId94"/>
            </p:custDataLst>
          </p:nvPr>
        </p:nvSpPr>
        <p:spPr>
          <a:xfrm>
            <a:off x="2734302" y="3632028"/>
            <a:ext cx="2138472" cy="162095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solid"/>
          </a:ln>
          <a:effectLst/>
        </p:spPr>
        <p:txBody>
          <a:bodyPr lIns="0" tIns="0" rIns="0" bIns="0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8" name="Прямоугольник 35"/>
          <p:cNvSpPr/>
          <p:nvPr>
            <p:custDataLst>
              <p:tags r:id="rId95"/>
            </p:custDataLst>
          </p:nvPr>
        </p:nvSpPr>
        <p:spPr>
          <a:xfrm>
            <a:off x="3091618" y="3646383"/>
            <a:ext cx="1786797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дготовка  тренеров предприятия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239" name="Соединительная линия уступом 253"/>
          <p:cNvCxnSpPr>
            <a:cxnSpLocks/>
            <a:stCxn id="171" idx="3"/>
          </p:cNvCxnSpPr>
          <p:nvPr>
            <p:custDataLst>
              <p:tags r:id="rId96"/>
            </p:custDataLst>
          </p:nvPr>
        </p:nvCxnSpPr>
        <p:spPr>
          <a:xfrm>
            <a:off x="4558985" y="4271093"/>
            <a:ext cx="62286" cy="104704"/>
          </a:xfrm>
          <a:prstGeom prst="bentConnector2">
            <a:avLst/>
          </a:prstGeom>
          <a:noFill/>
          <a:ln w="9525" cap="flat" cmpd="sng" algn="ctr">
            <a:solidFill>
              <a:srgbClr val="D98616"/>
            </a:solidFill>
            <a:prstDash val="solid"/>
            <a:tailEnd type="triangle"/>
          </a:ln>
          <a:effectLst/>
        </p:spPr>
      </p:cxnSp>
      <p:cxnSp>
        <p:nvCxnSpPr>
          <p:cNvPr id="240" name="Соединительная линия уступом 259"/>
          <p:cNvCxnSpPr>
            <a:cxnSpLocks/>
            <a:stCxn id="242" idx="3"/>
          </p:cNvCxnSpPr>
          <p:nvPr>
            <p:custDataLst>
              <p:tags r:id="rId97"/>
            </p:custDataLst>
          </p:nvPr>
        </p:nvCxnSpPr>
        <p:spPr>
          <a:xfrm flipH="1">
            <a:off x="7158990" y="3166642"/>
            <a:ext cx="152000" cy="1445791"/>
          </a:xfrm>
          <a:prstGeom prst="bentConnector4">
            <a:avLst>
              <a:gd name="adj1" fmla="val -115303"/>
              <a:gd name="adj2" fmla="val 93628"/>
            </a:avLst>
          </a:prstGeom>
          <a:noFill/>
          <a:ln w="9525" cap="flat" cmpd="sng" algn="ctr">
            <a:solidFill>
              <a:srgbClr val="8064A2"/>
            </a:solidFill>
            <a:prstDash val="solid"/>
            <a:tailEnd type="triangle"/>
          </a:ln>
          <a:effectLst/>
        </p:spPr>
      </p:cxnSp>
      <p:cxnSp>
        <p:nvCxnSpPr>
          <p:cNvPr id="241" name="Соединительная линия уступом 272"/>
          <p:cNvCxnSpPr>
            <a:cxnSpLocks/>
            <a:stCxn id="158" idx="3"/>
          </p:cNvCxnSpPr>
          <p:nvPr>
            <p:custDataLst>
              <p:tags r:id="rId98"/>
            </p:custDataLst>
          </p:nvPr>
        </p:nvCxnSpPr>
        <p:spPr>
          <a:xfrm>
            <a:off x="4836962" y="2481554"/>
            <a:ext cx="993607" cy="1256869"/>
          </a:xfrm>
          <a:prstGeom prst="bentConnector2">
            <a:avLst/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sp>
        <p:nvSpPr>
          <p:cNvPr id="242" name="Скругленный прямоугольник 30"/>
          <p:cNvSpPr/>
          <p:nvPr>
            <p:custDataLst>
              <p:tags r:id="rId99"/>
            </p:custDataLst>
          </p:nvPr>
        </p:nvSpPr>
        <p:spPr>
          <a:xfrm>
            <a:off x="2748535" y="2941430"/>
            <a:ext cx="4562455" cy="450424"/>
          </a:xfrm>
          <a:prstGeom prst="roundRect">
            <a:avLst/>
          </a:prstGeom>
          <a:solidFill>
            <a:srgbClr val="8064A2">
              <a:lumMod val="40000"/>
              <a:lumOff val="60000"/>
            </a:srgbClr>
          </a:solidFill>
          <a:ln w="9525" cap="flat" cmpd="sng" algn="ctr">
            <a:solidFill>
              <a:srgbClr val="8064A2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43" name="Прямоугольник 31"/>
          <p:cNvSpPr/>
          <p:nvPr>
            <p:custDataLst>
              <p:tags r:id="rId100"/>
            </p:custDataLst>
          </p:nvPr>
        </p:nvSpPr>
        <p:spPr>
          <a:xfrm>
            <a:off x="2799950" y="3009168"/>
            <a:ext cx="4412894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11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ткрытие и реализация проектов по оптимизации пилотного потока и вспомогательных процессов, влияющих на пилотный поток</a:t>
            </a:r>
            <a:endParaRPr lang="ru-RU" sz="11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44" name="Равнобедренный треугольник 275"/>
          <p:cNvSpPr/>
          <p:nvPr/>
        </p:nvSpPr>
        <p:spPr>
          <a:xfrm rot="10800000">
            <a:off x="2473139" y="1014110"/>
            <a:ext cx="177442" cy="202791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81000" tIns="0" rIns="0" bIns="0" rtlCol="0" anchor="ctr"/>
          <a:lstStyle/>
          <a:p>
            <a:pPr defTabSz="699390"/>
            <a:endParaRPr lang="ru-RU" sz="900" b="1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5" name="Равнобедренный треугольник 277"/>
          <p:cNvSpPr/>
          <p:nvPr/>
        </p:nvSpPr>
        <p:spPr>
          <a:xfrm rot="10800000">
            <a:off x="1259895" y="1014110"/>
            <a:ext cx="177442" cy="202791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81000" tIns="0" rIns="0" bIns="0" rtlCol="0" anchor="ctr"/>
          <a:lstStyle/>
          <a:p>
            <a:pPr defTabSz="699390"/>
            <a:endParaRPr lang="ru-RU" sz="900" b="1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6" name="Равнобедренный треугольник 279"/>
          <p:cNvSpPr/>
          <p:nvPr/>
        </p:nvSpPr>
        <p:spPr>
          <a:xfrm rot="10800000">
            <a:off x="4836962" y="1014110"/>
            <a:ext cx="177442" cy="202791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81000" tIns="0" rIns="0" bIns="0" rtlCol="0" anchor="ctr"/>
          <a:lstStyle/>
          <a:p>
            <a:pPr defTabSz="699390"/>
            <a:endParaRPr lang="ru-RU" sz="900" b="1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7" name="Равнобедренный треугольник 281"/>
          <p:cNvSpPr/>
          <p:nvPr/>
        </p:nvSpPr>
        <p:spPr>
          <a:xfrm rot="10800000">
            <a:off x="7367100" y="1014110"/>
            <a:ext cx="177442" cy="202791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81000" tIns="0" rIns="0" bIns="0" rtlCol="0" anchor="ctr"/>
          <a:lstStyle/>
          <a:p>
            <a:pPr defTabSz="699390"/>
            <a:endParaRPr lang="ru-RU" sz="900" b="1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8" name="Равнобедренный треугольник 283"/>
          <p:cNvSpPr/>
          <p:nvPr/>
        </p:nvSpPr>
        <p:spPr>
          <a:xfrm rot="10800000">
            <a:off x="8647731" y="1014110"/>
            <a:ext cx="177442" cy="202791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81000" tIns="0" rIns="0" bIns="0" rtlCol="0" anchor="ctr"/>
          <a:lstStyle/>
          <a:p>
            <a:pPr defTabSz="699390"/>
            <a:endParaRPr lang="ru-RU" sz="900" b="1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9" name="Скругленный прямоугольник 166"/>
          <p:cNvSpPr/>
          <p:nvPr>
            <p:custDataLst>
              <p:tags r:id="rId101"/>
            </p:custDataLst>
          </p:nvPr>
        </p:nvSpPr>
        <p:spPr>
          <a:xfrm>
            <a:off x="3627777" y="4375798"/>
            <a:ext cx="3683209" cy="132593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50" name="Прямоугольник 169"/>
          <p:cNvSpPr/>
          <p:nvPr>
            <p:custDataLst>
              <p:tags r:id="rId102"/>
            </p:custDataLst>
          </p:nvPr>
        </p:nvSpPr>
        <p:spPr>
          <a:xfrm>
            <a:off x="3691243" y="4376253"/>
            <a:ext cx="2531757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сещение производства топ-менеджерами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251" name="Соединительная линия уступом 170"/>
          <p:cNvCxnSpPr>
            <a:cxnSpLocks/>
            <a:endCxn id="173" idx="1"/>
          </p:cNvCxnSpPr>
          <p:nvPr>
            <p:custDataLst>
              <p:tags r:id="rId103"/>
            </p:custDataLst>
          </p:nvPr>
        </p:nvCxnSpPr>
        <p:spPr>
          <a:xfrm flipV="1">
            <a:off x="4573443" y="4272085"/>
            <a:ext cx="263521" cy="1028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D98616"/>
            </a:solidFill>
            <a:prstDash val="solid"/>
            <a:tailEnd type="triangle"/>
          </a:ln>
          <a:effectLst/>
        </p:spPr>
      </p:cxnSp>
      <p:sp>
        <p:nvSpPr>
          <p:cNvPr id="252" name="Скругленный прямоугольник 194"/>
          <p:cNvSpPr/>
          <p:nvPr>
            <p:custDataLst>
              <p:tags r:id="rId104"/>
            </p:custDataLst>
          </p:nvPr>
        </p:nvSpPr>
        <p:spPr>
          <a:xfrm>
            <a:off x="7549292" y="4559941"/>
            <a:ext cx="1165243" cy="130578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53" name="Прямоугольник 195"/>
          <p:cNvSpPr/>
          <p:nvPr>
            <p:custDataLst>
              <p:tags r:id="rId105"/>
            </p:custDataLst>
          </p:nvPr>
        </p:nvSpPr>
        <p:spPr>
          <a:xfrm>
            <a:off x="7596543" y="4557794"/>
            <a:ext cx="1089991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ни информирования</a:t>
            </a:r>
          </a:p>
        </p:txBody>
      </p:sp>
      <p:sp>
        <p:nvSpPr>
          <p:cNvPr id="255" name="TextBox 254"/>
          <p:cNvSpPr txBox="1"/>
          <p:nvPr/>
        </p:nvSpPr>
        <p:spPr>
          <a:xfrm>
            <a:off x="2452956" y="790607"/>
            <a:ext cx="25359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>
                <a:solidFill>
                  <a:srgbClr val="D74167"/>
                </a:solidFill>
              </a:rPr>
              <a:t>0</a:t>
            </a:r>
          </a:p>
        </p:txBody>
      </p:sp>
      <p:sp>
        <p:nvSpPr>
          <p:cNvPr id="256" name="TextBox 255"/>
          <p:cNvSpPr txBox="1"/>
          <p:nvPr/>
        </p:nvSpPr>
        <p:spPr>
          <a:xfrm>
            <a:off x="1013063" y="806252"/>
            <a:ext cx="60625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>
                <a:solidFill>
                  <a:srgbClr val="D74167"/>
                </a:solidFill>
              </a:rPr>
              <a:t>- 3 мес.</a:t>
            </a:r>
          </a:p>
        </p:txBody>
      </p:sp>
      <p:sp>
        <p:nvSpPr>
          <p:cNvPr id="257" name="TextBox 256"/>
          <p:cNvSpPr txBox="1"/>
          <p:nvPr/>
        </p:nvSpPr>
        <p:spPr>
          <a:xfrm>
            <a:off x="4695983" y="806243"/>
            <a:ext cx="53412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>
                <a:solidFill>
                  <a:srgbClr val="D74167"/>
                </a:solidFill>
              </a:rPr>
              <a:t>3 мес.</a:t>
            </a:r>
          </a:p>
        </p:txBody>
      </p:sp>
      <p:sp>
        <p:nvSpPr>
          <p:cNvPr id="258" name="TextBox 257"/>
          <p:cNvSpPr txBox="1"/>
          <p:nvPr/>
        </p:nvSpPr>
        <p:spPr>
          <a:xfrm>
            <a:off x="7235329" y="806243"/>
            <a:ext cx="53412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>
                <a:solidFill>
                  <a:srgbClr val="D74167"/>
                </a:solidFill>
              </a:rPr>
              <a:t>6 мес.</a:t>
            </a:r>
          </a:p>
        </p:txBody>
      </p:sp>
      <p:sp>
        <p:nvSpPr>
          <p:cNvPr id="259" name="TextBox 258"/>
          <p:cNvSpPr txBox="1"/>
          <p:nvPr/>
        </p:nvSpPr>
        <p:spPr>
          <a:xfrm>
            <a:off x="8388254" y="806244"/>
            <a:ext cx="60305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>
                <a:solidFill>
                  <a:srgbClr val="D74167"/>
                </a:solidFill>
              </a:rPr>
              <a:t>36 мес.</a:t>
            </a:r>
          </a:p>
        </p:txBody>
      </p:sp>
    </p:spTree>
    <p:extLst>
      <p:ext uri="{BB962C8B-B14F-4D97-AF65-F5344CB8AC3E}">
        <p14:creationId xmlns:p14="http://schemas.microsoft.com/office/powerpoint/2010/main" val="11297815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9466" y="381581"/>
            <a:ext cx="6251971" cy="164917"/>
          </a:xfrm>
        </p:spPr>
        <p:txBody>
          <a:bodyPr/>
          <a:lstStyle/>
          <a:p>
            <a:r>
              <a:rPr lang="ru-RU" dirty="0"/>
              <a:t>Процесс реализации программы на отдельном предприятии-участнике </a:t>
            </a:r>
          </a:p>
        </p:txBody>
      </p:sp>
      <p:sp>
        <p:nvSpPr>
          <p:cNvPr id="141" name="Прямоугольник 4"/>
          <p:cNvSpPr/>
          <p:nvPr>
            <p:custDataLst>
              <p:tags r:id="rId1"/>
            </p:custDataLst>
          </p:nvPr>
        </p:nvSpPr>
        <p:spPr>
          <a:xfrm>
            <a:off x="780495" y="4143563"/>
            <a:ext cx="8043653" cy="592521"/>
          </a:xfrm>
          <a:prstGeom prst="rect">
            <a:avLst/>
          </a:prstGeom>
          <a:solidFill>
            <a:srgbClr val="F79646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60948" tIns="30474" rIns="60948" bIns="30474" rtlCol="0" anchor="ctr"/>
          <a:lstStyle/>
          <a:p>
            <a:pPr algn="ctr"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2" name="Прямоугольник 5"/>
          <p:cNvSpPr/>
          <p:nvPr>
            <p:custDataLst>
              <p:tags r:id="rId2"/>
            </p:custDataLst>
          </p:nvPr>
        </p:nvSpPr>
        <p:spPr>
          <a:xfrm>
            <a:off x="932688" y="3487336"/>
            <a:ext cx="7891460" cy="688274"/>
          </a:xfrm>
          <a:prstGeom prst="rect">
            <a:avLst/>
          </a:prstGeom>
          <a:solidFill>
            <a:srgbClr val="9BBB59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60948" tIns="30474" rIns="60948" bIns="30474" rtlCol="0" anchor="ctr"/>
          <a:lstStyle/>
          <a:p>
            <a:pPr algn="ctr"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3" name="Прямоугольник 6"/>
          <p:cNvSpPr/>
          <p:nvPr>
            <p:custDataLst>
              <p:tags r:id="rId3"/>
            </p:custDataLst>
          </p:nvPr>
        </p:nvSpPr>
        <p:spPr>
          <a:xfrm>
            <a:off x="810768" y="1837289"/>
            <a:ext cx="8013383" cy="806898"/>
          </a:xfrm>
          <a:prstGeom prst="rect">
            <a:avLst/>
          </a:prstGeom>
          <a:solidFill>
            <a:srgbClr val="D8F2FB"/>
          </a:solidFill>
          <a:ln w="25400" cap="flat" cmpd="sng" algn="ctr">
            <a:noFill/>
            <a:prstDash val="solid"/>
          </a:ln>
          <a:effectLst/>
        </p:spPr>
        <p:txBody>
          <a:bodyPr lIns="60948" tIns="30474" rIns="60948" bIns="30474" rtlCol="0" anchor="ctr"/>
          <a:lstStyle/>
          <a:p>
            <a:pPr algn="ctr"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4" name="Прямоугольник 7"/>
          <p:cNvSpPr/>
          <p:nvPr>
            <p:custDataLst>
              <p:tags r:id="rId4"/>
            </p:custDataLst>
          </p:nvPr>
        </p:nvSpPr>
        <p:spPr>
          <a:xfrm>
            <a:off x="883920" y="2644186"/>
            <a:ext cx="7940231" cy="865001"/>
          </a:xfrm>
          <a:prstGeom prst="rect">
            <a:avLst/>
          </a:prstGeom>
          <a:solidFill>
            <a:srgbClr val="E6E0EC"/>
          </a:solidFill>
          <a:ln w="25400" cap="flat" cmpd="sng" algn="ctr">
            <a:noFill/>
            <a:prstDash val="solid"/>
          </a:ln>
          <a:effectLst/>
        </p:spPr>
        <p:txBody>
          <a:bodyPr lIns="60948" tIns="30474" rIns="60948" bIns="30474" rtlCol="0" anchor="ctr"/>
          <a:lstStyle/>
          <a:p>
            <a:pPr algn="ctr"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5" name="Прямоугольник 8"/>
          <p:cNvSpPr/>
          <p:nvPr>
            <p:custDataLst>
              <p:tags r:id="rId5"/>
            </p:custDataLst>
          </p:nvPr>
        </p:nvSpPr>
        <p:spPr>
          <a:xfrm>
            <a:off x="810768" y="1224279"/>
            <a:ext cx="8013383" cy="64906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0948" tIns="30474" rIns="60948" bIns="30474" rtlCol="0" anchor="ctr"/>
          <a:lstStyle/>
          <a:p>
            <a:pPr algn="ctr"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7" name="Пятиугольник 12"/>
          <p:cNvSpPr/>
          <p:nvPr>
            <p:custDataLst>
              <p:tags r:id="rId6"/>
            </p:custDataLst>
          </p:nvPr>
        </p:nvSpPr>
        <p:spPr>
          <a:xfrm>
            <a:off x="319849" y="1224279"/>
            <a:ext cx="815393" cy="649060"/>
          </a:xfrm>
          <a:prstGeom prst="homePlate">
            <a:avLst>
              <a:gd name="adj" fmla="val 5883"/>
            </a:avLst>
          </a:prstGeom>
          <a:solidFill>
            <a:sysClr val="window" lastClr="FFFFFF">
              <a:lumMod val="85000"/>
            </a:sys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КОМПОЗИЦИЯ</a:t>
            </a:r>
            <a:b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ЕЙ</a:t>
            </a:r>
          </a:p>
        </p:txBody>
      </p:sp>
      <p:sp>
        <p:nvSpPr>
          <p:cNvPr id="148" name="Пятиугольник 13"/>
          <p:cNvSpPr/>
          <p:nvPr>
            <p:custDataLst>
              <p:tags r:id="rId7"/>
            </p:custDataLst>
          </p:nvPr>
        </p:nvSpPr>
        <p:spPr>
          <a:xfrm>
            <a:off x="319849" y="1873341"/>
            <a:ext cx="815393" cy="770846"/>
          </a:xfrm>
          <a:prstGeom prst="homePlate">
            <a:avLst>
              <a:gd name="adj" fmla="val 5614"/>
            </a:avLst>
          </a:prstGeom>
          <a:solidFill>
            <a:srgbClr val="3BBEED">
              <a:lumMod val="40000"/>
              <a:lumOff val="60000"/>
            </a:srgb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ТИМИЗАЦИЯ ПОТОКОВ ПО ПРОИЗВОДСТВУ ПРОДУКЦИИ</a:t>
            </a:r>
          </a:p>
        </p:txBody>
      </p:sp>
      <p:sp>
        <p:nvSpPr>
          <p:cNvPr id="149" name="Пятиугольник 14"/>
          <p:cNvSpPr/>
          <p:nvPr>
            <p:custDataLst>
              <p:tags r:id="rId8"/>
            </p:custDataLst>
          </p:nvPr>
        </p:nvSpPr>
        <p:spPr>
          <a:xfrm>
            <a:off x="319849" y="3485817"/>
            <a:ext cx="815393" cy="689793"/>
          </a:xfrm>
          <a:prstGeom prst="homePlate">
            <a:avLst>
              <a:gd name="adj" fmla="val 7344"/>
            </a:avLst>
          </a:prstGeom>
          <a:solidFill>
            <a:srgbClr val="9BBB59">
              <a:lumMod val="60000"/>
              <a:lumOff val="40000"/>
            </a:srgb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УЧЕНИЕ</a:t>
            </a:r>
          </a:p>
        </p:txBody>
      </p:sp>
      <p:sp>
        <p:nvSpPr>
          <p:cNvPr id="150" name="Пятиугольник 15"/>
          <p:cNvSpPr/>
          <p:nvPr>
            <p:custDataLst>
              <p:tags r:id="rId9"/>
            </p:custDataLst>
          </p:nvPr>
        </p:nvSpPr>
        <p:spPr>
          <a:xfrm>
            <a:off x="319849" y="4162931"/>
            <a:ext cx="815393" cy="582804"/>
          </a:xfrm>
          <a:prstGeom prst="homePlate">
            <a:avLst>
              <a:gd name="adj" fmla="val 8204"/>
            </a:avLst>
          </a:prstGeom>
          <a:solidFill>
            <a:srgbClr val="F79646">
              <a:lumMod val="60000"/>
              <a:lumOff val="40000"/>
            </a:srgb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ИЗМЕНЕНИЯМИ</a:t>
            </a:r>
          </a:p>
        </p:txBody>
      </p:sp>
      <p:sp>
        <p:nvSpPr>
          <p:cNvPr id="151" name="Пятиугольник 16"/>
          <p:cNvSpPr/>
          <p:nvPr>
            <p:custDataLst>
              <p:tags r:id="rId10"/>
            </p:custDataLst>
          </p:nvPr>
        </p:nvSpPr>
        <p:spPr>
          <a:xfrm>
            <a:off x="319849" y="2644186"/>
            <a:ext cx="815393" cy="865001"/>
          </a:xfrm>
          <a:prstGeom prst="homePlate">
            <a:avLst>
              <a:gd name="adj" fmla="val 6286"/>
            </a:avLst>
          </a:prstGeom>
          <a:solidFill>
            <a:srgbClr val="8064A2">
              <a:lumMod val="40000"/>
              <a:lumOff val="60000"/>
            </a:srgb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</a:t>
            </a:r>
            <a:b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АМИ И МЕТОДОЛОГИЕЙ</a:t>
            </a:r>
          </a:p>
        </p:txBody>
      </p:sp>
      <p:sp>
        <p:nvSpPr>
          <p:cNvPr id="152" name="Скругленный прямоугольник 17"/>
          <p:cNvSpPr/>
          <p:nvPr>
            <p:custDataLst>
              <p:tags r:id="rId11"/>
            </p:custDataLst>
          </p:nvPr>
        </p:nvSpPr>
        <p:spPr>
          <a:xfrm>
            <a:off x="2765141" y="1285882"/>
            <a:ext cx="2071818" cy="229943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3" name="Скругленный прямоугольник 18"/>
          <p:cNvSpPr/>
          <p:nvPr>
            <p:custDataLst>
              <p:tags r:id="rId12"/>
            </p:custDataLst>
          </p:nvPr>
        </p:nvSpPr>
        <p:spPr>
          <a:xfrm>
            <a:off x="1479197" y="1915979"/>
            <a:ext cx="944694" cy="665248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40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4" name="Прямоугольник 19"/>
          <p:cNvSpPr/>
          <p:nvPr>
            <p:custDataLst>
              <p:tags r:id="rId13"/>
            </p:custDataLst>
          </p:nvPr>
        </p:nvSpPr>
        <p:spPr>
          <a:xfrm>
            <a:off x="1524528" y="2031338"/>
            <a:ext cx="856689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10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ыбор потоков для оптимизации </a:t>
            </a:r>
            <a:endParaRPr lang="ru-RU" sz="10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55" name="Прямоугольник 20"/>
          <p:cNvSpPr/>
          <p:nvPr>
            <p:custDataLst>
              <p:tags r:id="rId14"/>
            </p:custDataLst>
          </p:nvPr>
        </p:nvSpPr>
        <p:spPr>
          <a:xfrm>
            <a:off x="2825626" y="1334280"/>
            <a:ext cx="192949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азработка дерева целей, постановка КПЭ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56" name="Скругленный прямоугольник 21"/>
          <p:cNvSpPr/>
          <p:nvPr>
            <p:custDataLst>
              <p:tags r:id="rId15"/>
            </p:custDataLst>
          </p:nvPr>
        </p:nvSpPr>
        <p:spPr>
          <a:xfrm>
            <a:off x="1477151" y="3509467"/>
            <a:ext cx="948680" cy="352293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7" name="Прямоугольник 22"/>
          <p:cNvSpPr/>
          <p:nvPr>
            <p:custDataLst>
              <p:tags r:id="rId16"/>
            </p:custDataLst>
          </p:nvPr>
        </p:nvSpPr>
        <p:spPr>
          <a:xfrm>
            <a:off x="1486351" y="3514510"/>
            <a:ext cx="945474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учение/стажировка рабочей группы пилотного проекта по оптимизации потоков</a:t>
            </a:r>
          </a:p>
        </p:txBody>
      </p:sp>
      <p:sp>
        <p:nvSpPr>
          <p:cNvPr id="158" name="Скругленный прямоугольник 23"/>
          <p:cNvSpPr/>
          <p:nvPr>
            <p:custDataLst>
              <p:tags r:id="rId17"/>
            </p:custDataLst>
          </p:nvPr>
        </p:nvSpPr>
        <p:spPr>
          <a:xfrm>
            <a:off x="2746579" y="2366582"/>
            <a:ext cx="2090383" cy="229943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9" name="Прямоугольник 24"/>
          <p:cNvSpPr/>
          <p:nvPr>
            <p:custDataLst>
              <p:tags r:id="rId18"/>
            </p:custDataLst>
          </p:nvPr>
        </p:nvSpPr>
        <p:spPr>
          <a:xfrm>
            <a:off x="2815428" y="2397966"/>
            <a:ext cx="1900542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10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оздание участков-образцов</a:t>
            </a:r>
          </a:p>
        </p:txBody>
      </p:sp>
      <p:sp>
        <p:nvSpPr>
          <p:cNvPr id="160" name="Скругленный прямоугольник 25"/>
          <p:cNvSpPr/>
          <p:nvPr>
            <p:custDataLst>
              <p:tags r:id="rId19"/>
            </p:custDataLst>
          </p:nvPr>
        </p:nvSpPr>
        <p:spPr>
          <a:xfrm>
            <a:off x="5390485" y="1929702"/>
            <a:ext cx="1920505" cy="409809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1" name="Прямоугольник 26"/>
          <p:cNvSpPr/>
          <p:nvPr>
            <p:custDataLst>
              <p:tags r:id="rId20"/>
            </p:custDataLst>
          </p:nvPr>
        </p:nvSpPr>
        <p:spPr>
          <a:xfrm>
            <a:off x="5407710" y="1929958"/>
            <a:ext cx="1880421" cy="4154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9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еализация мероприятий по достижению целевого состояния потоков</a:t>
            </a:r>
            <a:endParaRPr lang="ru-RU" sz="9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2" name="Скругленный прямоугольник 27"/>
          <p:cNvSpPr/>
          <p:nvPr>
            <p:custDataLst>
              <p:tags r:id="rId21"/>
            </p:custDataLst>
          </p:nvPr>
        </p:nvSpPr>
        <p:spPr>
          <a:xfrm>
            <a:off x="5381496" y="1289913"/>
            <a:ext cx="1929495" cy="443391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3" name="Прямоугольник 28"/>
          <p:cNvSpPr/>
          <p:nvPr>
            <p:custDataLst>
              <p:tags r:id="rId22"/>
            </p:custDataLst>
          </p:nvPr>
        </p:nvSpPr>
        <p:spPr>
          <a:xfrm>
            <a:off x="5468667" y="1442591"/>
            <a:ext cx="1796379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9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недрение инфоцентра предприятия</a:t>
            </a:r>
            <a:endParaRPr lang="ru-RU" sz="9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4" name="Скругленный прямоугольник 29"/>
          <p:cNvSpPr/>
          <p:nvPr>
            <p:custDataLst>
              <p:tags r:id="rId23"/>
            </p:custDataLst>
          </p:nvPr>
        </p:nvSpPr>
        <p:spPr>
          <a:xfrm>
            <a:off x="2765141" y="1603244"/>
            <a:ext cx="2071818" cy="224747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/>
            <a:endParaRPr lang="ru-RU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5" name="Скругленный прямоугольник 32"/>
          <p:cNvSpPr/>
          <p:nvPr>
            <p:custDataLst>
              <p:tags r:id="rId24"/>
            </p:custDataLst>
          </p:nvPr>
        </p:nvSpPr>
        <p:spPr>
          <a:xfrm>
            <a:off x="7538720" y="3134383"/>
            <a:ext cx="1147817" cy="309983"/>
          </a:xfrm>
          <a:prstGeom prst="roundRect">
            <a:avLst/>
          </a:prstGeom>
          <a:solidFill>
            <a:srgbClr val="8064A2">
              <a:lumMod val="40000"/>
              <a:lumOff val="60000"/>
            </a:srgbClr>
          </a:solidFill>
          <a:ln w="9525" cap="flat" cmpd="sng" algn="ctr">
            <a:solidFill>
              <a:srgbClr val="8064A2"/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6" name="Прямоугольник 33"/>
          <p:cNvSpPr/>
          <p:nvPr>
            <p:custDataLst>
              <p:tags r:id="rId25"/>
            </p:custDataLst>
          </p:nvPr>
        </p:nvSpPr>
        <p:spPr>
          <a:xfrm>
            <a:off x="7566640" y="3196655"/>
            <a:ext cx="1119894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недрение системы по работе с предложениями по улучшениям</a:t>
            </a:r>
            <a:endParaRPr lang="ru-RU" sz="6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7" name="Скругленный прямоугольник 36"/>
          <p:cNvSpPr/>
          <p:nvPr>
            <p:custDataLst>
              <p:tags r:id="rId26"/>
            </p:custDataLst>
          </p:nvPr>
        </p:nvSpPr>
        <p:spPr>
          <a:xfrm>
            <a:off x="5389896" y="3751870"/>
            <a:ext cx="1921093" cy="355366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8" name="Прямоугольник 37"/>
          <p:cNvSpPr/>
          <p:nvPr>
            <p:custDataLst>
              <p:tags r:id="rId27"/>
            </p:custDataLst>
          </p:nvPr>
        </p:nvSpPr>
        <p:spPr>
          <a:xfrm>
            <a:off x="5463482" y="3791470"/>
            <a:ext cx="177184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9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учение участников (членов РГ) проектов</a:t>
            </a:r>
            <a:endParaRPr lang="ru-RU" sz="9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9" name="Скругленный прямоугольник 38"/>
          <p:cNvSpPr/>
          <p:nvPr>
            <p:custDataLst>
              <p:tags r:id="rId28"/>
            </p:custDataLst>
          </p:nvPr>
        </p:nvSpPr>
        <p:spPr>
          <a:xfrm>
            <a:off x="1475025" y="3996259"/>
            <a:ext cx="948865" cy="152522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0" name="Прямоугольник 39"/>
          <p:cNvSpPr/>
          <p:nvPr>
            <p:custDataLst>
              <p:tags r:id="rId29"/>
            </p:custDataLst>
          </p:nvPr>
        </p:nvSpPr>
        <p:spPr>
          <a:xfrm>
            <a:off x="1513328" y="4023719"/>
            <a:ext cx="858631" cy="923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учение ГД предприятия</a:t>
            </a:r>
            <a:endParaRPr lang="ru-RU" sz="6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71" name="Скругленный прямоугольник 40"/>
          <p:cNvSpPr/>
          <p:nvPr>
            <p:custDataLst>
              <p:tags r:id="rId30"/>
            </p:custDataLst>
          </p:nvPr>
        </p:nvSpPr>
        <p:spPr>
          <a:xfrm>
            <a:off x="2733233" y="4204796"/>
            <a:ext cx="1825752" cy="132593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2" name="Прямоугольник 41"/>
          <p:cNvSpPr/>
          <p:nvPr>
            <p:custDataLst>
              <p:tags r:id="rId31"/>
            </p:custDataLst>
          </p:nvPr>
        </p:nvSpPr>
        <p:spPr>
          <a:xfrm>
            <a:off x="2802114" y="4210483"/>
            <a:ext cx="170594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тартовое совещание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73" name="Скругленный прямоугольник 42"/>
          <p:cNvSpPr/>
          <p:nvPr>
            <p:custDataLst>
              <p:tags r:id="rId32"/>
            </p:custDataLst>
          </p:nvPr>
        </p:nvSpPr>
        <p:spPr>
          <a:xfrm>
            <a:off x="4836964" y="4204347"/>
            <a:ext cx="2474023" cy="135475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4" name="Прямоугольник 43"/>
          <p:cNvSpPr/>
          <p:nvPr>
            <p:custDataLst>
              <p:tags r:id="rId33"/>
            </p:custDataLst>
          </p:nvPr>
        </p:nvSpPr>
        <p:spPr>
          <a:xfrm>
            <a:off x="4867566" y="4209449"/>
            <a:ext cx="2404454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оведение Дней информирования</a:t>
            </a:r>
          </a:p>
        </p:txBody>
      </p:sp>
      <p:cxnSp>
        <p:nvCxnSpPr>
          <p:cNvPr id="175" name="Соединительная линия уступом 46"/>
          <p:cNvCxnSpPr>
            <a:cxnSpLocks/>
            <a:endCxn id="164" idx="1"/>
          </p:cNvCxnSpPr>
          <p:nvPr>
            <p:custDataLst>
              <p:tags r:id="rId34"/>
            </p:custDataLst>
          </p:nvPr>
        </p:nvCxnSpPr>
        <p:spPr>
          <a:xfrm>
            <a:off x="2121772" y="1515825"/>
            <a:ext cx="643369" cy="199793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176" name="Соединительная линия уступом 47"/>
          <p:cNvCxnSpPr>
            <a:cxnSpLocks/>
            <a:stCxn id="153" idx="3"/>
            <a:endCxn id="214" idx="1"/>
          </p:cNvCxnSpPr>
          <p:nvPr>
            <p:custDataLst>
              <p:tags r:id="rId35"/>
            </p:custDataLst>
          </p:nvPr>
        </p:nvCxnSpPr>
        <p:spPr>
          <a:xfrm flipV="1">
            <a:off x="2423891" y="2134609"/>
            <a:ext cx="322689" cy="113994"/>
          </a:xfrm>
          <a:prstGeom prst="bentConnector3">
            <a:avLst>
              <a:gd name="adj1" fmla="val 16940"/>
            </a:avLst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177" name="Соединительная линия уступом 48"/>
          <p:cNvCxnSpPr>
            <a:cxnSpLocks/>
            <a:stCxn id="153" idx="3"/>
          </p:cNvCxnSpPr>
          <p:nvPr>
            <p:custDataLst>
              <p:tags r:id="rId36"/>
            </p:custDataLst>
          </p:nvPr>
        </p:nvCxnSpPr>
        <p:spPr>
          <a:xfrm>
            <a:off x="2423891" y="2248603"/>
            <a:ext cx="316419" cy="149057"/>
          </a:xfrm>
          <a:prstGeom prst="bentConnector3">
            <a:avLst>
              <a:gd name="adj1" fmla="val 17088"/>
            </a:avLst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178" name="Соединительная линия уступом 49"/>
          <p:cNvCxnSpPr>
            <a:cxnSpLocks/>
            <a:stCxn id="214" idx="3"/>
            <a:endCxn id="160" idx="1"/>
          </p:cNvCxnSpPr>
          <p:nvPr>
            <p:custDataLst>
              <p:tags r:id="rId37"/>
            </p:custDataLst>
          </p:nvPr>
        </p:nvCxnSpPr>
        <p:spPr>
          <a:xfrm flipV="1">
            <a:off x="4836964" y="2134607"/>
            <a:ext cx="553521" cy="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179" name="Соединительная линия уступом 50"/>
          <p:cNvCxnSpPr/>
          <p:nvPr>
            <p:custDataLst>
              <p:tags r:id="rId38"/>
            </p:custDataLst>
          </p:nvPr>
        </p:nvCxnSpPr>
        <p:spPr>
          <a:xfrm>
            <a:off x="4558984" y="2757486"/>
            <a:ext cx="313973" cy="183947"/>
          </a:xfrm>
          <a:prstGeom prst="bentConnector2">
            <a:avLst/>
          </a:prstGeom>
          <a:noFill/>
          <a:ln w="9525" cap="flat" cmpd="sng" algn="ctr">
            <a:solidFill>
              <a:srgbClr val="8064A2"/>
            </a:solidFill>
            <a:prstDash val="solid"/>
            <a:tailEnd type="triangle"/>
          </a:ln>
          <a:effectLst/>
        </p:spPr>
      </p:cxnSp>
      <p:cxnSp>
        <p:nvCxnSpPr>
          <p:cNvPr id="180" name="Соединительная линия уступом 51"/>
          <p:cNvCxnSpPr>
            <a:cxnSpLocks/>
            <a:stCxn id="152" idx="3"/>
            <a:endCxn id="162" idx="1"/>
          </p:cNvCxnSpPr>
          <p:nvPr>
            <p:custDataLst>
              <p:tags r:id="rId39"/>
            </p:custDataLst>
          </p:nvPr>
        </p:nvCxnSpPr>
        <p:spPr>
          <a:xfrm>
            <a:off x="4836959" y="1400854"/>
            <a:ext cx="544537" cy="110755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tailEnd type="triangle"/>
          </a:ln>
          <a:effectLst/>
        </p:spPr>
      </p:cxnSp>
      <p:cxnSp>
        <p:nvCxnSpPr>
          <p:cNvPr id="181" name="Соединительная линия уступом 52"/>
          <p:cNvCxnSpPr>
            <a:cxnSpLocks/>
            <a:stCxn id="164" idx="3"/>
            <a:endCxn id="162" idx="1"/>
          </p:cNvCxnSpPr>
          <p:nvPr>
            <p:custDataLst>
              <p:tags r:id="rId40"/>
            </p:custDataLst>
          </p:nvPr>
        </p:nvCxnSpPr>
        <p:spPr>
          <a:xfrm flipV="1">
            <a:off x="4836959" y="1511609"/>
            <a:ext cx="544537" cy="204009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tailEnd type="triangle"/>
          </a:ln>
          <a:effectLst/>
        </p:spPr>
      </p:cxnSp>
      <p:cxnSp>
        <p:nvCxnSpPr>
          <p:cNvPr id="182" name="Прямая со стрелкой 53"/>
          <p:cNvCxnSpPr>
            <a:cxnSpLocks/>
            <a:endCxn id="228" idx="1"/>
          </p:cNvCxnSpPr>
          <p:nvPr>
            <p:custDataLst>
              <p:tags r:id="rId41"/>
            </p:custDataLst>
          </p:nvPr>
        </p:nvCxnSpPr>
        <p:spPr>
          <a:xfrm flipV="1">
            <a:off x="1330231" y="4472179"/>
            <a:ext cx="150908" cy="4970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183" name="Соединительная линия уступом 54"/>
          <p:cNvCxnSpPr>
            <a:cxnSpLocks/>
            <a:stCxn id="237" idx="3"/>
            <a:endCxn id="167" idx="1"/>
          </p:cNvCxnSpPr>
          <p:nvPr>
            <p:custDataLst>
              <p:tags r:id="rId42"/>
            </p:custDataLst>
          </p:nvPr>
        </p:nvCxnSpPr>
        <p:spPr>
          <a:xfrm>
            <a:off x="4872774" y="3713076"/>
            <a:ext cx="517122" cy="216477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9BBB59"/>
            </a:solidFill>
            <a:prstDash val="solid"/>
            <a:tailEnd type="triangle"/>
          </a:ln>
          <a:effectLst/>
        </p:spPr>
      </p:cxnSp>
      <p:cxnSp>
        <p:nvCxnSpPr>
          <p:cNvPr id="184" name="Соединительная линия уступом 58"/>
          <p:cNvCxnSpPr>
            <a:cxnSpLocks/>
            <a:stCxn id="169" idx="3"/>
          </p:cNvCxnSpPr>
          <p:nvPr>
            <p:custDataLst>
              <p:tags r:id="rId43"/>
            </p:custDataLst>
          </p:nvPr>
        </p:nvCxnSpPr>
        <p:spPr>
          <a:xfrm flipV="1">
            <a:off x="2423890" y="3406054"/>
            <a:ext cx="502141" cy="666466"/>
          </a:xfrm>
          <a:prstGeom prst="bentConnector2">
            <a:avLst/>
          </a:prstGeom>
          <a:noFill/>
          <a:ln w="9525" cap="flat" cmpd="sng" algn="ctr">
            <a:solidFill>
              <a:srgbClr val="9BBB59"/>
            </a:solidFill>
            <a:prstDash val="solid"/>
            <a:tailEnd type="triangle"/>
          </a:ln>
          <a:effectLst/>
        </p:spPr>
      </p:cxnSp>
      <p:cxnSp>
        <p:nvCxnSpPr>
          <p:cNvPr id="185" name="Соединительная линия уступом 63"/>
          <p:cNvCxnSpPr>
            <a:cxnSpLocks/>
            <a:stCxn id="162" idx="3"/>
          </p:cNvCxnSpPr>
          <p:nvPr>
            <p:custDataLst>
              <p:tags r:id="rId44"/>
            </p:custDataLst>
          </p:nvPr>
        </p:nvCxnSpPr>
        <p:spPr>
          <a:xfrm flipH="1">
            <a:off x="6131561" y="1511609"/>
            <a:ext cx="1179430" cy="1429821"/>
          </a:xfrm>
          <a:prstGeom prst="bentConnector4">
            <a:avLst>
              <a:gd name="adj1" fmla="val -12598"/>
              <a:gd name="adj2" fmla="val 70277"/>
            </a:avLst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tailEnd type="triangle"/>
          </a:ln>
          <a:effectLst/>
        </p:spPr>
      </p:cxnSp>
      <p:cxnSp>
        <p:nvCxnSpPr>
          <p:cNvPr id="186" name="Прямая соединительная линия 66"/>
          <p:cNvCxnSpPr/>
          <p:nvPr>
            <p:custDataLst>
              <p:tags r:id="rId45"/>
            </p:custDataLst>
          </p:nvPr>
        </p:nvCxnSpPr>
        <p:spPr>
          <a:xfrm>
            <a:off x="1331247" y="1446841"/>
            <a:ext cx="0" cy="3030308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</a:ln>
          <a:effectLst/>
        </p:spPr>
      </p:cxnSp>
      <p:cxnSp>
        <p:nvCxnSpPr>
          <p:cNvPr id="187" name="Прямая со стрелкой 67"/>
          <p:cNvCxnSpPr/>
          <p:nvPr>
            <p:custDataLst>
              <p:tags r:id="rId46"/>
            </p:custDataLst>
          </p:nvPr>
        </p:nvCxnSpPr>
        <p:spPr>
          <a:xfrm>
            <a:off x="1330231" y="2225770"/>
            <a:ext cx="150909" cy="1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188" name="Прямая со стрелкой 68"/>
          <p:cNvCxnSpPr>
            <a:cxnSpLocks/>
          </p:cNvCxnSpPr>
          <p:nvPr>
            <p:custDataLst>
              <p:tags r:id="rId47"/>
            </p:custDataLst>
          </p:nvPr>
        </p:nvCxnSpPr>
        <p:spPr>
          <a:xfrm>
            <a:off x="1324976" y="2860147"/>
            <a:ext cx="1421603" cy="1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sp>
        <p:nvSpPr>
          <p:cNvPr id="189" name="Пятиугольник 69"/>
          <p:cNvSpPr/>
          <p:nvPr>
            <p:custDataLst>
              <p:tags r:id="rId48"/>
            </p:custDataLst>
          </p:nvPr>
        </p:nvSpPr>
        <p:spPr>
          <a:xfrm>
            <a:off x="7401127" y="1055301"/>
            <a:ext cx="1346358" cy="183522"/>
          </a:xfrm>
          <a:prstGeom prst="homePlate">
            <a:avLst>
              <a:gd name="adj" fmla="val 10366"/>
            </a:avLst>
          </a:prstGeom>
          <a:solidFill>
            <a:schemeClr val="accent5"/>
          </a:solidFill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189000" tIns="0" rIns="0" bIns="0" rtlCol="0" anchor="ctr"/>
          <a:lstStyle/>
          <a:p>
            <a:pPr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иражирование</a:t>
            </a:r>
          </a:p>
        </p:txBody>
      </p:sp>
      <p:sp>
        <p:nvSpPr>
          <p:cNvPr id="190" name="Пятиугольник 70"/>
          <p:cNvSpPr/>
          <p:nvPr>
            <p:custDataLst>
              <p:tags r:id="rId49"/>
            </p:custDataLst>
          </p:nvPr>
        </p:nvSpPr>
        <p:spPr>
          <a:xfrm>
            <a:off x="4894681" y="1055301"/>
            <a:ext cx="2557679" cy="183522"/>
          </a:xfrm>
          <a:prstGeom prst="homePlate">
            <a:avLst>
              <a:gd name="adj" fmla="val 10366"/>
            </a:avLst>
          </a:prstGeom>
          <a:solidFill>
            <a:srgbClr val="EBE99B">
              <a:lumMod val="60000"/>
              <a:lumOff val="40000"/>
            </a:srgbClr>
          </a:solidFill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39856" tIns="0" rIns="0" bIns="0" rtlCol="0" anchor="ctr"/>
          <a:lstStyle/>
          <a:p>
            <a:pPr algn="ctr" defTabSz="683953"/>
            <a:r>
              <a:rPr lang="ru-RU" sz="675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дрение улучшений</a:t>
            </a:r>
          </a:p>
        </p:txBody>
      </p:sp>
      <p:sp>
        <p:nvSpPr>
          <p:cNvPr id="191" name="Пятиугольник 71"/>
          <p:cNvSpPr/>
          <p:nvPr>
            <p:custDataLst>
              <p:tags r:id="rId50"/>
            </p:custDataLst>
          </p:nvPr>
        </p:nvSpPr>
        <p:spPr>
          <a:xfrm>
            <a:off x="2567106" y="1055301"/>
            <a:ext cx="2385084" cy="183522"/>
          </a:xfrm>
          <a:prstGeom prst="homePlate">
            <a:avLst>
              <a:gd name="adj" fmla="val 10366"/>
            </a:avLst>
          </a:prstGeom>
          <a:solidFill>
            <a:srgbClr val="EBE99B">
              <a:lumMod val="60000"/>
              <a:lumOff val="40000"/>
            </a:srgbClr>
          </a:solidFill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39856" tIns="0" rIns="0" bIns="0" rtlCol="0" anchor="ctr"/>
          <a:lstStyle/>
          <a:p>
            <a:pPr defTabSz="683953"/>
            <a:r>
              <a:rPr lang="ru-RU" sz="675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агностика и планирование</a:t>
            </a:r>
          </a:p>
        </p:txBody>
      </p:sp>
      <p:sp>
        <p:nvSpPr>
          <p:cNvPr id="192" name="Пятиугольник 72"/>
          <p:cNvSpPr/>
          <p:nvPr>
            <p:custDataLst>
              <p:tags r:id="rId51"/>
            </p:custDataLst>
          </p:nvPr>
        </p:nvSpPr>
        <p:spPr>
          <a:xfrm>
            <a:off x="1330233" y="1055301"/>
            <a:ext cx="1230122" cy="183522"/>
          </a:xfrm>
          <a:prstGeom prst="homePlate">
            <a:avLst>
              <a:gd name="adj" fmla="val 10366"/>
            </a:avLst>
          </a:prstGeom>
          <a:solidFill>
            <a:srgbClr val="EBE99B">
              <a:lumMod val="60000"/>
              <a:lumOff val="40000"/>
            </a:srgbClr>
          </a:solidFill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39856" tIns="0" rIns="0" bIns="0" rtlCol="0" anchor="ctr"/>
          <a:lstStyle/>
          <a:p>
            <a:pPr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ка </a:t>
            </a:r>
          </a:p>
        </p:txBody>
      </p:sp>
      <p:cxnSp>
        <p:nvCxnSpPr>
          <p:cNvPr id="193" name="Прямая со стрелкой 88"/>
          <p:cNvCxnSpPr/>
          <p:nvPr>
            <p:custDataLst>
              <p:tags r:id="rId52"/>
            </p:custDataLst>
          </p:nvPr>
        </p:nvCxnSpPr>
        <p:spPr>
          <a:xfrm>
            <a:off x="1330231" y="4104578"/>
            <a:ext cx="150909" cy="1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sp>
        <p:nvSpPr>
          <p:cNvPr id="194" name="TextBox 193"/>
          <p:cNvSpPr txBox="1"/>
          <p:nvPr>
            <p:custDataLst>
              <p:tags r:id="rId53"/>
            </p:custDataLst>
          </p:nvPr>
        </p:nvSpPr>
        <p:spPr>
          <a:xfrm>
            <a:off x="1392091" y="1196350"/>
            <a:ext cx="1251191" cy="276835"/>
          </a:xfrm>
          <a:prstGeom prst="rect">
            <a:avLst/>
          </a:prstGeom>
          <a:noFill/>
        </p:spPr>
        <p:txBody>
          <a:bodyPr wrap="square" lIns="60798" tIns="30399" rIns="60798" bIns="30399" rtlCol="0" anchor="ctr">
            <a:spAutoFit/>
          </a:bodyPr>
          <a:lstStyle/>
          <a:p>
            <a:pPr defTabSz="683953"/>
            <a:r>
              <a:rPr lang="ru-RU" sz="7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бор предприятия и подписание соглашения</a:t>
            </a:r>
          </a:p>
        </p:txBody>
      </p:sp>
      <p:sp>
        <p:nvSpPr>
          <p:cNvPr id="195" name="Скругленный прямоугольник 91"/>
          <p:cNvSpPr/>
          <p:nvPr>
            <p:custDataLst>
              <p:tags r:id="rId54"/>
            </p:custDataLst>
          </p:nvPr>
        </p:nvSpPr>
        <p:spPr>
          <a:xfrm>
            <a:off x="7544542" y="1270522"/>
            <a:ext cx="1143878" cy="176318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6" name="Прямоугольник 92"/>
          <p:cNvSpPr/>
          <p:nvPr>
            <p:custDataLst>
              <p:tags r:id="rId55"/>
            </p:custDataLst>
          </p:nvPr>
        </p:nvSpPr>
        <p:spPr>
          <a:xfrm>
            <a:off x="7594601" y="1308882"/>
            <a:ext cx="1093816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7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Актуализация целей и КПЭ</a:t>
            </a:r>
          </a:p>
        </p:txBody>
      </p:sp>
      <p:sp>
        <p:nvSpPr>
          <p:cNvPr id="197" name="Скругленный прямоугольник 93"/>
          <p:cNvSpPr/>
          <p:nvPr>
            <p:custDataLst>
              <p:tags r:id="rId56"/>
            </p:custDataLst>
          </p:nvPr>
        </p:nvSpPr>
        <p:spPr>
          <a:xfrm>
            <a:off x="7544539" y="1890326"/>
            <a:ext cx="1141998" cy="229943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8" name="Прямоугольник 94"/>
          <p:cNvSpPr/>
          <p:nvPr>
            <p:custDataLst>
              <p:tags r:id="rId57"/>
            </p:custDataLst>
          </p:nvPr>
        </p:nvSpPr>
        <p:spPr>
          <a:xfrm>
            <a:off x="7594602" y="1916533"/>
            <a:ext cx="109381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7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ыбор и оптимизация новых потоков</a:t>
            </a:r>
            <a:endParaRPr lang="ru-RU" sz="7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99" name="Скругленный прямоугольник 95"/>
          <p:cNvSpPr/>
          <p:nvPr>
            <p:custDataLst>
              <p:tags r:id="rId58"/>
            </p:custDataLst>
          </p:nvPr>
        </p:nvSpPr>
        <p:spPr>
          <a:xfrm>
            <a:off x="7539336" y="2163503"/>
            <a:ext cx="1147201" cy="361395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00" name="Прямоугольник 96"/>
          <p:cNvSpPr/>
          <p:nvPr>
            <p:custDataLst>
              <p:tags r:id="rId59"/>
            </p:custDataLst>
          </p:nvPr>
        </p:nvSpPr>
        <p:spPr>
          <a:xfrm>
            <a:off x="7592722" y="2175159"/>
            <a:ext cx="1093815" cy="276999"/>
          </a:xfrm>
          <a:prstGeom prst="rect">
            <a:avLst/>
          </a:prstGeom>
          <a:ln>
            <a:noFill/>
            <a:prstDash val="lgDash"/>
          </a:ln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еализация мероприятий по достижению/приближению идеального состояния потоков</a:t>
            </a:r>
          </a:p>
        </p:txBody>
      </p:sp>
      <p:sp>
        <p:nvSpPr>
          <p:cNvPr id="201" name="Скругленный прямоугольник 97"/>
          <p:cNvSpPr/>
          <p:nvPr>
            <p:custDataLst>
              <p:tags r:id="rId60"/>
            </p:custDataLst>
          </p:nvPr>
        </p:nvSpPr>
        <p:spPr>
          <a:xfrm>
            <a:off x="7549589" y="2711494"/>
            <a:ext cx="1136947" cy="371975"/>
          </a:xfrm>
          <a:prstGeom prst="roundRect">
            <a:avLst>
              <a:gd name="adj" fmla="val 10521"/>
            </a:avLst>
          </a:prstGeom>
          <a:solidFill>
            <a:srgbClr val="8064A2">
              <a:lumMod val="40000"/>
              <a:lumOff val="60000"/>
            </a:srgbClr>
          </a:solidFill>
          <a:ln w="9525" cap="flat" cmpd="sng" algn="ctr">
            <a:solidFill>
              <a:srgbClr val="8064A2"/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02" name="Прямоугольник 98"/>
          <p:cNvSpPr/>
          <p:nvPr>
            <p:custDataLst>
              <p:tags r:id="rId61"/>
            </p:custDataLst>
          </p:nvPr>
        </p:nvSpPr>
        <p:spPr>
          <a:xfrm>
            <a:off x="7599508" y="2721649"/>
            <a:ext cx="113694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ткрытие и реализация проектов по оптимизации дополнительных потоков и процессов</a:t>
            </a:r>
            <a:endParaRPr lang="ru-RU" sz="6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03" name="Овал 105"/>
          <p:cNvSpPr/>
          <p:nvPr>
            <p:custDataLst>
              <p:tags r:id="rId62"/>
            </p:custDataLst>
          </p:nvPr>
        </p:nvSpPr>
        <p:spPr>
          <a:xfrm>
            <a:off x="1259897" y="1270524"/>
            <a:ext cx="167592" cy="181427"/>
          </a:xfrm>
          <a:prstGeom prst="ellipse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900" b="1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4" name="Прямоугольник 110"/>
          <p:cNvSpPr/>
          <p:nvPr>
            <p:custDataLst>
              <p:tags r:id="rId63"/>
            </p:custDataLst>
          </p:nvPr>
        </p:nvSpPr>
        <p:spPr>
          <a:xfrm>
            <a:off x="2851409" y="1658530"/>
            <a:ext cx="1875930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7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недрение пилотного информационного центра</a:t>
            </a:r>
            <a:endParaRPr lang="ru-RU" sz="7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205" name="Прямая со стрелкой 112"/>
          <p:cNvCxnSpPr/>
          <p:nvPr>
            <p:custDataLst>
              <p:tags r:id="rId64"/>
            </p:custDataLst>
          </p:nvPr>
        </p:nvCxnSpPr>
        <p:spPr>
          <a:xfrm>
            <a:off x="1330231" y="3668117"/>
            <a:ext cx="150909" cy="1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206" name="Соединительная линия уступом 113"/>
          <p:cNvCxnSpPr>
            <a:cxnSpLocks/>
            <a:endCxn id="152" idx="1"/>
          </p:cNvCxnSpPr>
          <p:nvPr/>
        </p:nvCxnSpPr>
        <p:spPr>
          <a:xfrm flipV="1">
            <a:off x="2121767" y="1400854"/>
            <a:ext cx="643374" cy="114968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207" name="Прямая со стрелкой 114"/>
          <p:cNvCxnSpPr/>
          <p:nvPr>
            <p:custDataLst>
              <p:tags r:id="rId65"/>
            </p:custDataLst>
          </p:nvPr>
        </p:nvCxnSpPr>
        <p:spPr>
          <a:xfrm>
            <a:off x="1330231" y="1515825"/>
            <a:ext cx="794543" cy="0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208" name="Соединительная линия уступом 116"/>
          <p:cNvCxnSpPr>
            <a:cxnSpLocks/>
            <a:stCxn id="214" idx="3"/>
            <a:endCxn id="242" idx="0"/>
          </p:cNvCxnSpPr>
          <p:nvPr>
            <p:custDataLst>
              <p:tags r:id="rId66"/>
            </p:custDataLst>
          </p:nvPr>
        </p:nvCxnSpPr>
        <p:spPr>
          <a:xfrm>
            <a:off x="4836964" y="2134609"/>
            <a:ext cx="192799" cy="806821"/>
          </a:xfrm>
          <a:prstGeom prst="bentConnector2">
            <a:avLst/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209" name="Соединительная линия уступом 117"/>
          <p:cNvCxnSpPr>
            <a:cxnSpLocks/>
            <a:stCxn id="153" idx="3"/>
            <a:endCxn id="242" idx="1"/>
          </p:cNvCxnSpPr>
          <p:nvPr>
            <p:custDataLst>
              <p:tags r:id="rId67"/>
            </p:custDataLst>
          </p:nvPr>
        </p:nvCxnSpPr>
        <p:spPr>
          <a:xfrm>
            <a:off x="2423891" y="2248603"/>
            <a:ext cx="324644" cy="918039"/>
          </a:xfrm>
          <a:prstGeom prst="bentConnector3">
            <a:avLst>
              <a:gd name="adj1" fmla="val 36699"/>
            </a:avLst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210" name="Соединительная линия уступом 120"/>
          <p:cNvCxnSpPr>
            <a:cxnSpLocks/>
            <a:stCxn id="242" idx="3"/>
            <a:endCxn id="167" idx="0"/>
          </p:cNvCxnSpPr>
          <p:nvPr>
            <p:custDataLst>
              <p:tags r:id="rId68"/>
            </p:custDataLst>
          </p:nvPr>
        </p:nvCxnSpPr>
        <p:spPr>
          <a:xfrm flipH="1">
            <a:off x="6350443" y="3166642"/>
            <a:ext cx="960547" cy="585228"/>
          </a:xfrm>
          <a:prstGeom prst="bentConnector4">
            <a:avLst>
              <a:gd name="adj1" fmla="val -5553"/>
              <a:gd name="adj2" fmla="val 61429"/>
            </a:avLst>
          </a:prstGeom>
          <a:noFill/>
          <a:ln w="9525" cap="flat" cmpd="sng" algn="ctr">
            <a:solidFill>
              <a:srgbClr val="8064A2"/>
            </a:solidFill>
            <a:prstDash val="solid"/>
            <a:tailEnd type="triangle"/>
          </a:ln>
          <a:effectLst/>
        </p:spPr>
      </p:cxnSp>
      <p:cxnSp>
        <p:nvCxnSpPr>
          <p:cNvPr id="211" name="Соединительная линия уступом 121"/>
          <p:cNvCxnSpPr>
            <a:cxnSpLocks/>
            <a:stCxn id="160" idx="3"/>
          </p:cNvCxnSpPr>
          <p:nvPr>
            <p:custDataLst>
              <p:tags r:id="rId69"/>
            </p:custDataLst>
          </p:nvPr>
        </p:nvCxnSpPr>
        <p:spPr>
          <a:xfrm flipH="1">
            <a:off x="6776720" y="2134607"/>
            <a:ext cx="534270" cy="806823"/>
          </a:xfrm>
          <a:prstGeom prst="bentConnector4">
            <a:avLst>
              <a:gd name="adj1" fmla="val -42787"/>
              <a:gd name="adj2" fmla="val 62698"/>
            </a:avLst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sp>
        <p:nvSpPr>
          <p:cNvPr id="212" name="Скругленный прямоугольник 122"/>
          <p:cNvSpPr/>
          <p:nvPr>
            <p:custDataLst>
              <p:tags r:id="rId70"/>
            </p:custDataLst>
          </p:nvPr>
        </p:nvSpPr>
        <p:spPr>
          <a:xfrm>
            <a:off x="2753744" y="2660397"/>
            <a:ext cx="2076947" cy="229943"/>
          </a:xfrm>
          <a:prstGeom prst="roundRect">
            <a:avLst/>
          </a:prstGeom>
          <a:solidFill>
            <a:srgbClr val="8064A2">
              <a:lumMod val="40000"/>
              <a:lumOff val="60000"/>
            </a:srgbClr>
          </a:solidFill>
          <a:ln w="9525" cap="flat" cmpd="sng" algn="ctr">
            <a:solidFill>
              <a:srgbClr val="8064A2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3" name="Прямоугольник 123"/>
          <p:cNvSpPr/>
          <p:nvPr>
            <p:custDataLst>
              <p:tags r:id="rId71"/>
            </p:custDataLst>
          </p:nvPr>
        </p:nvSpPr>
        <p:spPr>
          <a:xfrm>
            <a:off x="2884950" y="2687188"/>
            <a:ext cx="190059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10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Формирование проектного офиса</a:t>
            </a:r>
            <a:endParaRPr lang="ru-RU" sz="10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14" name="Скругленный прямоугольник 124"/>
          <p:cNvSpPr/>
          <p:nvPr>
            <p:custDataLst>
              <p:tags r:id="rId72"/>
            </p:custDataLst>
          </p:nvPr>
        </p:nvSpPr>
        <p:spPr>
          <a:xfrm>
            <a:off x="2746580" y="1929704"/>
            <a:ext cx="2090384" cy="409810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5" name="Прямоугольник 125"/>
          <p:cNvSpPr/>
          <p:nvPr>
            <p:custDataLst>
              <p:tags r:id="rId73"/>
            </p:custDataLst>
          </p:nvPr>
        </p:nvSpPr>
        <p:spPr>
          <a:xfrm>
            <a:off x="2822434" y="1955905"/>
            <a:ext cx="1966155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Анализ текущего и определение целевого, идеального состояния потоков, разработка мероприятий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16" name="Скругленный прямоугольник 135"/>
          <p:cNvSpPr/>
          <p:nvPr>
            <p:custDataLst>
              <p:tags r:id="rId74"/>
            </p:custDataLst>
          </p:nvPr>
        </p:nvSpPr>
        <p:spPr>
          <a:xfrm>
            <a:off x="7544539" y="1488298"/>
            <a:ext cx="1143877" cy="345071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7" name="Прямоугольник 133"/>
          <p:cNvSpPr/>
          <p:nvPr>
            <p:custDataLst>
              <p:tags r:id="rId75"/>
            </p:custDataLst>
          </p:nvPr>
        </p:nvSpPr>
        <p:spPr>
          <a:xfrm>
            <a:off x="7594602" y="1498855"/>
            <a:ext cx="104016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недрение взаимосвязан-ных инфоцентров предприятия, цехов, малых групп</a:t>
            </a:r>
          </a:p>
        </p:txBody>
      </p:sp>
      <p:sp>
        <p:nvSpPr>
          <p:cNvPr id="218" name="Скругленный прямоугольник 156"/>
          <p:cNvSpPr/>
          <p:nvPr>
            <p:custDataLst>
              <p:tags r:id="rId76"/>
            </p:custDataLst>
          </p:nvPr>
        </p:nvSpPr>
        <p:spPr>
          <a:xfrm>
            <a:off x="2733232" y="3831475"/>
            <a:ext cx="2134331" cy="321047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9" name="Прямоугольник 163"/>
          <p:cNvSpPr/>
          <p:nvPr>
            <p:custDataLst>
              <p:tags r:id="rId77"/>
            </p:custDataLst>
          </p:nvPr>
        </p:nvSpPr>
        <p:spPr>
          <a:xfrm>
            <a:off x="2804106" y="3861759"/>
            <a:ext cx="204350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учение руководителей предприятия и участников (членов РГ) проектов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220" name="Соединительная линия уступом 168"/>
          <p:cNvCxnSpPr>
            <a:cxnSpLocks/>
            <a:stCxn id="157" idx="3"/>
            <a:endCxn id="212" idx="1"/>
          </p:cNvCxnSpPr>
          <p:nvPr>
            <p:custDataLst>
              <p:tags r:id="rId78"/>
            </p:custDataLst>
          </p:nvPr>
        </p:nvCxnSpPr>
        <p:spPr>
          <a:xfrm flipV="1">
            <a:off x="2431825" y="2775369"/>
            <a:ext cx="321919" cy="923807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9BBB59"/>
            </a:solidFill>
            <a:prstDash val="solid"/>
            <a:tailEnd type="triangle"/>
          </a:ln>
          <a:effectLst/>
        </p:spPr>
      </p:cxnSp>
      <p:cxnSp>
        <p:nvCxnSpPr>
          <p:cNvPr id="221" name="Соединительная линия уступом 172"/>
          <p:cNvCxnSpPr>
            <a:cxnSpLocks/>
            <a:stCxn id="157" idx="3"/>
            <a:endCxn id="212" idx="1"/>
          </p:cNvCxnSpPr>
          <p:nvPr>
            <p:custDataLst>
              <p:tags r:id="rId79"/>
            </p:custDataLst>
          </p:nvPr>
        </p:nvCxnSpPr>
        <p:spPr>
          <a:xfrm flipV="1">
            <a:off x="2431825" y="2775369"/>
            <a:ext cx="321919" cy="923807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9BBB59"/>
            </a:solidFill>
            <a:prstDash val="solid"/>
            <a:tailEnd type="triangle"/>
          </a:ln>
          <a:effectLst/>
        </p:spPr>
      </p:cxnSp>
      <p:cxnSp>
        <p:nvCxnSpPr>
          <p:cNvPr id="222" name="Соединительная линия уступом 179"/>
          <p:cNvCxnSpPr>
            <a:cxnSpLocks/>
            <a:endCxn id="218" idx="1"/>
          </p:cNvCxnSpPr>
          <p:nvPr>
            <p:custDataLst>
              <p:tags r:id="rId80"/>
            </p:custDataLst>
          </p:nvPr>
        </p:nvCxnSpPr>
        <p:spPr>
          <a:xfrm>
            <a:off x="2141034" y="3881300"/>
            <a:ext cx="592198" cy="110699"/>
          </a:xfrm>
          <a:prstGeom prst="bentConnector3">
            <a:avLst>
              <a:gd name="adj1" fmla="val 65441"/>
            </a:avLst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223" name="Соединительная линия уступом 180"/>
          <p:cNvCxnSpPr>
            <a:cxnSpLocks/>
            <a:endCxn id="237" idx="1"/>
          </p:cNvCxnSpPr>
          <p:nvPr/>
        </p:nvCxnSpPr>
        <p:spPr>
          <a:xfrm flipV="1">
            <a:off x="2141029" y="3713076"/>
            <a:ext cx="593273" cy="168222"/>
          </a:xfrm>
          <a:prstGeom prst="bentConnector3">
            <a:avLst>
              <a:gd name="adj1" fmla="val 80183"/>
            </a:avLst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224" name="Прямая со стрелкой 181"/>
          <p:cNvCxnSpPr/>
          <p:nvPr>
            <p:custDataLst>
              <p:tags r:id="rId81"/>
            </p:custDataLst>
          </p:nvPr>
        </p:nvCxnSpPr>
        <p:spPr>
          <a:xfrm>
            <a:off x="1330231" y="3884651"/>
            <a:ext cx="794543" cy="0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225" name="Скругленный прямоугольник 189"/>
          <p:cNvSpPr/>
          <p:nvPr>
            <p:custDataLst>
              <p:tags r:id="rId82"/>
            </p:custDataLst>
          </p:nvPr>
        </p:nvSpPr>
        <p:spPr>
          <a:xfrm>
            <a:off x="7549589" y="3716100"/>
            <a:ext cx="1164946" cy="355366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26" name="Прямоугольник 190"/>
          <p:cNvSpPr/>
          <p:nvPr>
            <p:custDataLst>
              <p:tags r:id="rId83"/>
            </p:custDataLst>
          </p:nvPr>
        </p:nvSpPr>
        <p:spPr>
          <a:xfrm>
            <a:off x="7566640" y="3769696"/>
            <a:ext cx="112438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учение участников (членов РГ) проектов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227" name="Соединительная линия уступом 201"/>
          <p:cNvCxnSpPr>
            <a:cxnSpLocks/>
          </p:cNvCxnSpPr>
          <p:nvPr>
            <p:custDataLst>
              <p:tags r:id="rId84"/>
            </p:custDataLst>
          </p:nvPr>
        </p:nvCxnSpPr>
        <p:spPr>
          <a:xfrm rot="5400000" flipH="1" flipV="1">
            <a:off x="4763267" y="3497670"/>
            <a:ext cx="593311" cy="384719"/>
          </a:xfrm>
          <a:prstGeom prst="bentConnector3">
            <a:avLst>
              <a:gd name="adj1" fmla="val -7366"/>
            </a:avLst>
          </a:prstGeom>
          <a:noFill/>
          <a:ln w="9525" cap="flat" cmpd="sng" algn="ctr">
            <a:solidFill>
              <a:srgbClr val="9BBB59"/>
            </a:solidFill>
            <a:prstDash val="solid"/>
            <a:tailEnd type="triangle"/>
          </a:ln>
          <a:effectLst/>
        </p:spPr>
      </p:cxnSp>
      <p:sp>
        <p:nvSpPr>
          <p:cNvPr id="228" name="Скругленный прямоугольник 219"/>
          <p:cNvSpPr/>
          <p:nvPr>
            <p:custDataLst>
              <p:tags r:id="rId85"/>
            </p:custDataLst>
          </p:nvPr>
        </p:nvSpPr>
        <p:spPr>
          <a:xfrm>
            <a:off x="1481139" y="4270505"/>
            <a:ext cx="949823" cy="403348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29" name="Прямоугольник 220"/>
          <p:cNvSpPr/>
          <p:nvPr>
            <p:custDataLst>
              <p:tags r:id="rId86"/>
            </p:custDataLst>
          </p:nvPr>
        </p:nvSpPr>
        <p:spPr>
          <a:xfrm>
            <a:off x="1523191" y="4335434"/>
            <a:ext cx="87692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9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иагностика предприятия</a:t>
            </a:r>
            <a:endParaRPr lang="ru-RU" sz="9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30" name="Скругленный прямоугольник 233"/>
          <p:cNvSpPr/>
          <p:nvPr>
            <p:custDataLst>
              <p:tags r:id="rId87"/>
            </p:custDataLst>
          </p:nvPr>
        </p:nvSpPr>
        <p:spPr>
          <a:xfrm>
            <a:off x="3810432" y="4598888"/>
            <a:ext cx="3500554" cy="125919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1" name="Прямоугольник 234"/>
          <p:cNvSpPr/>
          <p:nvPr>
            <p:custDataLst>
              <p:tags r:id="rId88"/>
            </p:custDataLst>
          </p:nvPr>
        </p:nvSpPr>
        <p:spPr>
          <a:xfrm>
            <a:off x="3828921" y="4596456"/>
            <a:ext cx="2444566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еализация плана коммуникации и мотивации</a:t>
            </a:r>
          </a:p>
        </p:txBody>
      </p:sp>
      <p:sp>
        <p:nvSpPr>
          <p:cNvPr id="232" name="Скругленный прямоугольник 238"/>
          <p:cNvSpPr/>
          <p:nvPr>
            <p:custDataLst>
              <p:tags r:id="rId89"/>
            </p:custDataLst>
          </p:nvPr>
        </p:nvSpPr>
        <p:spPr>
          <a:xfrm>
            <a:off x="7549589" y="4189891"/>
            <a:ext cx="1157935" cy="297490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3" name="Прямоугольник 239"/>
          <p:cNvSpPr/>
          <p:nvPr>
            <p:custDataLst>
              <p:tags r:id="rId90"/>
            </p:custDataLst>
          </p:nvPr>
        </p:nvSpPr>
        <p:spPr>
          <a:xfrm>
            <a:off x="7592722" y="4221291"/>
            <a:ext cx="1108459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7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альнейшая реализация плана коммуникаций и мотив.</a:t>
            </a:r>
          </a:p>
        </p:txBody>
      </p:sp>
      <p:cxnSp>
        <p:nvCxnSpPr>
          <p:cNvPr id="234" name="Соединительная линия уступом 242"/>
          <p:cNvCxnSpPr>
            <a:cxnSpLocks/>
            <a:stCxn id="228" idx="3"/>
            <a:endCxn id="171" idx="1"/>
          </p:cNvCxnSpPr>
          <p:nvPr>
            <p:custDataLst>
              <p:tags r:id="rId91"/>
            </p:custDataLst>
          </p:nvPr>
        </p:nvCxnSpPr>
        <p:spPr>
          <a:xfrm flipV="1">
            <a:off x="2430962" y="4271093"/>
            <a:ext cx="302271" cy="201086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D98616"/>
            </a:solidFill>
            <a:prstDash val="solid"/>
            <a:tailEnd type="triangle"/>
          </a:ln>
          <a:effectLst/>
        </p:spPr>
      </p:cxnSp>
      <p:cxnSp>
        <p:nvCxnSpPr>
          <p:cNvPr id="235" name="Соединительная линия уступом 244"/>
          <p:cNvCxnSpPr>
            <a:cxnSpLocks/>
            <a:stCxn id="228" idx="3"/>
            <a:endCxn id="230" idx="1"/>
          </p:cNvCxnSpPr>
          <p:nvPr>
            <p:custDataLst>
              <p:tags r:id="rId92"/>
            </p:custDataLst>
          </p:nvPr>
        </p:nvCxnSpPr>
        <p:spPr>
          <a:xfrm>
            <a:off x="2430962" y="4472179"/>
            <a:ext cx="1379470" cy="189669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D98616"/>
            </a:solidFill>
            <a:prstDash val="solid"/>
            <a:tailEnd type="triangle"/>
          </a:ln>
          <a:effectLst/>
        </p:spPr>
      </p:cxnSp>
      <p:cxnSp>
        <p:nvCxnSpPr>
          <p:cNvPr id="236" name="Соединительная линия уступом 247"/>
          <p:cNvCxnSpPr>
            <a:cxnSpLocks/>
            <a:stCxn id="249" idx="3"/>
            <a:endCxn id="242" idx="2"/>
          </p:cNvCxnSpPr>
          <p:nvPr>
            <p:custDataLst>
              <p:tags r:id="rId93"/>
            </p:custDataLst>
          </p:nvPr>
        </p:nvCxnSpPr>
        <p:spPr>
          <a:xfrm flipH="1" flipV="1">
            <a:off x="5029763" y="3391854"/>
            <a:ext cx="2281223" cy="1050241"/>
          </a:xfrm>
          <a:prstGeom prst="bentConnector4">
            <a:avLst>
              <a:gd name="adj1" fmla="val -3842"/>
              <a:gd name="adj2" fmla="val 80727"/>
            </a:avLst>
          </a:prstGeom>
          <a:noFill/>
          <a:ln w="9525" cap="flat" cmpd="sng" algn="ctr">
            <a:solidFill>
              <a:srgbClr val="D98616"/>
            </a:solidFill>
            <a:prstDash val="solid"/>
            <a:tailEnd type="triangle"/>
          </a:ln>
          <a:effectLst/>
        </p:spPr>
      </p:cxnSp>
      <p:sp>
        <p:nvSpPr>
          <p:cNvPr id="237" name="Скругленный прямоугольник 34"/>
          <p:cNvSpPr/>
          <p:nvPr>
            <p:custDataLst>
              <p:tags r:id="rId94"/>
            </p:custDataLst>
          </p:nvPr>
        </p:nvSpPr>
        <p:spPr>
          <a:xfrm>
            <a:off x="2734302" y="3632028"/>
            <a:ext cx="2138472" cy="162095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solid"/>
          </a:ln>
          <a:effectLst/>
        </p:spPr>
        <p:txBody>
          <a:bodyPr lIns="0" tIns="0" rIns="0" bIns="0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8" name="Прямоугольник 35"/>
          <p:cNvSpPr/>
          <p:nvPr>
            <p:custDataLst>
              <p:tags r:id="rId95"/>
            </p:custDataLst>
          </p:nvPr>
        </p:nvSpPr>
        <p:spPr>
          <a:xfrm>
            <a:off x="3091618" y="3646383"/>
            <a:ext cx="1786797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дготовка  тренеров предприятия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239" name="Соединительная линия уступом 253"/>
          <p:cNvCxnSpPr>
            <a:cxnSpLocks/>
            <a:stCxn id="171" idx="3"/>
          </p:cNvCxnSpPr>
          <p:nvPr>
            <p:custDataLst>
              <p:tags r:id="rId96"/>
            </p:custDataLst>
          </p:nvPr>
        </p:nvCxnSpPr>
        <p:spPr>
          <a:xfrm>
            <a:off x="4558985" y="4271093"/>
            <a:ext cx="62286" cy="104704"/>
          </a:xfrm>
          <a:prstGeom prst="bentConnector2">
            <a:avLst/>
          </a:prstGeom>
          <a:noFill/>
          <a:ln w="9525" cap="flat" cmpd="sng" algn="ctr">
            <a:solidFill>
              <a:srgbClr val="D98616"/>
            </a:solidFill>
            <a:prstDash val="solid"/>
            <a:tailEnd type="triangle"/>
          </a:ln>
          <a:effectLst/>
        </p:spPr>
      </p:cxnSp>
      <p:cxnSp>
        <p:nvCxnSpPr>
          <p:cNvPr id="240" name="Соединительная линия уступом 259"/>
          <p:cNvCxnSpPr>
            <a:cxnSpLocks/>
            <a:stCxn id="242" idx="3"/>
          </p:cNvCxnSpPr>
          <p:nvPr>
            <p:custDataLst>
              <p:tags r:id="rId97"/>
            </p:custDataLst>
          </p:nvPr>
        </p:nvCxnSpPr>
        <p:spPr>
          <a:xfrm flipH="1">
            <a:off x="7158990" y="3166642"/>
            <a:ext cx="152000" cy="1445791"/>
          </a:xfrm>
          <a:prstGeom prst="bentConnector4">
            <a:avLst>
              <a:gd name="adj1" fmla="val -115303"/>
              <a:gd name="adj2" fmla="val 93628"/>
            </a:avLst>
          </a:prstGeom>
          <a:noFill/>
          <a:ln w="9525" cap="flat" cmpd="sng" algn="ctr">
            <a:solidFill>
              <a:srgbClr val="8064A2"/>
            </a:solidFill>
            <a:prstDash val="solid"/>
            <a:tailEnd type="triangle"/>
          </a:ln>
          <a:effectLst/>
        </p:spPr>
      </p:cxnSp>
      <p:cxnSp>
        <p:nvCxnSpPr>
          <p:cNvPr id="241" name="Соединительная линия уступом 272"/>
          <p:cNvCxnSpPr>
            <a:cxnSpLocks/>
            <a:stCxn id="158" idx="3"/>
          </p:cNvCxnSpPr>
          <p:nvPr>
            <p:custDataLst>
              <p:tags r:id="rId98"/>
            </p:custDataLst>
          </p:nvPr>
        </p:nvCxnSpPr>
        <p:spPr>
          <a:xfrm>
            <a:off x="4836962" y="2481554"/>
            <a:ext cx="993607" cy="1256869"/>
          </a:xfrm>
          <a:prstGeom prst="bentConnector2">
            <a:avLst/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sp>
        <p:nvSpPr>
          <p:cNvPr id="242" name="Скругленный прямоугольник 30"/>
          <p:cNvSpPr/>
          <p:nvPr>
            <p:custDataLst>
              <p:tags r:id="rId99"/>
            </p:custDataLst>
          </p:nvPr>
        </p:nvSpPr>
        <p:spPr>
          <a:xfrm>
            <a:off x="2748535" y="2941430"/>
            <a:ext cx="4562455" cy="450424"/>
          </a:xfrm>
          <a:prstGeom prst="roundRect">
            <a:avLst/>
          </a:prstGeom>
          <a:solidFill>
            <a:srgbClr val="8064A2">
              <a:lumMod val="40000"/>
              <a:lumOff val="60000"/>
            </a:srgbClr>
          </a:solidFill>
          <a:ln w="9525" cap="flat" cmpd="sng" algn="ctr">
            <a:solidFill>
              <a:srgbClr val="8064A2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43" name="Прямоугольник 31"/>
          <p:cNvSpPr/>
          <p:nvPr>
            <p:custDataLst>
              <p:tags r:id="rId100"/>
            </p:custDataLst>
          </p:nvPr>
        </p:nvSpPr>
        <p:spPr>
          <a:xfrm>
            <a:off x="2799950" y="3009168"/>
            <a:ext cx="4412894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11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ткрытие и реализация проектов по оптимизации пилотного потока и вспомогательных процессов, влияющих на пилотный поток</a:t>
            </a:r>
            <a:endParaRPr lang="ru-RU" sz="11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44" name="Равнобедренный треугольник 275"/>
          <p:cNvSpPr/>
          <p:nvPr/>
        </p:nvSpPr>
        <p:spPr>
          <a:xfrm rot="10800000">
            <a:off x="2473139" y="1014110"/>
            <a:ext cx="177442" cy="202791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81000" tIns="0" rIns="0" bIns="0" rtlCol="0" anchor="ctr"/>
          <a:lstStyle/>
          <a:p>
            <a:pPr defTabSz="699390"/>
            <a:endParaRPr lang="ru-RU" sz="900" b="1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5" name="Равнобедренный треугольник 277"/>
          <p:cNvSpPr/>
          <p:nvPr/>
        </p:nvSpPr>
        <p:spPr>
          <a:xfrm rot="10800000">
            <a:off x="1259895" y="1014110"/>
            <a:ext cx="177442" cy="202791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81000" tIns="0" rIns="0" bIns="0" rtlCol="0" anchor="ctr"/>
          <a:lstStyle/>
          <a:p>
            <a:pPr defTabSz="699390"/>
            <a:endParaRPr lang="ru-RU" sz="900" b="1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6" name="Равнобедренный треугольник 279"/>
          <p:cNvSpPr/>
          <p:nvPr/>
        </p:nvSpPr>
        <p:spPr>
          <a:xfrm rot="10800000">
            <a:off x="4836962" y="1014110"/>
            <a:ext cx="177442" cy="202791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81000" tIns="0" rIns="0" bIns="0" rtlCol="0" anchor="ctr"/>
          <a:lstStyle/>
          <a:p>
            <a:pPr defTabSz="699390"/>
            <a:endParaRPr lang="ru-RU" sz="900" b="1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7" name="Равнобедренный треугольник 281"/>
          <p:cNvSpPr/>
          <p:nvPr/>
        </p:nvSpPr>
        <p:spPr>
          <a:xfrm rot="10800000">
            <a:off x="7367100" y="1014110"/>
            <a:ext cx="177442" cy="202791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81000" tIns="0" rIns="0" bIns="0" rtlCol="0" anchor="ctr"/>
          <a:lstStyle/>
          <a:p>
            <a:pPr defTabSz="699390"/>
            <a:endParaRPr lang="ru-RU" sz="900" b="1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8" name="Равнобедренный треугольник 283"/>
          <p:cNvSpPr/>
          <p:nvPr/>
        </p:nvSpPr>
        <p:spPr>
          <a:xfrm rot="10800000">
            <a:off x="8647731" y="1014110"/>
            <a:ext cx="177442" cy="202791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81000" tIns="0" rIns="0" bIns="0" rtlCol="0" anchor="ctr"/>
          <a:lstStyle/>
          <a:p>
            <a:pPr defTabSz="699390"/>
            <a:endParaRPr lang="ru-RU" sz="900" b="1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9" name="Скругленный прямоугольник 166"/>
          <p:cNvSpPr/>
          <p:nvPr>
            <p:custDataLst>
              <p:tags r:id="rId101"/>
            </p:custDataLst>
          </p:nvPr>
        </p:nvSpPr>
        <p:spPr>
          <a:xfrm>
            <a:off x="3627777" y="4375798"/>
            <a:ext cx="3683209" cy="132593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50" name="Прямоугольник 169"/>
          <p:cNvSpPr/>
          <p:nvPr>
            <p:custDataLst>
              <p:tags r:id="rId102"/>
            </p:custDataLst>
          </p:nvPr>
        </p:nvSpPr>
        <p:spPr>
          <a:xfrm>
            <a:off x="3691243" y="4376253"/>
            <a:ext cx="2531757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сещение производства топ-менеджерами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251" name="Соединительная линия уступом 170"/>
          <p:cNvCxnSpPr>
            <a:cxnSpLocks/>
            <a:endCxn id="173" idx="1"/>
          </p:cNvCxnSpPr>
          <p:nvPr>
            <p:custDataLst>
              <p:tags r:id="rId103"/>
            </p:custDataLst>
          </p:nvPr>
        </p:nvCxnSpPr>
        <p:spPr>
          <a:xfrm flipV="1">
            <a:off x="4573443" y="4272085"/>
            <a:ext cx="263521" cy="1028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D98616"/>
            </a:solidFill>
            <a:prstDash val="solid"/>
            <a:tailEnd type="triangle"/>
          </a:ln>
          <a:effectLst/>
        </p:spPr>
      </p:cxnSp>
      <p:sp>
        <p:nvSpPr>
          <p:cNvPr id="252" name="Скругленный прямоугольник 194"/>
          <p:cNvSpPr/>
          <p:nvPr>
            <p:custDataLst>
              <p:tags r:id="rId104"/>
            </p:custDataLst>
          </p:nvPr>
        </p:nvSpPr>
        <p:spPr>
          <a:xfrm>
            <a:off x="7549292" y="4559941"/>
            <a:ext cx="1165243" cy="130578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53" name="Прямоугольник 195"/>
          <p:cNvSpPr/>
          <p:nvPr>
            <p:custDataLst>
              <p:tags r:id="rId105"/>
            </p:custDataLst>
          </p:nvPr>
        </p:nvSpPr>
        <p:spPr>
          <a:xfrm>
            <a:off x="7596543" y="4557794"/>
            <a:ext cx="1089991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ни информирования</a:t>
            </a:r>
          </a:p>
        </p:txBody>
      </p:sp>
      <p:sp>
        <p:nvSpPr>
          <p:cNvPr id="255" name="TextBox 254"/>
          <p:cNvSpPr txBox="1"/>
          <p:nvPr/>
        </p:nvSpPr>
        <p:spPr>
          <a:xfrm>
            <a:off x="2452956" y="790607"/>
            <a:ext cx="25359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>
                <a:solidFill>
                  <a:srgbClr val="D74167"/>
                </a:solidFill>
              </a:rPr>
              <a:t>0</a:t>
            </a:r>
          </a:p>
        </p:txBody>
      </p:sp>
      <p:sp>
        <p:nvSpPr>
          <p:cNvPr id="256" name="TextBox 255"/>
          <p:cNvSpPr txBox="1"/>
          <p:nvPr/>
        </p:nvSpPr>
        <p:spPr>
          <a:xfrm>
            <a:off x="1013063" y="806252"/>
            <a:ext cx="60625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>
                <a:solidFill>
                  <a:srgbClr val="D74167"/>
                </a:solidFill>
              </a:rPr>
              <a:t>- 3 мес.</a:t>
            </a:r>
          </a:p>
        </p:txBody>
      </p:sp>
      <p:sp>
        <p:nvSpPr>
          <p:cNvPr id="257" name="TextBox 256"/>
          <p:cNvSpPr txBox="1"/>
          <p:nvPr/>
        </p:nvSpPr>
        <p:spPr>
          <a:xfrm>
            <a:off x="4695983" y="806243"/>
            <a:ext cx="53412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>
                <a:solidFill>
                  <a:srgbClr val="D74167"/>
                </a:solidFill>
              </a:rPr>
              <a:t>3 мес.</a:t>
            </a:r>
          </a:p>
        </p:txBody>
      </p:sp>
      <p:sp>
        <p:nvSpPr>
          <p:cNvPr id="258" name="TextBox 257"/>
          <p:cNvSpPr txBox="1"/>
          <p:nvPr/>
        </p:nvSpPr>
        <p:spPr>
          <a:xfrm>
            <a:off x="7235329" y="806243"/>
            <a:ext cx="53412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>
                <a:solidFill>
                  <a:srgbClr val="D74167"/>
                </a:solidFill>
              </a:rPr>
              <a:t>6 мес.</a:t>
            </a:r>
          </a:p>
        </p:txBody>
      </p:sp>
      <p:sp>
        <p:nvSpPr>
          <p:cNvPr id="259" name="TextBox 258"/>
          <p:cNvSpPr txBox="1"/>
          <p:nvPr/>
        </p:nvSpPr>
        <p:spPr>
          <a:xfrm>
            <a:off x="8388254" y="806244"/>
            <a:ext cx="60305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>
                <a:solidFill>
                  <a:srgbClr val="D74167"/>
                </a:solidFill>
              </a:rPr>
              <a:t>36 мес.</a:t>
            </a:r>
          </a:p>
        </p:txBody>
      </p:sp>
      <p:sp>
        <p:nvSpPr>
          <p:cNvPr id="120" name="Rectangle 125">
            <a:extLst>
              <a:ext uri="{FF2B5EF4-FFF2-40B4-BE49-F238E27FC236}">
                <a16:creationId xmlns:a16="http://schemas.microsoft.com/office/drawing/2014/main" id="{7675B3F2-91CF-4355-BAA9-256CBC584199}"/>
              </a:ext>
            </a:extLst>
          </p:cNvPr>
          <p:cNvSpPr/>
          <p:nvPr/>
        </p:nvSpPr>
        <p:spPr>
          <a:xfrm>
            <a:off x="318828" y="870387"/>
            <a:ext cx="8623466" cy="3921879"/>
          </a:xfrm>
          <a:prstGeom prst="rect">
            <a:avLst/>
          </a:prstGeom>
          <a:solidFill>
            <a:schemeClr val="bg1">
              <a:lumMod val="85000"/>
              <a:alpha val="49000"/>
            </a:schemeClr>
          </a:solidFill>
          <a:ln w="952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27000" tIns="0" rIns="27000" bIns="0" rtlCol="0" anchor="ctr"/>
          <a:lstStyle/>
          <a:p>
            <a:pPr algn="ctr"/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121" name="Rectangular Callout 130">
            <a:extLst>
              <a:ext uri="{FF2B5EF4-FFF2-40B4-BE49-F238E27FC236}">
                <a16:creationId xmlns:a16="http://schemas.microsoft.com/office/drawing/2014/main" id="{AE7D13F8-0638-4E3B-BDD8-35F9C2442E62}"/>
              </a:ext>
            </a:extLst>
          </p:cNvPr>
          <p:cNvSpPr/>
          <p:nvPr/>
        </p:nvSpPr>
        <p:spPr>
          <a:xfrm>
            <a:off x="455582" y="1522680"/>
            <a:ext cx="2142839" cy="776993"/>
          </a:xfrm>
          <a:prstGeom prst="wedgeRectCallout">
            <a:avLst>
              <a:gd name="adj1" fmla="val 60579"/>
              <a:gd name="adj2" fmla="val -47438"/>
            </a:avLst>
          </a:prstGeom>
          <a:solidFill>
            <a:schemeClr val="bg1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7000" rIns="27000" rtlCol="0" anchor="t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Командировка ГД и одного ЗГД на 1-2 дня в Москву на обучение</a:t>
            </a:r>
          </a:p>
        </p:txBody>
      </p:sp>
      <p:sp>
        <p:nvSpPr>
          <p:cNvPr id="122" name="Овал 48">
            <a:extLst>
              <a:ext uri="{FF2B5EF4-FFF2-40B4-BE49-F238E27FC236}">
                <a16:creationId xmlns:a16="http://schemas.microsoft.com/office/drawing/2014/main" id="{9E078D78-D682-43B1-BF29-4D198F66A399}"/>
              </a:ext>
            </a:extLst>
          </p:cNvPr>
          <p:cNvSpPr/>
          <p:nvPr/>
        </p:nvSpPr>
        <p:spPr>
          <a:xfrm>
            <a:off x="488499" y="2227151"/>
            <a:ext cx="493621" cy="493621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27000" tIns="0" rIns="27000" bIns="0" rtlCol="0" anchor="ctr"/>
          <a:lstStyle/>
          <a:p>
            <a:pPr algn="ctr" defTabSz="342900"/>
            <a:r>
              <a:rPr lang="ru-RU" sz="2400" b="1" dirty="0">
                <a:solidFill>
                  <a:prstClr val="white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5198445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5688DFC-7ED5-4B6C-9539-0C77BE76AF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185" y="179613"/>
            <a:ext cx="8335961" cy="43219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2000" b="1" dirty="0"/>
              <a:t>Производительность труда в России в сравнении с другими странами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CC66055-C0B2-4BE2-9898-D7C1DD0DF372}"/>
              </a:ext>
            </a:extLst>
          </p:cNvPr>
          <p:cNvSpPr txBox="1"/>
          <p:nvPr/>
        </p:nvSpPr>
        <p:spPr>
          <a:xfrm>
            <a:off x="3769765" y="827417"/>
            <a:ext cx="4768231" cy="4770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ts val="1500"/>
              </a:lnSpc>
            </a:pPr>
            <a:r>
              <a:rPr lang="ru-RU" sz="1400" b="1" dirty="0"/>
              <a:t>Производительность труда в 2017 г. </a:t>
            </a:r>
          </a:p>
          <a:p>
            <a:pPr>
              <a:lnSpc>
                <a:spcPts val="1500"/>
              </a:lnSpc>
            </a:pPr>
            <a:r>
              <a:rPr lang="ru-RU" sz="1400" i="1" dirty="0"/>
              <a:t>долл. США за 1 час отработанного времени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170CD1C-5CC5-442A-A391-BB070B0F3AE0}"/>
              </a:ext>
            </a:extLst>
          </p:cNvPr>
          <p:cNvSpPr txBox="1"/>
          <p:nvPr/>
        </p:nvSpPr>
        <p:spPr>
          <a:xfrm>
            <a:off x="576941" y="4681902"/>
            <a:ext cx="86487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i="1" dirty="0">
                <a:solidFill>
                  <a:prstClr val="black"/>
                </a:solidFill>
                <a:latin typeface="PT Sans" panose="020B0503020203020204" pitchFamily="34" charset="-52"/>
              </a:rPr>
              <a:t>Источник: </a:t>
            </a:r>
            <a:r>
              <a:rPr lang="en-US" sz="1000" i="1" dirty="0">
                <a:solidFill>
                  <a:prstClr val="black"/>
                </a:solidFill>
                <a:latin typeface="PT Sans" panose="020B0503020203020204" pitchFamily="34" charset="-52"/>
                <a:hlinkClick r:id="rId2"/>
              </a:rPr>
              <a:t>OECD</a:t>
            </a:r>
            <a:endParaRPr lang="ru-RU" sz="1000" i="1" dirty="0">
              <a:solidFill>
                <a:prstClr val="black"/>
              </a:solidFill>
              <a:latin typeface="PT Sans" panose="020B0503020203020204" pitchFamily="34" charset="-52"/>
            </a:endParaRPr>
          </a:p>
        </p:txBody>
      </p:sp>
      <p:graphicFrame>
        <p:nvGraphicFramePr>
          <p:cNvPr id="7" name="Диаграмма 6">
            <a:extLst>
              <a:ext uri="{FF2B5EF4-FFF2-40B4-BE49-F238E27FC236}">
                <a16:creationId xmlns:a16="http://schemas.microsoft.com/office/drawing/2014/main" id="{C53B17BC-FA39-4FB0-B702-9E6F63F27FE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24557104"/>
              </p:ext>
            </p:extLst>
          </p:nvPr>
        </p:nvGraphicFramePr>
        <p:xfrm>
          <a:off x="261153" y="1310296"/>
          <a:ext cx="8655051" cy="2873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8" name="Picture 4" descr="ÐÐ°ÑÑÐ¸Ð½ÐºÐ¸ Ð¿Ð¾ Ð·Ð°Ð¿ÑÐ¾ÑÑ russian flag png">
            <a:extLst>
              <a:ext uri="{FF2B5EF4-FFF2-40B4-BE49-F238E27FC236}">
                <a16:creationId xmlns:a16="http://schemas.microsoft.com/office/drawing/2014/main" id="{DA2C45B2-1169-4398-8C76-F4F3A6CD89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6397" y="2787442"/>
            <a:ext cx="360571" cy="285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ÐÐ¾ÑÐ¾Ð¶ÐµÐµ Ð¸Ð·Ð¾Ð±ÑÐ°Ð¶ÐµÐ½Ð¸Ðµ">
            <a:extLst>
              <a:ext uri="{FF2B5EF4-FFF2-40B4-BE49-F238E27FC236}">
                <a16:creationId xmlns:a16="http://schemas.microsoft.com/office/drawing/2014/main" id="{CF70A99D-4FEC-4BB7-89DF-849A7A76B8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9828" y="1820658"/>
            <a:ext cx="406939" cy="303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6" descr="ÐÐ¾ÑÐ¾Ð¶ÐµÐµ Ð¸Ð·Ð¾Ð±ÑÐ°Ð¶ÐµÐ½Ð¸Ðµ">
            <a:extLst>
              <a:ext uri="{FF2B5EF4-FFF2-40B4-BE49-F238E27FC236}">
                <a16:creationId xmlns:a16="http://schemas.microsoft.com/office/drawing/2014/main" id="{784BF8A1-F140-422E-9F27-EF753E1F2D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8878" y="1885568"/>
            <a:ext cx="382544" cy="281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8" descr="ÐÐ¾ÑÐ¾Ð¶ÐµÐµ Ð¸Ð·Ð¾Ð±ÑÐ°Ð¶ÐµÐ½Ð¸Ðµ">
            <a:extLst>
              <a:ext uri="{FF2B5EF4-FFF2-40B4-BE49-F238E27FC236}">
                <a16:creationId xmlns:a16="http://schemas.microsoft.com/office/drawing/2014/main" id="{C2F575EB-94B6-4F01-A2FE-693F6C1C20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5457" y="1824186"/>
            <a:ext cx="514121" cy="2998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0" descr="ÐÐ°ÑÑÐ¸Ð½ÐºÐ¸ Ð¿Ð¾ Ð·Ð°Ð¿ÑÐ¾ÑÑ Canada flag round png">
            <a:extLst>
              <a:ext uri="{FF2B5EF4-FFF2-40B4-BE49-F238E27FC236}">
                <a16:creationId xmlns:a16="http://schemas.microsoft.com/office/drawing/2014/main" id="{6A04D88C-BEBC-4370-BBB8-D3AAB2B351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4423" y="2271617"/>
            <a:ext cx="391417" cy="277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6" descr="ÐÐ°ÑÑÐ¸Ð½ÐºÐ¸ Ð¿Ð¾ Ð·Ð°Ð¿ÑÐ¾ÑÑ Japan flag round png">
            <a:extLst>
              <a:ext uri="{FF2B5EF4-FFF2-40B4-BE49-F238E27FC236}">
                <a16:creationId xmlns:a16="http://schemas.microsoft.com/office/drawing/2014/main" id="{548D2FAC-9BF5-4F72-A493-923FB04C03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1459" y="2390274"/>
            <a:ext cx="468000" cy="349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" descr="ÐÐ°ÑÑÐ¸Ð½ÐºÐ¸ Ð¿Ð¾ Ð·Ð°Ð¿ÑÐ¾ÑÑ Norway flag round">
            <a:extLst>
              <a:ext uri="{FF2B5EF4-FFF2-40B4-BE49-F238E27FC236}">
                <a16:creationId xmlns:a16="http://schemas.microsoft.com/office/drawing/2014/main" id="{B11BCF78-FA07-4A84-BD56-B4D09689EF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9438" y="1599021"/>
            <a:ext cx="327807" cy="2437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8" descr="ÐÐ°ÑÑÐ¸Ð½ÐºÐ¸ Ð¿Ð¾ Ð·Ð°Ð¿ÑÐ¾ÑÑ Australia flag round">
            <a:extLst>
              <a:ext uri="{FF2B5EF4-FFF2-40B4-BE49-F238E27FC236}">
                <a16:creationId xmlns:a16="http://schemas.microsoft.com/office/drawing/2014/main" id="{412D6C67-D811-4DFE-82FE-927C62974F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3193" y="2095939"/>
            <a:ext cx="391417" cy="281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2" descr="ÐÐ°ÑÑÐ¸Ð½ÐºÐ¸ Ð¿Ð¾ Ð·Ð°Ð¿ÑÐ¾ÑÑ Chile flag png">
            <a:extLst>
              <a:ext uri="{FF2B5EF4-FFF2-40B4-BE49-F238E27FC236}">
                <a16:creationId xmlns:a16="http://schemas.microsoft.com/office/drawing/2014/main" id="{28ED0A4F-2EAA-449A-9C3D-F028D84FFD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2502" y="2779844"/>
            <a:ext cx="391889" cy="293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4" descr="ÐÐ°ÑÑÐ¸Ð½ÐºÐ¸ Ð¿Ð¾ Ð·Ð°Ð¿ÑÐ¾ÑÑ Mexicoflag png">
            <a:extLst>
              <a:ext uri="{FF2B5EF4-FFF2-40B4-BE49-F238E27FC236}">
                <a16:creationId xmlns:a16="http://schemas.microsoft.com/office/drawing/2014/main" id="{BCF25A92-813B-4C4D-9EEE-A7EE64BE8D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6658" y="2928720"/>
            <a:ext cx="368739" cy="28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4930FF43-46EC-439B-A2ED-291F5EABF7C3}"/>
                  </a:ext>
                </a:extLst>
              </p:cNvPr>
              <p:cNvSpPr txBox="1"/>
              <p:nvPr/>
            </p:nvSpPr>
            <p:spPr>
              <a:xfrm>
                <a:off x="621158" y="4212282"/>
                <a:ext cx="6332952" cy="410497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ru-RU" sz="1000" b="1" i="1" smtClean="0">
                          <a:solidFill>
                            <a:schemeClr val="tx1"/>
                          </a:solidFill>
                          <a:latin typeface="Cambria Math"/>
                        </a:rPr>
                        <m:t>Производительность труда=</m:t>
                      </m:r>
                      <m:f>
                        <m:fPr>
                          <m:ctrlPr>
                            <a:rPr lang="en-US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ru-RU" sz="1000" b="1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ВВП по паритету покупательской способности в постоянных ценах </m:t>
                          </m:r>
                          <m:r>
                            <a:rPr lang="ru-RU" sz="1000" b="1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𝟐𝟎𝟏𝟎</m:t>
                          </m:r>
                          <m:r>
                            <a:rPr lang="ru-RU" sz="1000" b="1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 г.</m:t>
                          </m:r>
                        </m:num>
                        <m:den>
                          <m:r>
                            <a:rPr lang="ru-RU" sz="1000" b="1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Количество отработанных часов всех занятых в производстве </m:t>
                          </m:r>
                        </m:den>
                      </m:f>
                    </m:oMath>
                  </m:oMathPara>
                </a14:m>
                <a:endParaRPr lang="ru-RU" sz="10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4930FF43-46EC-439B-A2ED-291F5EABF7C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1158" y="4212282"/>
                <a:ext cx="6332952" cy="410497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  <a:ln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9" name="Picture 2" descr="ÐÐ°ÑÑÐ¸Ð½ÐºÐ¸ Ð¿Ð¾ Ð·Ð°Ð¿ÑÐ¾ÑÑ Ireland flag round">
            <a:extLst>
              <a:ext uri="{FF2B5EF4-FFF2-40B4-BE49-F238E27FC236}">
                <a16:creationId xmlns:a16="http://schemas.microsoft.com/office/drawing/2014/main" id="{63C9CAF6-9F37-4124-858F-A8E690CEEE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018" y="1231843"/>
            <a:ext cx="330817" cy="248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4" descr="ÐÐ°ÑÑÐ¸Ð½ÐºÐ¸ Ð¿Ð¾ Ð·Ð°Ð¿ÑÐ¾ÑÑ luxembourg flag round">
            <a:extLst>
              <a:ext uri="{FF2B5EF4-FFF2-40B4-BE49-F238E27FC236}">
                <a16:creationId xmlns:a16="http://schemas.microsoft.com/office/drawing/2014/main" id="{A4C059FF-C4AA-4142-8A07-E0CB51B825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0152" y="1281458"/>
            <a:ext cx="330817" cy="248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6" descr="ÐÐ°ÑÑÐ¸Ð½ÐºÐ¸ Ð¿Ð¾ Ð·Ð°Ð¿ÑÐ¾ÑÑ finland flag round">
            <a:extLst>
              <a:ext uri="{FF2B5EF4-FFF2-40B4-BE49-F238E27FC236}">
                <a16:creationId xmlns:a16="http://schemas.microsoft.com/office/drawing/2014/main" id="{9C9457EF-A1D6-44A9-812A-270C1D8915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1060" y="1984710"/>
            <a:ext cx="375068" cy="281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8" descr="ÐÐ°ÑÑÐ¸Ð½ÐºÐ¸ Ð¿Ð¾ Ð·Ð°Ð¿ÑÐ¾ÑÑ korea flag round">
            <a:extLst>
              <a:ext uri="{FF2B5EF4-FFF2-40B4-BE49-F238E27FC236}">
                <a16:creationId xmlns:a16="http://schemas.microsoft.com/office/drawing/2014/main" id="{75CE2A4C-246D-43E1-96E3-8733380406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4667" y="2566763"/>
            <a:ext cx="400929" cy="300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10" descr="ÐÐ¾ÑÐ¾Ð¶ÐµÐµ Ð¸Ð·Ð¾Ð±ÑÐ°Ð¶ÐµÐ½Ð¸Ðµ">
            <a:extLst>
              <a:ext uri="{FF2B5EF4-FFF2-40B4-BE49-F238E27FC236}">
                <a16:creationId xmlns:a16="http://schemas.microsoft.com/office/drawing/2014/main" id="{C8615F50-B04E-41E6-98B7-2D01D72F70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2060" y="2455979"/>
            <a:ext cx="431821" cy="323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4" descr="ÐÐ¾ÑÐ¾Ð¶ÐµÐµ Ð¸Ð·Ð¾Ð±ÑÐ°Ð¶ÐµÐ½Ð¸Ðµ">
            <a:extLst>
              <a:ext uri="{FF2B5EF4-FFF2-40B4-BE49-F238E27FC236}">
                <a16:creationId xmlns:a16="http://schemas.microsoft.com/office/drawing/2014/main" id="{D3ECCCDD-2C7B-4EAB-9DBB-7BB873FDFB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9044" y="2869934"/>
            <a:ext cx="360571" cy="270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799853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03515" y="12924"/>
            <a:ext cx="8678387" cy="8534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2000" b="1" dirty="0"/>
              <a:t>Готовы ли Вы и Ваша команда к достижению амбициозных целей?</a:t>
            </a: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1030957"/>
            <a:ext cx="7571805" cy="3629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6908463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03515" y="12924"/>
            <a:ext cx="8678387" cy="8534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2000" b="1" dirty="0"/>
              <a:t>Необходимо вывести коллектив из зоны комфорта …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58894" y="842238"/>
            <a:ext cx="77993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b="1" dirty="0">
                <a:latin typeface="Calibri"/>
              </a:rPr>
              <a:t>КОЛЛЕКТИВ</a:t>
            </a:r>
            <a:r>
              <a:rPr lang="en-US" b="1" dirty="0">
                <a:latin typeface="Calibri"/>
              </a:rPr>
              <a:t>, </a:t>
            </a:r>
            <a:r>
              <a:rPr lang="ru-RU" b="1" dirty="0">
                <a:latin typeface="Calibri"/>
              </a:rPr>
              <a:t>ОБЪЕДИНЕННЫЙ ОДНОЙ ЦЕЛЬЮ И ЗАДАЧАМИ</a:t>
            </a:r>
            <a:r>
              <a:rPr lang="en-US" b="1" dirty="0">
                <a:latin typeface="Calibri"/>
              </a:rPr>
              <a:t>, </a:t>
            </a:r>
            <a:endParaRPr lang="ru-RU" b="1" dirty="0">
              <a:latin typeface="Calibri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b="1" dirty="0">
                <a:latin typeface="Calibri"/>
              </a:rPr>
              <a:t>НЕ МОЖЕТ ОБОЙТИСЬ БЕЗ ЛИДЕРА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611772" y="1501925"/>
            <a:ext cx="3184536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2000" b="1" dirty="0">
                <a:solidFill>
                  <a:prstClr val="black"/>
                </a:solidFill>
                <a:latin typeface="Calibri"/>
              </a:rPr>
              <a:t>Задача </a:t>
            </a:r>
          </a:p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2000" b="1" dirty="0">
                <a:solidFill>
                  <a:prstClr val="black"/>
                </a:solidFill>
                <a:latin typeface="Calibri"/>
              </a:rPr>
              <a:t>Генерального директора</a:t>
            </a:r>
          </a:p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dirty="0">
                <a:solidFill>
                  <a:prstClr val="black"/>
                </a:solidFill>
                <a:latin typeface="Calibri"/>
              </a:rPr>
              <a:t>для достижения цели – вывести коллектив из зоны комфорта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79368" y="1917203"/>
            <a:ext cx="2553575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2000" b="1" dirty="0">
                <a:solidFill>
                  <a:prstClr val="black"/>
                </a:solidFill>
                <a:latin typeface="Calibri"/>
              </a:rPr>
              <a:t>Желание коллектива </a:t>
            </a:r>
            <a:r>
              <a:rPr lang="ru-RU" dirty="0">
                <a:solidFill>
                  <a:prstClr val="black"/>
                </a:solidFill>
                <a:latin typeface="Calibri"/>
              </a:rPr>
              <a:t>– находиться в зоне комфорта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530724" y="3605389"/>
            <a:ext cx="3630244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2000" b="1" dirty="0">
                <a:solidFill>
                  <a:prstClr val="black"/>
                </a:solidFill>
                <a:latin typeface="Calibri"/>
              </a:rPr>
              <a:t>Зона комфорта </a:t>
            </a:r>
            <a:r>
              <a:rPr lang="ru-RU" dirty="0">
                <a:solidFill>
                  <a:prstClr val="black"/>
                </a:solidFill>
                <a:latin typeface="Calibri"/>
              </a:rPr>
              <a:t>– </a:t>
            </a:r>
          </a:p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dirty="0">
                <a:solidFill>
                  <a:prstClr val="black"/>
                </a:solidFill>
                <a:latin typeface="Calibri"/>
              </a:rPr>
              <a:t>нормальное состояние коллектива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, </a:t>
            </a:r>
            <a:r>
              <a:rPr lang="ru-RU" dirty="0">
                <a:solidFill>
                  <a:prstClr val="black"/>
                </a:solidFill>
                <a:latin typeface="Calibri"/>
              </a:rPr>
              <a:t>но эта зона граничит с процессом застоя (стагнации)</a:t>
            </a:r>
          </a:p>
        </p:txBody>
      </p:sp>
      <p:pic>
        <p:nvPicPr>
          <p:cNvPr id="15" name="Picture 2" descr="D:\ак\памятки разные\иконки\рыбка-10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5514" y="1442742"/>
            <a:ext cx="3240731" cy="2378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3" descr="D:\ак\памятки разные\иконки\стрел-05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0582" y="3179099"/>
            <a:ext cx="1814544" cy="845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D:\ак\памятки разные\иконки\стрел-04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4688" y="3179099"/>
            <a:ext cx="1939244" cy="813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3147638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03515" y="12924"/>
            <a:ext cx="8678387" cy="8534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2000" b="1" dirty="0"/>
              <a:t>… и вести через изменения к лучшему</a:t>
            </a: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294" y="848273"/>
            <a:ext cx="7687130" cy="3889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3147638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>
            <a:spLocks/>
          </p:cNvSpPr>
          <p:nvPr/>
        </p:nvSpPr>
        <p:spPr bwMode="auto">
          <a:xfrm>
            <a:off x="101600" y="99195"/>
            <a:ext cx="9143999" cy="4697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90000"/>
              </a:lnSpc>
              <a:defRPr sz="2000" b="1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eaLnBrk="1" hangingPunct="1">
              <a:lnSpc>
                <a:spcPct val="90000"/>
              </a:lnSpc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eaLnBrk="1" hangingPunct="1">
              <a:lnSpc>
                <a:spcPct val="90000"/>
              </a:lnSpc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eaLnBrk="1" hangingPunct="1">
              <a:lnSpc>
                <a:spcPct val="90000"/>
              </a:lnSpc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eaLnBrk="1" hangingPunct="1">
              <a:lnSpc>
                <a:spcPct val="90000"/>
              </a:lnSpc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429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685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10287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r>
              <a:rPr lang="ru-RU" dirty="0"/>
              <a:t> Как действует </a:t>
            </a:r>
            <a:r>
              <a:rPr lang="ru-RU"/>
              <a:t>руководитель-лидер изменений</a:t>
            </a:r>
            <a:endParaRPr lang="ru-RU" dirty="0"/>
          </a:p>
        </p:txBody>
      </p:sp>
      <p:sp>
        <p:nvSpPr>
          <p:cNvPr id="6" name="Овал 5"/>
          <p:cNvSpPr/>
          <p:nvPr/>
        </p:nvSpPr>
        <p:spPr>
          <a:xfrm>
            <a:off x="3275820" y="1278240"/>
            <a:ext cx="2581850" cy="2566208"/>
          </a:xfrm>
          <a:prstGeom prst="ellipse">
            <a:avLst/>
          </a:prstGeom>
          <a:solidFill>
            <a:srgbClr val="CA35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Geometria" pitchFamily="34" charset="-52"/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 bwMode="gray">
          <a:xfrm>
            <a:off x="611450" y="3628484"/>
            <a:ext cx="2880400" cy="10342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119386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9851" algn="l"/>
              </a:tabLst>
              <a:defRPr sz="2000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2pPr>
            <a:lvl3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3pPr>
            <a:lvl4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4pPr>
            <a:lvl5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5pPr>
            <a:lvl6pPr marL="609630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6pPr>
            <a:lvl7pPr marL="121926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7pPr>
            <a:lvl8pPr marL="182889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8pPr>
            <a:lvl9pPr marL="2438522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1600" b="1" kern="0" dirty="0">
                <a:solidFill>
                  <a:srgbClr val="CA3568"/>
                </a:solidFill>
                <a:ea typeface="Verdana" panose="020B0604030504040204" pitchFamily="34" charset="0"/>
              </a:rPr>
              <a:t>ВОВЛЕКАЕТ</a:t>
            </a:r>
          </a:p>
          <a:p>
            <a:r>
              <a:rPr lang="ru-RU" sz="1600" b="1" kern="0" dirty="0">
                <a:solidFill>
                  <a:srgbClr val="CA3568"/>
                </a:solidFill>
                <a:ea typeface="Verdana" panose="020B0604030504040204" pitchFamily="34" charset="0"/>
              </a:rPr>
              <a:t>ЛИЧНЫМ ПРИМЕРОМ</a:t>
            </a:r>
            <a:endParaRPr lang="en-US" sz="1600" b="1" kern="0" dirty="0">
              <a:solidFill>
                <a:srgbClr val="CA3568"/>
              </a:solidFill>
              <a:ea typeface="Verdana" panose="020B0604030504040204" pitchFamily="34" charset="0"/>
            </a:endParaRPr>
          </a:p>
          <a:p>
            <a:r>
              <a:rPr lang="ru-RU" sz="1200" kern="0" dirty="0">
                <a:solidFill>
                  <a:schemeClr val="tx1"/>
                </a:solidFill>
                <a:ea typeface="Verdana" panose="020B0604030504040204" pitchFamily="34" charset="0"/>
              </a:rPr>
              <a:t>регулярно посещает «гембу», помогает сотрудникам </a:t>
            </a:r>
            <a:br>
              <a:rPr lang="ru-RU" sz="1200" kern="0" dirty="0">
                <a:solidFill>
                  <a:schemeClr val="tx1"/>
                </a:solidFill>
                <a:ea typeface="Verdana" panose="020B0604030504040204" pitchFamily="34" charset="0"/>
              </a:rPr>
            </a:br>
            <a:r>
              <a:rPr lang="ru-RU" sz="1200" kern="0" dirty="0">
                <a:solidFill>
                  <a:schemeClr val="tx1"/>
                </a:solidFill>
                <a:ea typeface="Verdana" panose="020B0604030504040204" pitchFamily="34" charset="0"/>
              </a:rPr>
              <a:t>в решении проблем</a:t>
            </a:r>
          </a:p>
        </p:txBody>
      </p:sp>
      <p:sp>
        <p:nvSpPr>
          <p:cNvPr id="5" name="Заголовок 1"/>
          <p:cNvSpPr txBox="1">
            <a:spLocks/>
          </p:cNvSpPr>
          <p:nvPr/>
        </p:nvSpPr>
        <p:spPr bwMode="gray">
          <a:xfrm>
            <a:off x="611450" y="1003658"/>
            <a:ext cx="2088290" cy="778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119386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9851" algn="l"/>
              </a:tabLst>
              <a:defRPr sz="2000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2pPr>
            <a:lvl3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3pPr>
            <a:lvl4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4pPr>
            <a:lvl5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5pPr>
            <a:lvl6pPr marL="609630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6pPr>
            <a:lvl7pPr marL="121926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7pPr>
            <a:lvl8pPr marL="182889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8pPr>
            <a:lvl9pPr marL="2438522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1600" b="1" kern="0" dirty="0">
                <a:solidFill>
                  <a:srgbClr val="CA3568"/>
                </a:solidFill>
                <a:ea typeface="Verdana" panose="020B0604030504040204" pitchFamily="34" charset="0"/>
              </a:rPr>
              <a:t>ИНФОРМИРУЕТ</a:t>
            </a:r>
            <a:r>
              <a:rPr lang="ru-RU" sz="1600" kern="0" dirty="0">
                <a:solidFill>
                  <a:schemeClr val="tx1">
                    <a:lumMod val="65000"/>
                    <a:lumOff val="35000"/>
                  </a:schemeClr>
                </a:solidFill>
                <a:ea typeface="Verdana" panose="020B0604030504040204" pitchFamily="34" charset="0"/>
              </a:rPr>
              <a:t> </a:t>
            </a:r>
          </a:p>
          <a:p>
            <a:r>
              <a:rPr lang="ru-RU" sz="1200" kern="0" dirty="0">
                <a:solidFill>
                  <a:schemeClr val="tx1"/>
                </a:solidFill>
                <a:ea typeface="Verdana" panose="020B0604030504040204" pitchFamily="34" charset="0"/>
              </a:rPr>
              <a:t>команду об изменениях, фиксирует успехи, собирает обратную связь</a:t>
            </a:r>
          </a:p>
        </p:txBody>
      </p:sp>
      <p:sp>
        <p:nvSpPr>
          <p:cNvPr id="7" name="Заголовок 1"/>
          <p:cNvSpPr txBox="1">
            <a:spLocks/>
          </p:cNvSpPr>
          <p:nvPr/>
        </p:nvSpPr>
        <p:spPr bwMode="gray">
          <a:xfrm>
            <a:off x="6300240" y="990355"/>
            <a:ext cx="2740054" cy="14400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119386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9851" algn="l"/>
              </a:tabLst>
              <a:defRPr sz="2000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2pPr>
            <a:lvl3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3pPr>
            <a:lvl4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4pPr>
            <a:lvl5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5pPr>
            <a:lvl6pPr marL="609630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6pPr>
            <a:lvl7pPr marL="121926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7pPr>
            <a:lvl8pPr marL="182889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8pPr>
            <a:lvl9pPr marL="2438522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1600" b="1" kern="0" dirty="0">
                <a:solidFill>
                  <a:srgbClr val="CA3568"/>
                </a:solidFill>
                <a:ea typeface="Verdana" panose="020B0604030504040204" pitchFamily="34" charset="0"/>
              </a:rPr>
              <a:t>СОЗДАЕТ БЛАГОПРИЯТНУЮ СРЕДУ ДЛЯ ИЗМЕНЕНИЙ</a:t>
            </a:r>
            <a:r>
              <a:rPr lang="ru-RU" sz="1600" kern="0" dirty="0">
                <a:solidFill>
                  <a:schemeClr val="tx1">
                    <a:lumMod val="65000"/>
                    <a:lumOff val="35000"/>
                  </a:schemeClr>
                </a:solidFill>
                <a:ea typeface="Verdana" panose="020B0604030504040204" pitchFamily="34" charset="0"/>
              </a:rPr>
              <a:t> </a:t>
            </a:r>
          </a:p>
          <a:p>
            <a:r>
              <a:rPr lang="ru-RU" sz="1200" kern="0" dirty="0">
                <a:solidFill>
                  <a:schemeClr val="tx1"/>
                </a:solidFill>
                <a:ea typeface="Verdana" panose="020B0604030504040204" pitchFamily="34" charset="0"/>
              </a:rPr>
              <a:t>устанавливает четкие  цели, предоставляет все необходимые ресурсы участникам проекта </a:t>
            </a:r>
          </a:p>
        </p:txBody>
      </p:sp>
      <p:sp>
        <p:nvSpPr>
          <p:cNvPr id="8" name="Заголовок 1"/>
          <p:cNvSpPr txBox="1">
            <a:spLocks/>
          </p:cNvSpPr>
          <p:nvPr/>
        </p:nvSpPr>
        <p:spPr bwMode="gray">
          <a:xfrm>
            <a:off x="6300240" y="3628484"/>
            <a:ext cx="2779812" cy="8181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119386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9851" algn="l"/>
              </a:tabLst>
              <a:defRPr sz="2000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2pPr>
            <a:lvl3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3pPr>
            <a:lvl4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4pPr>
            <a:lvl5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5pPr>
            <a:lvl6pPr marL="609630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6pPr>
            <a:lvl7pPr marL="121926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7pPr>
            <a:lvl8pPr marL="182889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8pPr>
            <a:lvl9pPr marL="2438522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1600" b="1" kern="0" dirty="0">
                <a:solidFill>
                  <a:srgbClr val="CA3568"/>
                </a:solidFill>
                <a:ea typeface="Verdana" panose="020B0604030504040204" pitchFamily="34" charset="0"/>
              </a:rPr>
              <a:t>МОТИВИРУЕТ И ПООЩРЯЕТ </a:t>
            </a:r>
            <a:endParaRPr lang="en-US" sz="1600" b="1" kern="0" dirty="0">
              <a:solidFill>
                <a:srgbClr val="CA3568"/>
              </a:solidFill>
              <a:ea typeface="Verdana" panose="020B0604030504040204" pitchFamily="34" charset="0"/>
            </a:endParaRPr>
          </a:p>
          <a:p>
            <a:r>
              <a:rPr lang="ru-RU" sz="1200" kern="0" dirty="0">
                <a:solidFill>
                  <a:schemeClr val="tx1"/>
                </a:solidFill>
                <a:ea typeface="Verdana" panose="020B0604030504040204" pitchFamily="34" charset="0"/>
              </a:rPr>
              <a:t>активных участников изменений</a:t>
            </a:r>
          </a:p>
        </p:txBody>
      </p:sp>
      <p:cxnSp>
        <p:nvCxnSpPr>
          <p:cNvPr id="24" name="Прямая со стрелкой 23"/>
          <p:cNvCxnSpPr/>
          <p:nvPr/>
        </p:nvCxnSpPr>
        <p:spPr>
          <a:xfrm>
            <a:off x="2792098" y="1394524"/>
            <a:ext cx="576080" cy="338424"/>
          </a:xfrm>
          <a:prstGeom prst="straightConnector1">
            <a:avLst/>
          </a:prstGeom>
          <a:ln w="19050">
            <a:solidFill>
              <a:srgbClr val="CA3568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 стрелкой 24"/>
          <p:cNvCxnSpPr/>
          <p:nvPr/>
        </p:nvCxnSpPr>
        <p:spPr>
          <a:xfrm flipH="1">
            <a:off x="5724160" y="1394524"/>
            <a:ext cx="457796" cy="300138"/>
          </a:xfrm>
          <a:prstGeom prst="straightConnector1">
            <a:avLst/>
          </a:prstGeom>
          <a:ln w="19050">
            <a:solidFill>
              <a:srgbClr val="CA3568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/>
          <p:cNvCxnSpPr/>
          <p:nvPr/>
        </p:nvCxnSpPr>
        <p:spPr>
          <a:xfrm flipH="1" flipV="1">
            <a:off x="5837260" y="3222510"/>
            <a:ext cx="462980" cy="340473"/>
          </a:xfrm>
          <a:prstGeom prst="straightConnector1">
            <a:avLst/>
          </a:prstGeom>
          <a:ln w="19050">
            <a:solidFill>
              <a:srgbClr val="CA3568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 стрелкой 40"/>
          <p:cNvCxnSpPr/>
          <p:nvPr/>
        </p:nvCxnSpPr>
        <p:spPr>
          <a:xfrm flipV="1">
            <a:off x="2812446" y="3203267"/>
            <a:ext cx="535384" cy="379293"/>
          </a:xfrm>
          <a:prstGeom prst="straightConnector1">
            <a:avLst/>
          </a:prstGeom>
          <a:ln w="19050">
            <a:solidFill>
              <a:srgbClr val="CA3568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411" name="Picture 3" descr="C:\Users\User\Desktop\преза Агишев\iBTRIF276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2413" y="1472439"/>
            <a:ext cx="2231496" cy="2231496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0041414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9466" y="381581"/>
            <a:ext cx="6251971" cy="164917"/>
          </a:xfrm>
        </p:spPr>
        <p:txBody>
          <a:bodyPr/>
          <a:lstStyle/>
          <a:p>
            <a:r>
              <a:rPr lang="ru-RU" dirty="0"/>
              <a:t>Процесс реализации программы на отдельном предприятии-участнике </a:t>
            </a:r>
          </a:p>
        </p:txBody>
      </p:sp>
      <p:sp>
        <p:nvSpPr>
          <p:cNvPr id="141" name="Прямоугольник 4"/>
          <p:cNvSpPr/>
          <p:nvPr>
            <p:custDataLst>
              <p:tags r:id="rId1"/>
            </p:custDataLst>
          </p:nvPr>
        </p:nvSpPr>
        <p:spPr>
          <a:xfrm>
            <a:off x="780495" y="4143563"/>
            <a:ext cx="8043653" cy="592521"/>
          </a:xfrm>
          <a:prstGeom prst="rect">
            <a:avLst/>
          </a:prstGeom>
          <a:solidFill>
            <a:srgbClr val="F79646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60948" tIns="30474" rIns="60948" bIns="30474" rtlCol="0" anchor="ctr"/>
          <a:lstStyle/>
          <a:p>
            <a:pPr algn="ctr"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2" name="Прямоугольник 5"/>
          <p:cNvSpPr/>
          <p:nvPr>
            <p:custDataLst>
              <p:tags r:id="rId2"/>
            </p:custDataLst>
          </p:nvPr>
        </p:nvSpPr>
        <p:spPr>
          <a:xfrm>
            <a:off x="932688" y="3487336"/>
            <a:ext cx="7891460" cy="688274"/>
          </a:xfrm>
          <a:prstGeom prst="rect">
            <a:avLst/>
          </a:prstGeom>
          <a:solidFill>
            <a:srgbClr val="9BBB59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60948" tIns="30474" rIns="60948" bIns="30474" rtlCol="0" anchor="ctr"/>
          <a:lstStyle/>
          <a:p>
            <a:pPr algn="ctr"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3" name="Прямоугольник 6"/>
          <p:cNvSpPr/>
          <p:nvPr>
            <p:custDataLst>
              <p:tags r:id="rId3"/>
            </p:custDataLst>
          </p:nvPr>
        </p:nvSpPr>
        <p:spPr>
          <a:xfrm>
            <a:off x="810768" y="1837289"/>
            <a:ext cx="8013383" cy="806898"/>
          </a:xfrm>
          <a:prstGeom prst="rect">
            <a:avLst/>
          </a:prstGeom>
          <a:solidFill>
            <a:srgbClr val="D8F2FB"/>
          </a:solidFill>
          <a:ln w="25400" cap="flat" cmpd="sng" algn="ctr">
            <a:noFill/>
            <a:prstDash val="solid"/>
          </a:ln>
          <a:effectLst/>
        </p:spPr>
        <p:txBody>
          <a:bodyPr lIns="60948" tIns="30474" rIns="60948" bIns="30474" rtlCol="0" anchor="ctr"/>
          <a:lstStyle/>
          <a:p>
            <a:pPr algn="ctr"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4" name="Прямоугольник 7"/>
          <p:cNvSpPr/>
          <p:nvPr>
            <p:custDataLst>
              <p:tags r:id="rId4"/>
            </p:custDataLst>
          </p:nvPr>
        </p:nvSpPr>
        <p:spPr>
          <a:xfrm>
            <a:off x="883920" y="2644186"/>
            <a:ext cx="7940231" cy="865001"/>
          </a:xfrm>
          <a:prstGeom prst="rect">
            <a:avLst/>
          </a:prstGeom>
          <a:solidFill>
            <a:srgbClr val="E6E0EC"/>
          </a:solidFill>
          <a:ln w="25400" cap="flat" cmpd="sng" algn="ctr">
            <a:noFill/>
            <a:prstDash val="solid"/>
          </a:ln>
          <a:effectLst/>
        </p:spPr>
        <p:txBody>
          <a:bodyPr lIns="60948" tIns="30474" rIns="60948" bIns="30474" rtlCol="0" anchor="ctr"/>
          <a:lstStyle/>
          <a:p>
            <a:pPr algn="ctr"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5" name="Прямоугольник 8"/>
          <p:cNvSpPr/>
          <p:nvPr>
            <p:custDataLst>
              <p:tags r:id="rId5"/>
            </p:custDataLst>
          </p:nvPr>
        </p:nvSpPr>
        <p:spPr>
          <a:xfrm>
            <a:off x="810768" y="1224279"/>
            <a:ext cx="8013383" cy="64906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0948" tIns="30474" rIns="60948" bIns="30474" rtlCol="0" anchor="ctr"/>
          <a:lstStyle/>
          <a:p>
            <a:pPr algn="ctr"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7" name="Пятиугольник 12"/>
          <p:cNvSpPr/>
          <p:nvPr>
            <p:custDataLst>
              <p:tags r:id="rId6"/>
            </p:custDataLst>
          </p:nvPr>
        </p:nvSpPr>
        <p:spPr>
          <a:xfrm>
            <a:off x="319849" y="1224279"/>
            <a:ext cx="815393" cy="649060"/>
          </a:xfrm>
          <a:prstGeom prst="homePlate">
            <a:avLst>
              <a:gd name="adj" fmla="val 5883"/>
            </a:avLst>
          </a:prstGeom>
          <a:solidFill>
            <a:sysClr val="window" lastClr="FFFFFF">
              <a:lumMod val="85000"/>
            </a:sys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КОМПОЗИЦИЯ</a:t>
            </a:r>
            <a:b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ЕЙ</a:t>
            </a:r>
          </a:p>
        </p:txBody>
      </p:sp>
      <p:sp>
        <p:nvSpPr>
          <p:cNvPr id="148" name="Пятиугольник 13"/>
          <p:cNvSpPr/>
          <p:nvPr>
            <p:custDataLst>
              <p:tags r:id="rId7"/>
            </p:custDataLst>
          </p:nvPr>
        </p:nvSpPr>
        <p:spPr>
          <a:xfrm>
            <a:off x="319849" y="1873341"/>
            <a:ext cx="815393" cy="770846"/>
          </a:xfrm>
          <a:prstGeom prst="homePlate">
            <a:avLst>
              <a:gd name="adj" fmla="val 5614"/>
            </a:avLst>
          </a:prstGeom>
          <a:solidFill>
            <a:srgbClr val="3BBEED">
              <a:lumMod val="40000"/>
              <a:lumOff val="60000"/>
            </a:srgb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ТИМИЗАЦИЯ ПОТОКОВ ПО ПРОИЗВОДСТВУ ПРОДУКЦИИ</a:t>
            </a:r>
          </a:p>
        </p:txBody>
      </p:sp>
      <p:sp>
        <p:nvSpPr>
          <p:cNvPr id="149" name="Пятиугольник 14"/>
          <p:cNvSpPr/>
          <p:nvPr>
            <p:custDataLst>
              <p:tags r:id="rId8"/>
            </p:custDataLst>
          </p:nvPr>
        </p:nvSpPr>
        <p:spPr>
          <a:xfrm>
            <a:off x="319849" y="3485817"/>
            <a:ext cx="815393" cy="689793"/>
          </a:xfrm>
          <a:prstGeom prst="homePlate">
            <a:avLst>
              <a:gd name="adj" fmla="val 7344"/>
            </a:avLst>
          </a:prstGeom>
          <a:solidFill>
            <a:srgbClr val="9BBB59">
              <a:lumMod val="60000"/>
              <a:lumOff val="40000"/>
            </a:srgb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УЧЕНИЕ</a:t>
            </a:r>
          </a:p>
        </p:txBody>
      </p:sp>
      <p:sp>
        <p:nvSpPr>
          <p:cNvPr id="150" name="Пятиугольник 15"/>
          <p:cNvSpPr/>
          <p:nvPr>
            <p:custDataLst>
              <p:tags r:id="rId9"/>
            </p:custDataLst>
          </p:nvPr>
        </p:nvSpPr>
        <p:spPr>
          <a:xfrm>
            <a:off x="319849" y="4162931"/>
            <a:ext cx="815393" cy="582804"/>
          </a:xfrm>
          <a:prstGeom prst="homePlate">
            <a:avLst>
              <a:gd name="adj" fmla="val 8204"/>
            </a:avLst>
          </a:prstGeom>
          <a:solidFill>
            <a:srgbClr val="F79646">
              <a:lumMod val="60000"/>
              <a:lumOff val="40000"/>
            </a:srgb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ИЗМЕНЕНИЯМИ</a:t>
            </a:r>
          </a:p>
        </p:txBody>
      </p:sp>
      <p:sp>
        <p:nvSpPr>
          <p:cNvPr id="151" name="Пятиугольник 16"/>
          <p:cNvSpPr/>
          <p:nvPr>
            <p:custDataLst>
              <p:tags r:id="rId10"/>
            </p:custDataLst>
          </p:nvPr>
        </p:nvSpPr>
        <p:spPr>
          <a:xfrm>
            <a:off x="319849" y="2644186"/>
            <a:ext cx="815393" cy="865001"/>
          </a:xfrm>
          <a:prstGeom prst="homePlate">
            <a:avLst>
              <a:gd name="adj" fmla="val 6286"/>
            </a:avLst>
          </a:prstGeom>
          <a:solidFill>
            <a:srgbClr val="8064A2">
              <a:lumMod val="40000"/>
              <a:lumOff val="60000"/>
            </a:srgb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</a:t>
            </a:r>
            <a:b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АМИ И МЕТОДОЛОГИЕЙ</a:t>
            </a:r>
          </a:p>
        </p:txBody>
      </p:sp>
      <p:sp>
        <p:nvSpPr>
          <p:cNvPr id="152" name="Скругленный прямоугольник 17"/>
          <p:cNvSpPr/>
          <p:nvPr>
            <p:custDataLst>
              <p:tags r:id="rId11"/>
            </p:custDataLst>
          </p:nvPr>
        </p:nvSpPr>
        <p:spPr>
          <a:xfrm>
            <a:off x="2765141" y="1285882"/>
            <a:ext cx="2071818" cy="229943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3" name="Скругленный прямоугольник 18"/>
          <p:cNvSpPr/>
          <p:nvPr>
            <p:custDataLst>
              <p:tags r:id="rId12"/>
            </p:custDataLst>
          </p:nvPr>
        </p:nvSpPr>
        <p:spPr>
          <a:xfrm>
            <a:off x="1479197" y="1915979"/>
            <a:ext cx="944694" cy="665248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40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4" name="Прямоугольник 19"/>
          <p:cNvSpPr/>
          <p:nvPr>
            <p:custDataLst>
              <p:tags r:id="rId13"/>
            </p:custDataLst>
          </p:nvPr>
        </p:nvSpPr>
        <p:spPr>
          <a:xfrm>
            <a:off x="1524528" y="2031338"/>
            <a:ext cx="856689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10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ыбор потоков для оптимизации </a:t>
            </a:r>
            <a:endParaRPr lang="ru-RU" sz="10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55" name="Прямоугольник 20"/>
          <p:cNvSpPr/>
          <p:nvPr>
            <p:custDataLst>
              <p:tags r:id="rId14"/>
            </p:custDataLst>
          </p:nvPr>
        </p:nvSpPr>
        <p:spPr>
          <a:xfrm>
            <a:off x="2825626" y="1334280"/>
            <a:ext cx="192949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азработка дерева целей, постановка КПЭ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56" name="Скругленный прямоугольник 21"/>
          <p:cNvSpPr/>
          <p:nvPr>
            <p:custDataLst>
              <p:tags r:id="rId15"/>
            </p:custDataLst>
          </p:nvPr>
        </p:nvSpPr>
        <p:spPr>
          <a:xfrm>
            <a:off x="1477151" y="3509467"/>
            <a:ext cx="948680" cy="352293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7" name="Прямоугольник 22"/>
          <p:cNvSpPr/>
          <p:nvPr>
            <p:custDataLst>
              <p:tags r:id="rId16"/>
            </p:custDataLst>
          </p:nvPr>
        </p:nvSpPr>
        <p:spPr>
          <a:xfrm>
            <a:off x="1486351" y="3514510"/>
            <a:ext cx="945474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учение/стажировка рабочей группы пилотного проекта по оптимизации потоков</a:t>
            </a:r>
          </a:p>
        </p:txBody>
      </p:sp>
      <p:sp>
        <p:nvSpPr>
          <p:cNvPr id="158" name="Скругленный прямоугольник 23"/>
          <p:cNvSpPr/>
          <p:nvPr>
            <p:custDataLst>
              <p:tags r:id="rId17"/>
            </p:custDataLst>
          </p:nvPr>
        </p:nvSpPr>
        <p:spPr>
          <a:xfrm>
            <a:off x="2746579" y="2366582"/>
            <a:ext cx="2090383" cy="229943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9" name="Прямоугольник 24"/>
          <p:cNvSpPr/>
          <p:nvPr>
            <p:custDataLst>
              <p:tags r:id="rId18"/>
            </p:custDataLst>
          </p:nvPr>
        </p:nvSpPr>
        <p:spPr>
          <a:xfrm>
            <a:off x="2815428" y="2397966"/>
            <a:ext cx="1900542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10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оздание участков-образцов</a:t>
            </a:r>
          </a:p>
        </p:txBody>
      </p:sp>
      <p:sp>
        <p:nvSpPr>
          <p:cNvPr id="160" name="Скругленный прямоугольник 25"/>
          <p:cNvSpPr/>
          <p:nvPr>
            <p:custDataLst>
              <p:tags r:id="rId19"/>
            </p:custDataLst>
          </p:nvPr>
        </p:nvSpPr>
        <p:spPr>
          <a:xfrm>
            <a:off x="5390485" y="1929702"/>
            <a:ext cx="1920505" cy="409809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1" name="Прямоугольник 26"/>
          <p:cNvSpPr/>
          <p:nvPr>
            <p:custDataLst>
              <p:tags r:id="rId20"/>
            </p:custDataLst>
          </p:nvPr>
        </p:nvSpPr>
        <p:spPr>
          <a:xfrm>
            <a:off x="5407710" y="1929958"/>
            <a:ext cx="1880421" cy="4154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9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еализация мероприятий по достижению целевого состояния потоков</a:t>
            </a:r>
            <a:endParaRPr lang="ru-RU" sz="9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2" name="Скругленный прямоугольник 27"/>
          <p:cNvSpPr/>
          <p:nvPr>
            <p:custDataLst>
              <p:tags r:id="rId21"/>
            </p:custDataLst>
          </p:nvPr>
        </p:nvSpPr>
        <p:spPr>
          <a:xfrm>
            <a:off x="5381496" y="1289913"/>
            <a:ext cx="1929495" cy="443391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3" name="Прямоугольник 28"/>
          <p:cNvSpPr/>
          <p:nvPr>
            <p:custDataLst>
              <p:tags r:id="rId22"/>
            </p:custDataLst>
          </p:nvPr>
        </p:nvSpPr>
        <p:spPr>
          <a:xfrm>
            <a:off x="5468667" y="1442591"/>
            <a:ext cx="1796379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9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недрение инфоцентра предприятия</a:t>
            </a:r>
            <a:endParaRPr lang="ru-RU" sz="9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4" name="Скругленный прямоугольник 29"/>
          <p:cNvSpPr/>
          <p:nvPr>
            <p:custDataLst>
              <p:tags r:id="rId23"/>
            </p:custDataLst>
          </p:nvPr>
        </p:nvSpPr>
        <p:spPr>
          <a:xfrm>
            <a:off x="2765141" y="1603244"/>
            <a:ext cx="2071818" cy="224747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/>
            <a:endParaRPr lang="ru-RU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5" name="Скругленный прямоугольник 32"/>
          <p:cNvSpPr/>
          <p:nvPr>
            <p:custDataLst>
              <p:tags r:id="rId24"/>
            </p:custDataLst>
          </p:nvPr>
        </p:nvSpPr>
        <p:spPr>
          <a:xfrm>
            <a:off x="7538720" y="3134383"/>
            <a:ext cx="1147817" cy="309983"/>
          </a:xfrm>
          <a:prstGeom prst="roundRect">
            <a:avLst/>
          </a:prstGeom>
          <a:solidFill>
            <a:srgbClr val="8064A2">
              <a:lumMod val="40000"/>
              <a:lumOff val="60000"/>
            </a:srgbClr>
          </a:solidFill>
          <a:ln w="9525" cap="flat" cmpd="sng" algn="ctr">
            <a:solidFill>
              <a:srgbClr val="8064A2"/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6" name="Прямоугольник 33"/>
          <p:cNvSpPr/>
          <p:nvPr>
            <p:custDataLst>
              <p:tags r:id="rId25"/>
            </p:custDataLst>
          </p:nvPr>
        </p:nvSpPr>
        <p:spPr>
          <a:xfrm>
            <a:off x="7566640" y="3196655"/>
            <a:ext cx="1119894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недрение системы по работе с предложениями по улучшениям</a:t>
            </a:r>
            <a:endParaRPr lang="ru-RU" sz="6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7" name="Скругленный прямоугольник 36"/>
          <p:cNvSpPr/>
          <p:nvPr>
            <p:custDataLst>
              <p:tags r:id="rId26"/>
            </p:custDataLst>
          </p:nvPr>
        </p:nvSpPr>
        <p:spPr>
          <a:xfrm>
            <a:off x="5389896" y="3751870"/>
            <a:ext cx="1921093" cy="355366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8" name="Прямоугольник 37"/>
          <p:cNvSpPr/>
          <p:nvPr>
            <p:custDataLst>
              <p:tags r:id="rId27"/>
            </p:custDataLst>
          </p:nvPr>
        </p:nvSpPr>
        <p:spPr>
          <a:xfrm>
            <a:off x="5463482" y="3791470"/>
            <a:ext cx="177184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9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учение участников (членов РГ) проектов</a:t>
            </a:r>
            <a:endParaRPr lang="ru-RU" sz="9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9" name="Скругленный прямоугольник 38"/>
          <p:cNvSpPr/>
          <p:nvPr>
            <p:custDataLst>
              <p:tags r:id="rId28"/>
            </p:custDataLst>
          </p:nvPr>
        </p:nvSpPr>
        <p:spPr>
          <a:xfrm>
            <a:off x="1475025" y="3996259"/>
            <a:ext cx="948865" cy="152522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0" name="Прямоугольник 39"/>
          <p:cNvSpPr/>
          <p:nvPr>
            <p:custDataLst>
              <p:tags r:id="rId29"/>
            </p:custDataLst>
          </p:nvPr>
        </p:nvSpPr>
        <p:spPr>
          <a:xfrm>
            <a:off x="1513328" y="4023719"/>
            <a:ext cx="858631" cy="923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учение ГД предприятия</a:t>
            </a:r>
            <a:endParaRPr lang="ru-RU" sz="6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71" name="Скругленный прямоугольник 40"/>
          <p:cNvSpPr/>
          <p:nvPr>
            <p:custDataLst>
              <p:tags r:id="rId30"/>
            </p:custDataLst>
          </p:nvPr>
        </p:nvSpPr>
        <p:spPr>
          <a:xfrm>
            <a:off x="2733233" y="4204796"/>
            <a:ext cx="1825752" cy="132593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2" name="Прямоугольник 41"/>
          <p:cNvSpPr/>
          <p:nvPr>
            <p:custDataLst>
              <p:tags r:id="rId31"/>
            </p:custDataLst>
          </p:nvPr>
        </p:nvSpPr>
        <p:spPr>
          <a:xfrm>
            <a:off x="2802114" y="4210483"/>
            <a:ext cx="170594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тартовое совещание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73" name="Скругленный прямоугольник 42"/>
          <p:cNvSpPr/>
          <p:nvPr>
            <p:custDataLst>
              <p:tags r:id="rId32"/>
            </p:custDataLst>
          </p:nvPr>
        </p:nvSpPr>
        <p:spPr>
          <a:xfrm>
            <a:off x="4836964" y="4204347"/>
            <a:ext cx="2474023" cy="135475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4" name="Прямоугольник 43"/>
          <p:cNvSpPr/>
          <p:nvPr>
            <p:custDataLst>
              <p:tags r:id="rId33"/>
            </p:custDataLst>
          </p:nvPr>
        </p:nvSpPr>
        <p:spPr>
          <a:xfrm>
            <a:off x="4867566" y="4209449"/>
            <a:ext cx="2404454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оведение Дней информирования</a:t>
            </a:r>
          </a:p>
        </p:txBody>
      </p:sp>
      <p:cxnSp>
        <p:nvCxnSpPr>
          <p:cNvPr id="175" name="Соединительная линия уступом 46"/>
          <p:cNvCxnSpPr>
            <a:cxnSpLocks/>
            <a:endCxn id="164" idx="1"/>
          </p:cNvCxnSpPr>
          <p:nvPr>
            <p:custDataLst>
              <p:tags r:id="rId34"/>
            </p:custDataLst>
          </p:nvPr>
        </p:nvCxnSpPr>
        <p:spPr>
          <a:xfrm>
            <a:off x="2121772" y="1515825"/>
            <a:ext cx="643369" cy="199793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176" name="Соединительная линия уступом 47"/>
          <p:cNvCxnSpPr>
            <a:cxnSpLocks/>
            <a:stCxn id="153" idx="3"/>
            <a:endCxn id="214" idx="1"/>
          </p:cNvCxnSpPr>
          <p:nvPr>
            <p:custDataLst>
              <p:tags r:id="rId35"/>
            </p:custDataLst>
          </p:nvPr>
        </p:nvCxnSpPr>
        <p:spPr>
          <a:xfrm flipV="1">
            <a:off x="2423891" y="2134609"/>
            <a:ext cx="322689" cy="113994"/>
          </a:xfrm>
          <a:prstGeom prst="bentConnector3">
            <a:avLst>
              <a:gd name="adj1" fmla="val 16940"/>
            </a:avLst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177" name="Соединительная линия уступом 48"/>
          <p:cNvCxnSpPr>
            <a:cxnSpLocks/>
            <a:stCxn id="153" idx="3"/>
          </p:cNvCxnSpPr>
          <p:nvPr>
            <p:custDataLst>
              <p:tags r:id="rId36"/>
            </p:custDataLst>
          </p:nvPr>
        </p:nvCxnSpPr>
        <p:spPr>
          <a:xfrm>
            <a:off x="2423891" y="2248603"/>
            <a:ext cx="316419" cy="149057"/>
          </a:xfrm>
          <a:prstGeom prst="bentConnector3">
            <a:avLst>
              <a:gd name="adj1" fmla="val 17088"/>
            </a:avLst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178" name="Соединительная линия уступом 49"/>
          <p:cNvCxnSpPr>
            <a:cxnSpLocks/>
            <a:stCxn id="214" idx="3"/>
            <a:endCxn id="160" idx="1"/>
          </p:cNvCxnSpPr>
          <p:nvPr>
            <p:custDataLst>
              <p:tags r:id="rId37"/>
            </p:custDataLst>
          </p:nvPr>
        </p:nvCxnSpPr>
        <p:spPr>
          <a:xfrm flipV="1">
            <a:off x="4836964" y="2134607"/>
            <a:ext cx="553521" cy="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179" name="Соединительная линия уступом 50"/>
          <p:cNvCxnSpPr/>
          <p:nvPr>
            <p:custDataLst>
              <p:tags r:id="rId38"/>
            </p:custDataLst>
          </p:nvPr>
        </p:nvCxnSpPr>
        <p:spPr>
          <a:xfrm>
            <a:off x="4558984" y="2757486"/>
            <a:ext cx="313973" cy="183947"/>
          </a:xfrm>
          <a:prstGeom prst="bentConnector2">
            <a:avLst/>
          </a:prstGeom>
          <a:noFill/>
          <a:ln w="9525" cap="flat" cmpd="sng" algn="ctr">
            <a:solidFill>
              <a:srgbClr val="8064A2"/>
            </a:solidFill>
            <a:prstDash val="solid"/>
            <a:tailEnd type="triangle"/>
          </a:ln>
          <a:effectLst/>
        </p:spPr>
      </p:cxnSp>
      <p:cxnSp>
        <p:nvCxnSpPr>
          <p:cNvPr id="180" name="Соединительная линия уступом 51"/>
          <p:cNvCxnSpPr>
            <a:cxnSpLocks/>
            <a:stCxn id="152" idx="3"/>
            <a:endCxn id="162" idx="1"/>
          </p:cNvCxnSpPr>
          <p:nvPr>
            <p:custDataLst>
              <p:tags r:id="rId39"/>
            </p:custDataLst>
          </p:nvPr>
        </p:nvCxnSpPr>
        <p:spPr>
          <a:xfrm>
            <a:off x="4836959" y="1400854"/>
            <a:ext cx="544537" cy="110755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tailEnd type="triangle"/>
          </a:ln>
          <a:effectLst/>
        </p:spPr>
      </p:cxnSp>
      <p:cxnSp>
        <p:nvCxnSpPr>
          <p:cNvPr id="181" name="Соединительная линия уступом 52"/>
          <p:cNvCxnSpPr>
            <a:cxnSpLocks/>
            <a:stCxn id="164" idx="3"/>
            <a:endCxn id="162" idx="1"/>
          </p:cNvCxnSpPr>
          <p:nvPr>
            <p:custDataLst>
              <p:tags r:id="rId40"/>
            </p:custDataLst>
          </p:nvPr>
        </p:nvCxnSpPr>
        <p:spPr>
          <a:xfrm flipV="1">
            <a:off x="4836959" y="1511609"/>
            <a:ext cx="544537" cy="204009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tailEnd type="triangle"/>
          </a:ln>
          <a:effectLst/>
        </p:spPr>
      </p:cxnSp>
      <p:cxnSp>
        <p:nvCxnSpPr>
          <p:cNvPr id="182" name="Прямая со стрелкой 53"/>
          <p:cNvCxnSpPr>
            <a:cxnSpLocks/>
            <a:endCxn id="228" idx="1"/>
          </p:cNvCxnSpPr>
          <p:nvPr>
            <p:custDataLst>
              <p:tags r:id="rId41"/>
            </p:custDataLst>
          </p:nvPr>
        </p:nvCxnSpPr>
        <p:spPr>
          <a:xfrm flipV="1">
            <a:off x="1330231" y="4472179"/>
            <a:ext cx="150908" cy="4970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183" name="Соединительная линия уступом 54"/>
          <p:cNvCxnSpPr>
            <a:cxnSpLocks/>
            <a:stCxn id="237" idx="3"/>
            <a:endCxn id="167" idx="1"/>
          </p:cNvCxnSpPr>
          <p:nvPr>
            <p:custDataLst>
              <p:tags r:id="rId42"/>
            </p:custDataLst>
          </p:nvPr>
        </p:nvCxnSpPr>
        <p:spPr>
          <a:xfrm>
            <a:off x="4872774" y="3713076"/>
            <a:ext cx="517122" cy="216477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9BBB59"/>
            </a:solidFill>
            <a:prstDash val="solid"/>
            <a:tailEnd type="triangle"/>
          </a:ln>
          <a:effectLst/>
        </p:spPr>
      </p:cxnSp>
      <p:cxnSp>
        <p:nvCxnSpPr>
          <p:cNvPr id="184" name="Соединительная линия уступом 58"/>
          <p:cNvCxnSpPr>
            <a:cxnSpLocks/>
            <a:stCxn id="169" idx="3"/>
          </p:cNvCxnSpPr>
          <p:nvPr>
            <p:custDataLst>
              <p:tags r:id="rId43"/>
            </p:custDataLst>
          </p:nvPr>
        </p:nvCxnSpPr>
        <p:spPr>
          <a:xfrm flipV="1">
            <a:off x="2423890" y="3406054"/>
            <a:ext cx="502141" cy="666466"/>
          </a:xfrm>
          <a:prstGeom prst="bentConnector2">
            <a:avLst/>
          </a:prstGeom>
          <a:noFill/>
          <a:ln w="9525" cap="flat" cmpd="sng" algn="ctr">
            <a:solidFill>
              <a:srgbClr val="9BBB59"/>
            </a:solidFill>
            <a:prstDash val="solid"/>
            <a:tailEnd type="triangle"/>
          </a:ln>
          <a:effectLst/>
        </p:spPr>
      </p:cxnSp>
      <p:cxnSp>
        <p:nvCxnSpPr>
          <p:cNvPr id="185" name="Соединительная линия уступом 63"/>
          <p:cNvCxnSpPr>
            <a:cxnSpLocks/>
            <a:stCxn id="162" idx="3"/>
          </p:cNvCxnSpPr>
          <p:nvPr>
            <p:custDataLst>
              <p:tags r:id="rId44"/>
            </p:custDataLst>
          </p:nvPr>
        </p:nvCxnSpPr>
        <p:spPr>
          <a:xfrm flipH="1">
            <a:off x="6131561" y="1511609"/>
            <a:ext cx="1179430" cy="1429821"/>
          </a:xfrm>
          <a:prstGeom prst="bentConnector4">
            <a:avLst>
              <a:gd name="adj1" fmla="val -12598"/>
              <a:gd name="adj2" fmla="val 70277"/>
            </a:avLst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tailEnd type="triangle"/>
          </a:ln>
          <a:effectLst/>
        </p:spPr>
      </p:cxnSp>
      <p:cxnSp>
        <p:nvCxnSpPr>
          <p:cNvPr id="186" name="Прямая соединительная линия 66"/>
          <p:cNvCxnSpPr/>
          <p:nvPr>
            <p:custDataLst>
              <p:tags r:id="rId45"/>
            </p:custDataLst>
          </p:nvPr>
        </p:nvCxnSpPr>
        <p:spPr>
          <a:xfrm>
            <a:off x="1331247" y="1446841"/>
            <a:ext cx="0" cy="3030308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</a:ln>
          <a:effectLst/>
        </p:spPr>
      </p:cxnSp>
      <p:cxnSp>
        <p:nvCxnSpPr>
          <p:cNvPr id="187" name="Прямая со стрелкой 67"/>
          <p:cNvCxnSpPr/>
          <p:nvPr>
            <p:custDataLst>
              <p:tags r:id="rId46"/>
            </p:custDataLst>
          </p:nvPr>
        </p:nvCxnSpPr>
        <p:spPr>
          <a:xfrm>
            <a:off x="1330231" y="2225770"/>
            <a:ext cx="150909" cy="1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188" name="Прямая со стрелкой 68"/>
          <p:cNvCxnSpPr>
            <a:cxnSpLocks/>
          </p:cNvCxnSpPr>
          <p:nvPr>
            <p:custDataLst>
              <p:tags r:id="rId47"/>
            </p:custDataLst>
          </p:nvPr>
        </p:nvCxnSpPr>
        <p:spPr>
          <a:xfrm>
            <a:off x="1324976" y="2860147"/>
            <a:ext cx="1421603" cy="1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sp>
        <p:nvSpPr>
          <p:cNvPr id="189" name="Пятиугольник 69"/>
          <p:cNvSpPr/>
          <p:nvPr>
            <p:custDataLst>
              <p:tags r:id="rId48"/>
            </p:custDataLst>
          </p:nvPr>
        </p:nvSpPr>
        <p:spPr>
          <a:xfrm>
            <a:off x="7401127" y="1055301"/>
            <a:ext cx="1346358" cy="183522"/>
          </a:xfrm>
          <a:prstGeom prst="homePlate">
            <a:avLst>
              <a:gd name="adj" fmla="val 10366"/>
            </a:avLst>
          </a:prstGeom>
          <a:solidFill>
            <a:schemeClr val="accent5"/>
          </a:solidFill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189000" tIns="0" rIns="0" bIns="0" rtlCol="0" anchor="ctr"/>
          <a:lstStyle/>
          <a:p>
            <a:pPr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иражирование</a:t>
            </a:r>
          </a:p>
        </p:txBody>
      </p:sp>
      <p:sp>
        <p:nvSpPr>
          <p:cNvPr id="190" name="Пятиугольник 70"/>
          <p:cNvSpPr/>
          <p:nvPr>
            <p:custDataLst>
              <p:tags r:id="rId49"/>
            </p:custDataLst>
          </p:nvPr>
        </p:nvSpPr>
        <p:spPr>
          <a:xfrm>
            <a:off x="4894681" y="1055301"/>
            <a:ext cx="2557679" cy="183522"/>
          </a:xfrm>
          <a:prstGeom prst="homePlate">
            <a:avLst>
              <a:gd name="adj" fmla="val 10366"/>
            </a:avLst>
          </a:prstGeom>
          <a:solidFill>
            <a:srgbClr val="EBE99B">
              <a:lumMod val="60000"/>
              <a:lumOff val="40000"/>
            </a:srgbClr>
          </a:solidFill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39856" tIns="0" rIns="0" bIns="0" rtlCol="0" anchor="ctr"/>
          <a:lstStyle/>
          <a:p>
            <a:pPr algn="ctr" defTabSz="683953"/>
            <a:r>
              <a:rPr lang="ru-RU" sz="675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дрение улучшений</a:t>
            </a:r>
          </a:p>
        </p:txBody>
      </p:sp>
      <p:sp>
        <p:nvSpPr>
          <p:cNvPr id="191" name="Пятиугольник 71"/>
          <p:cNvSpPr/>
          <p:nvPr>
            <p:custDataLst>
              <p:tags r:id="rId50"/>
            </p:custDataLst>
          </p:nvPr>
        </p:nvSpPr>
        <p:spPr>
          <a:xfrm>
            <a:off x="2567106" y="1055301"/>
            <a:ext cx="2385084" cy="183522"/>
          </a:xfrm>
          <a:prstGeom prst="homePlate">
            <a:avLst>
              <a:gd name="adj" fmla="val 10366"/>
            </a:avLst>
          </a:prstGeom>
          <a:solidFill>
            <a:srgbClr val="EBE99B">
              <a:lumMod val="60000"/>
              <a:lumOff val="40000"/>
            </a:srgbClr>
          </a:solidFill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39856" tIns="0" rIns="0" bIns="0" rtlCol="0" anchor="ctr"/>
          <a:lstStyle/>
          <a:p>
            <a:pPr defTabSz="683953"/>
            <a:r>
              <a:rPr lang="ru-RU" sz="675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агностика и планирование</a:t>
            </a:r>
          </a:p>
        </p:txBody>
      </p:sp>
      <p:sp>
        <p:nvSpPr>
          <p:cNvPr id="192" name="Пятиугольник 72"/>
          <p:cNvSpPr/>
          <p:nvPr>
            <p:custDataLst>
              <p:tags r:id="rId51"/>
            </p:custDataLst>
          </p:nvPr>
        </p:nvSpPr>
        <p:spPr>
          <a:xfrm>
            <a:off x="1330233" y="1055301"/>
            <a:ext cx="1230122" cy="183522"/>
          </a:xfrm>
          <a:prstGeom prst="homePlate">
            <a:avLst>
              <a:gd name="adj" fmla="val 10366"/>
            </a:avLst>
          </a:prstGeom>
          <a:solidFill>
            <a:srgbClr val="EBE99B">
              <a:lumMod val="60000"/>
              <a:lumOff val="40000"/>
            </a:srgbClr>
          </a:solidFill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39856" tIns="0" rIns="0" bIns="0" rtlCol="0" anchor="ctr"/>
          <a:lstStyle/>
          <a:p>
            <a:pPr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ка </a:t>
            </a:r>
          </a:p>
        </p:txBody>
      </p:sp>
      <p:cxnSp>
        <p:nvCxnSpPr>
          <p:cNvPr id="193" name="Прямая со стрелкой 88"/>
          <p:cNvCxnSpPr/>
          <p:nvPr>
            <p:custDataLst>
              <p:tags r:id="rId52"/>
            </p:custDataLst>
          </p:nvPr>
        </p:nvCxnSpPr>
        <p:spPr>
          <a:xfrm>
            <a:off x="1330231" y="4104578"/>
            <a:ext cx="150909" cy="1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sp>
        <p:nvSpPr>
          <p:cNvPr id="194" name="TextBox 193"/>
          <p:cNvSpPr txBox="1"/>
          <p:nvPr>
            <p:custDataLst>
              <p:tags r:id="rId53"/>
            </p:custDataLst>
          </p:nvPr>
        </p:nvSpPr>
        <p:spPr>
          <a:xfrm>
            <a:off x="1392091" y="1196350"/>
            <a:ext cx="1251191" cy="276835"/>
          </a:xfrm>
          <a:prstGeom prst="rect">
            <a:avLst/>
          </a:prstGeom>
          <a:noFill/>
        </p:spPr>
        <p:txBody>
          <a:bodyPr wrap="square" lIns="60798" tIns="30399" rIns="60798" bIns="30399" rtlCol="0" anchor="ctr">
            <a:spAutoFit/>
          </a:bodyPr>
          <a:lstStyle/>
          <a:p>
            <a:pPr defTabSz="683953"/>
            <a:r>
              <a:rPr lang="ru-RU" sz="7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бор предприятия и подписание соглашения</a:t>
            </a:r>
          </a:p>
        </p:txBody>
      </p:sp>
      <p:sp>
        <p:nvSpPr>
          <p:cNvPr id="195" name="Скругленный прямоугольник 91"/>
          <p:cNvSpPr/>
          <p:nvPr>
            <p:custDataLst>
              <p:tags r:id="rId54"/>
            </p:custDataLst>
          </p:nvPr>
        </p:nvSpPr>
        <p:spPr>
          <a:xfrm>
            <a:off x="7544542" y="1270522"/>
            <a:ext cx="1143878" cy="176318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6" name="Прямоугольник 92"/>
          <p:cNvSpPr/>
          <p:nvPr>
            <p:custDataLst>
              <p:tags r:id="rId55"/>
            </p:custDataLst>
          </p:nvPr>
        </p:nvSpPr>
        <p:spPr>
          <a:xfrm>
            <a:off x="7594601" y="1308882"/>
            <a:ext cx="1093816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7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Актуализация целей и КПЭ</a:t>
            </a:r>
          </a:p>
        </p:txBody>
      </p:sp>
      <p:sp>
        <p:nvSpPr>
          <p:cNvPr id="197" name="Скругленный прямоугольник 93"/>
          <p:cNvSpPr/>
          <p:nvPr>
            <p:custDataLst>
              <p:tags r:id="rId56"/>
            </p:custDataLst>
          </p:nvPr>
        </p:nvSpPr>
        <p:spPr>
          <a:xfrm>
            <a:off x="7544539" y="1890326"/>
            <a:ext cx="1141998" cy="229943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8" name="Прямоугольник 94"/>
          <p:cNvSpPr/>
          <p:nvPr>
            <p:custDataLst>
              <p:tags r:id="rId57"/>
            </p:custDataLst>
          </p:nvPr>
        </p:nvSpPr>
        <p:spPr>
          <a:xfrm>
            <a:off x="7594602" y="1916533"/>
            <a:ext cx="109381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7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ыбор и оптимизация новых потоков</a:t>
            </a:r>
            <a:endParaRPr lang="ru-RU" sz="7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99" name="Скругленный прямоугольник 95"/>
          <p:cNvSpPr/>
          <p:nvPr>
            <p:custDataLst>
              <p:tags r:id="rId58"/>
            </p:custDataLst>
          </p:nvPr>
        </p:nvSpPr>
        <p:spPr>
          <a:xfrm>
            <a:off x="7539336" y="2163503"/>
            <a:ext cx="1147201" cy="361395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00" name="Прямоугольник 96"/>
          <p:cNvSpPr/>
          <p:nvPr>
            <p:custDataLst>
              <p:tags r:id="rId59"/>
            </p:custDataLst>
          </p:nvPr>
        </p:nvSpPr>
        <p:spPr>
          <a:xfrm>
            <a:off x="7592722" y="2175159"/>
            <a:ext cx="1093815" cy="276999"/>
          </a:xfrm>
          <a:prstGeom prst="rect">
            <a:avLst/>
          </a:prstGeom>
          <a:ln>
            <a:noFill/>
            <a:prstDash val="lgDash"/>
          </a:ln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еализация мероприятий по достижению/приближению идеального состояния потоков</a:t>
            </a:r>
          </a:p>
        </p:txBody>
      </p:sp>
      <p:sp>
        <p:nvSpPr>
          <p:cNvPr id="201" name="Скругленный прямоугольник 97"/>
          <p:cNvSpPr/>
          <p:nvPr>
            <p:custDataLst>
              <p:tags r:id="rId60"/>
            </p:custDataLst>
          </p:nvPr>
        </p:nvSpPr>
        <p:spPr>
          <a:xfrm>
            <a:off x="7549589" y="2711494"/>
            <a:ext cx="1136947" cy="371975"/>
          </a:xfrm>
          <a:prstGeom prst="roundRect">
            <a:avLst>
              <a:gd name="adj" fmla="val 10521"/>
            </a:avLst>
          </a:prstGeom>
          <a:solidFill>
            <a:srgbClr val="8064A2">
              <a:lumMod val="40000"/>
              <a:lumOff val="60000"/>
            </a:srgbClr>
          </a:solidFill>
          <a:ln w="9525" cap="flat" cmpd="sng" algn="ctr">
            <a:solidFill>
              <a:srgbClr val="8064A2"/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02" name="Прямоугольник 98"/>
          <p:cNvSpPr/>
          <p:nvPr>
            <p:custDataLst>
              <p:tags r:id="rId61"/>
            </p:custDataLst>
          </p:nvPr>
        </p:nvSpPr>
        <p:spPr>
          <a:xfrm>
            <a:off x="7599508" y="2721649"/>
            <a:ext cx="113694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ткрытие и реализация проектов по оптимизации дополнительных потоков и процессов</a:t>
            </a:r>
            <a:endParaRPr lang="ru-RU" sz="6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03" name="Овал 105"/>
          <p:cNvSpPr/>
          <p:nvPr>
            <p:custDataLst>
              <p:tags r:id="rId62"/>
            </p:custDataLst>
          </p:nvPr>
        </p:nvSpPr>
        <p:spPr>
          <a:xfrm>
            <a:off x="1259897" y="1270524"/>
            <a:ext cx="167592" cy="181427"/>
          </a:xfrm>
          <a:prstGeom prst="ellipse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900" b="1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4" name="Прямоугольник 110"/>
          <p:cNvSpPr/>
          <p:nvPr>
            <p:custDataLst>
              <p:tags r:id="rId63"/>
            </p:custDataLst>
          </p:nvPr>
        </p:nvSpPr>
        <p:spPr>
          <a:xfrm>
            <a:off x="2851409" y="1658530"/>
            <a:ext cx="1875930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7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недрение пилотного информационного центра</a:t>
            </a:r>
            <a:endParaRPr lang="ru-RU" sz="7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205" name="Прямая со стрелкой 112"/>
          <p:cNvCxnSpPr/>
          <p:nvPr>
            <p:custDataLst>
              <p:tags r:id="rId64"/>
            </p:custDataLst>
          </p:nvPr>
        </p:nvCxnSpPr>
        <p:spPr>
          <a:xfrm>
            <a:off x="1330231" y="3668117"/>
            <a:ext cx="150909" cy="1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206" name="Соединительная линия уступом 113"/>
          <p:cNvCxnSpPr>
            <a:cxnSpLocks/>
            <a:endCxn id="152" idx="1"/>
          </p:cNvCxnSpPr>
          <p:nvPr/>
        </p:nvCxnSpPr>
        <p:spPr>
          <a:xfrm flipV="1">
            <a:off x="2121767" y="1400854"/>
            <a:ext cx="643374" cy="114968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207" name="Прямая со стрелкой 114"/>
          <p:cNvCxnSpPr/>
          <p:nvPr>
            <p:custDataLst>
              <p:tags r:id="rId65"/>
            </p:custDataLst>
          </p:nvPr>
        </p:nvCxnSpPr>
        <p:spPr>
          <a:xfrm>
            <a:off x="1330231" y="1515825"/>
            <a:ext cx="794543" cy="0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208" name="Соединительная линия уступом 116"/>
          <p:cNvCxnSpPr>
            <a:cxnSpLocks/>
            <a:stCxn id="214" idx="3"/>
            <a:endCxn id="242" idx="0"/>
          </p:cNvCxnSpPr>
          <p:nvPr>
            <p:custDataLst>
              <p:tags r:id="rId66"/>
            </p:custDataLst>
          </p:nvPr>
        </p:nvCxnSpPr>
        <p:spPr>
          <a:xfrm>
            <a:off x="4836964" y="2134609"/>
            <a:ext cx="192799" cy="806821"/>
          </a:xfrm>
          <a:prstGeom prst="bentConnector2">
            <a:avLst/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209" name="Соединительная линия уступом 117"/>
          <p:cNvCxnSpPr>
            <a:cxnSpLocks/>
            <a:stCxn id="153" idx="3"/>
            <a:endCxn id="242" idx="1"/>
          </p:cNvCxnSpPr>
          <p:nvPr>
            <p:custDataLst>
              <p:tags r:id="rId67"/>
            </p:custDataLst>
          </p:nvPr>
        </p:nvCxnSpPr>
        <p:spPr>
          <a:xfrm>
            <a:off x="2423891" y="2248603"/>
            <a:ext cx="324644" cy="918039"/>
          </a:xfrm>
          <a:prstGeom prst="bentConnector3">
            <a:avLst>
              <a:gd name="adj1" fmla="val 36699"/>
            </a:avLst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210" name="Соединительная линия уступом 120"/>
          <p:cNvCxnSpPr>
            <a:cxnSpLocks/>
            <a:stCxn id="242" idx="3"/>
            <a:endCxn id="167" idx="0"/>
          </p:cNvCxnSpPr>
          <p:nvPr>
            <p:custDataLst>
              <p:tags r:id="rId68"/>
            </p:custDataLst>
          </p:nvPr>
        </p:nvCxnSpPr>
        <p:spPr>
          <a:xfrm flipH="1">
            <a:off x="6350443" y="3166642"/>
            <a:ext cx="960547" cy="585228"/>
          </a:xfrm>
          <a:prstGeom prst="bentConnector4">
            <a:avLst>
              <a:gd name="adj1" fmla="val -5553"/>
              <a:gd name="adj2" fmla="val 61429"/>
            </a:avLst>
          </a:prstGeom>
          <a:noFill/>
          <a:ln w="9525" cap="flat" cmpd="sng" algn="ctr">
            <a:solidFill>
              <a:srgbClr val="8064A2"/>
            </a:solidFill>
            <a:prstDash val="solid"/>
            <a:tailEnd type="triangle"/>
          </a:ln>
          <a:effectLst/>
        </p:spPr>
      </p:cxnSp>
      <p:cxnSp>
        <p:nvCxnSpPr>
          <p:cNvPr id="211" name="Соединительная линия уступом 121"/>
          <p:cNvCxnSpPr>
            <a:cxnSpLocks/>
            <a:stCxn id="160" idx="3"/>
          </p:cNvCxnSpPr>
          <p:nvPr>
            <p:custDataLst>
              <p:tags r:id="rId69"/>
            </p:custDataLst>
          </p:nvPr>
        </p:nvCxnSpPr>
        <p:spPr>
          <a:xfrm flipH="1">
            <a:off x="6776720" y="2134607"/>
            <a:ext cx="534270" cy="806823"/>
          </a:xfrm>
          <a:prstGeom prst="bentConnector4">
            <a:avLst>
              <a:gd name="adj1" fmla="val -42787"/>
              <a:gd name="adj2" fmla="val 62698"/>
            </a:avLst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sp>
        <p:nvSpPr>
          <p:cNvPr id="212" name="Скругленный прямоугольник 122"/>
          <p:cNvSpPr/>
          <p:nvPr>
            <p:custDataLst>
              <p:tags r:id="rId70"/>
            </p:custDataLst>
          </p:nvPr>
        </p:nvSpPr>
        <p:spPr>
          <a:xfrm>
            <a:off x="2753744" y="2660397"/>
            <a:ext cx="2076947" cy="229943"/>
          </a:xfrm>
          <a:prstGeom prst="roundRect">
            <a:avLst/>
          </a:prstGeom>
          <a:solidFill>
            <a:srgbClr val="8064A2">
              <a:lumMod val="40000"/>
              <a:lumOff val="60000"/>
            </a:srgbClr>
          </a:solidFill>
          <a:ln w="9525" cap="flat" cmpd="sng" algn="ctr">
            <a:solidFill>
              <a:srgbClr val="8064A2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3" name="Прямоугольник 123"/>
          <p:cNvSpPr/>
          <p:nvPr>
            <p:custDataLst>
              <p:tags r:id="rId71"/>
            </p:custDataLst>
          </p:nvPr>
        </p:nvSpPr>
        <p:spPr>
          <a:xfrm>
            <a:off x="2884950" y="2687188"/>
            <a:ext cx="190059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10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Формирование проектного офиса</a:t>
            </a:r>
            <a:endParaRPr lang="ru-RU" sz="10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14" name="Скругленный прямоугольник 124"/>
          <p:cNvSpPr/>
          <p:nvPr>
            <p:custDataLst>
              <p:tags r:id="rId72"/>
            </p:custDataLst>
          </p:nvPr>
        </p:nvSpPr>
        <p:spPr>
          <a:xfrm>
            <a:off x="2746580" y="1929704"/>
            <a:ext cx="2090384" cy="409810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5" name="Прямоугольник 125"/>
          <p:cNvSpPr/>
          <p:nvPr>
            <p:custDataLst>
              <p:tags r:id="rId73"/>
            </p:custDataLst>
          </p:nvPr>
        </p:nvSpPr>
        <p:spPr>
          <a:xfrm>
            <a:off x="2822434" y="1955905"/>
            <a:ext cx="1966155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Анализ текущего и определение целевого, идеального состояния потоков, разработка мероприятий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16" name="Скругленный прямоугольник 135"/>
          <p:cNvSpPr/>
          <p:nvPr>
            <p:custDataLst>
              <p:tags r:id="rId74"/>
            </p:custDataLst>
          </p:nvPr>
        </p:nvSpPr>
        <p:spPr>
          <a:xfrm>
            <a:off x="7544539" y="1488298"/>
            <a:ext cx="1143877" cy="345071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7" name="Прямоугольник 133"/>
          <p:cNvSpPr/>
          <p:nvPr>
            <p:custDataLst>
              <p:tags r:id="rId75"/>
            </p:custDataLst>
          </p:nvPr>
        </p:nvSpPr>
        <p:spPr>
          <a:xfrm>
            <a:off x="7594602" y="1498855"/>
            <a:ext cx="104016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недрение взаимосвязан-ных инфоцентров предприятия, цехов, малых групп</a:t>
            </a:r>
          </a:p>
        </p:txBody>
      </p:sp>
      <p:sp>
        <p:nvSpPr>
          <p:cNvPr id="218" name="Скругленный прямоугольник 156"/>
          <p:cNvSpPr/>
          <p:nvPr>
            <p:custDataLst>
              <p:tags r:id="rId76"/>
            </p:custDataLst>
          </p:nvPr>
        </p:nvSpPr>
        <p:spPr>
          <a:xfrm>
            <a:off x="2733232" y="3831475"/>
            <a:ext cx="2134331" cy="321047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9" name="Прямоугольник 163"/>
          <p:cNvSpPr/>
          <p:nvPr>
            <p:custDataLst>
              <p:tags r:id="rId77"/>
            </p:custDataLst>
          </p:nvPr>
        </p:nvSpPr>
        <p:spPr>
          <a:xfrm>
            <a:off x="2804106" y="3861759"/>
            <a:ext cx="204350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учение руководителей предприятия и участников (членов РГ) проектов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220" name="Соединительная линия уступом 168"/>
          <p:cNvCxnSpPr>
            <a:cxnSpLocks/>
            <a:stCxn id="157" idx="3"/>
            <a:endCxn id="212" idx="1"/>
          </p:cNvCxnSpPr>
          <p:nvPr>
            <p:custDataLst>
              <p:tags r:id="rId78"/>
            </p:custDataLst>
          </p:nvPr>
        </p:nvCxnSpPr>
        <p:spPr>
          <a:xfrm flipV="1">
            <a:off x="2431825" y="2775369"/>
            <a:ext cx="321919" cy="923807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9BBB59"/>
            </a:solidFill>
            <a:prstDash val="solid"/>
            <a:tailEnd type="triangle"/>
          </a:ln>
          <a:effectLst/>
        </p:spPr>
      </p:cxnSp>
      <p:cxnSp>
        <p:nvCxnSpPr>
          <p:cNvPr id="221" name="Соединительная линия уступом 172"/>
          <p:cNvCxnSpPr>
            <a:cxnSpLocks/>
            <a:stCxn id="157" idx="3"/>
            <a:endCxn id="212" idx="1"/>
          </p:cNvCxnSpPr>
          <p:nvPr>
            <p:custDataLst>
              <p:tags r:id="rId79"/>
            </p:custDataLst>
          </p:nvPr>
        </p:nvCxnSpPr>
        <p:spPr>
          <a:xfrm flipV="1">
            <a:off x="2431825" y="2775369"/>
            <a:ext cx="321919" cy="923807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9BBB59"/>
            </a:solidFill>
            <a:prstDash val="solid"/>
            <a:tailEnd type="triangle"/>
          </a:ln>
          <a:effectLst/>
        </p:spPr>
      </p:cxnSp>
      <p:cxnSp>
        <p:nvCxnSpPr>
          <p:cNvPr id="222" name="Соединительная линия уступом 179"/>
          <p:cNvCxnSpPr>
            <a:cxnSpLocks/>
            <a:endCxn id="218" idx="1"/>
          </p:cNvCxnSpPr>
          <p:nvPr>
            <p:custDataLst>
              <p:tags r:id="rId80"/>
            </p:custDataLst>
          </p:nvPr>
        </p:nvCxnSpPr>
        <p:spPr>
          <a:xfrm>
            <a:off x="2141034" y="3881300"/>
            <a:ext cx="592198" cy="110699"/>
          </a:xfrm>
          <a:prstGeom prst="bentConnector3">
            <a:avLst>
              <a:gd name="adj1" fmla="val 65441"/>
            </a:avLst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223" name="Соединительная линия уступом 180"/>
          <p:cNvCxnSpPr>
            <a:cxnSpLocks/>
            <a:endCxn id="237" idx="1"/>
          </p:cNvCxnSpPr>
          <p:nvPr/>
        </p:nvCxnSpPr>
        <p:spPr>
          <a:xfrm flipV="1">
            <a:off x="2141029" y="3713076"/>
            <a:ext cx="593273" cy="168222"/>
          </a:xfrm>
          <a:prstGeom prst="bentConnector3">
            <a:avLst>
              <a:gd name="adj1" fmla="val 80183"/>
            </a:avLst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224" name="Прямая со стрелкой 181"/>
          <p:cNvCxnSpPr/>
          <p:nvPr>
            <p:custDataLst>
              <p:tags r:id="rId81"/>
            </p:custDataLst>
          </p:nvPr>
        </p:nvCxnSpPr>
        <p:spPr>
          <a:xfrm>
            <a:off x="1330231" y="3884651"/>
            <a:ext cx="794543" cy="0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225" name="Скругленный прямоугольник 189"/>
          <p:cNvSpPr/>
          <p:nvPr>
            <p:custDataLst>
              <p:tags r:id="rId82"/>
            </p:custDataLst>
          </p:nvPr>
        </p:nvSpPr>
        <p:spPr>
          <a:xfrm>
            <a:off x="7549589" y="3716100"/>
            <a:ext cx="1164946" cy="355366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26" name="Прямоугольник 190"/>
          <p:cNvSpPr/>
          <p:nvPr>
            <p:custDataLst>
              <p:tags r:id="rId83"/>
            </p:custDataLst>
          </p:nvPr>
        </p:nvSpPr>
        <p:spPr>
          <a:xfrm>
            <a:off x="7566640" y="3769696"/>
            <a:ext cx="112438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учение участников (членов РГ) проектов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227" name="Соединительная линия уступом 201"/>
          <p:cNvCxnSpPr>
            <a:cxnSpLocks/>
          </p:cNvCxnSpPr>
          <p:nvPr>
            <p:custDataLst>
              <p:tags r:id="rId84"/>
            </p:custDataLst>
          </p:nvPr>
        </p:nvCxnSpPr>
        <p:spPr>
          <a:xfrm rot="5400000" flipH="1" flipV="1">
            <a:off x="4763267" y="3497670"/>
            <a:ext cx="593311" cy="384719"/>
          </a:xfrm>
          <a:prstGeom prst="bentConnector3">
            <a:avLst>
              <a:gd name="adj1" fmla="val -7366"/>
            </a:avLst>
          </a:prstGeom>
          <a:noFill/>
          <a:ln w="9525" cap="flat" cmpd="sng" algn="ctr">
            <a:solidFill>
              <a:srgbClr val="9BBB59"/>
            </a:solidFill>
            <a:prstDash val="solid"/>
            <a:tailEnd type="triangle"/>
          </a:ln>
          <a:effectLst/>
        </p:spPr>
      </p:cxnSp>
      <p:sp>
        <p:nvSpPr>
          <p:cNvPr id="228" name="Скругленный прямоугольник 219"/>
          <p:cNvSpPr/>
          <p:nvPr>
            <p:custDataLst>
              <p:tags r:id="rId85"/>
            </p:custDataLst>
          </p:nvPr>
        </p:nvSpPr>
        <p:spPr>
          <a:xfrm>
            <a:off x="1481139" y="4270505"/>
            <a:ext cx="949823" cy="403348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29" name="Прямоугольник 220"/>
          <p:cNvSpPr/>
          <p:nvPr>
            <p:custDataLst>
              <p:tags r:id="rId86"/>
            </p:custDataLst>
          </p:nvPr>
        </p:nvSpPr>
        <p:spPr>
          <a:xfrm>
            <a:off x="1523191" y="4335434"/>
            <a:ext cx="87692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9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иагностика предприятия</a:t>
            </a:r>
            <a:endParaRPr lang="ru-RU" sz="9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30" name="Скругленный прямоугольник 233"/>
          <p:cNvSpPr/>
          <p:nvPr>
            <p:custDataLst>
              <p:tags r:id="rId87"/>
            </p:custDataLst>
          </p:nvPr>
        </p:nvSpPr>
        <p:spPr>
          <a:xfrm>
            <a:off x="3810432" y="4598888"/>
            <a:ext cx="3500554" cy="125919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1" name="Прямоугольник 234"/>
          <p:cNvSpPr/>
          <p:nvPr>
            <p:custDataLst>
              <p:tags r:id="rId88"/>
            </p:custDataLst>
          </p:nvPr>
        </p:nvSpPr>
        <p:spPr>
          <a:xfrm>
            <a:off x="3828921" y="4596456"/>
            <a:ext cx="2444566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еализация плана коммуникации и мотивации</a:t>
            </a:r>
          </a:p>
        </p:txBody>
      </p:sp>
      <p:sp>
        <p:nvSpPr>
          <p:cNvPr id="232" name="Скругленный прямоугольник 238"/>
          <p:cNvSpPr/>
          <p:nvPr>
            <p:custDataLst>
              <p:tags r:id="rId89"/>
            </p:custDataLst>
          </p:nvPr>
        </p:nvSpPr>
        <p:spPr>
          <a:xfrm>
            <a:off x="7549589" y="4189891"/>
            <a:ext cx="1157935" cy="297490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3" name="Прямоугольник 239"/>
          <p:cNvSpPr/>
          <p:nvPr>
            <p:custDataLst>
              <p:tags r:id="rId90"/>
            </p:custDataLst>
          </p:nvPr>
        </p:nvSpPr>
        <p:spPr>
          <a:xfrm>
            <a:off x="7592722" y="4221291"/>
            <a:ext cx="1108459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7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альнейшая реализация плана коммуникаций и мотив.</a:t>
            </a:r>
          </a:p>
        </p:txBody>
      </p:sp>
      <p:cxnSp>
        <p:nvCxnSpPr>
          <p:cNvPr id="234" name="Соединительная линия уступом 242"/>
          <p:cNvCxnSpPr>
            <a:cxnSpLocks/>
            <a:stCxn id="228" idx="3"/>
            <a:endCxn id="171" idx="1"/>
          </p:cNvCxnSpPr>
          <p:nvPr>
            <p:custDataLst>
              <p:tags r:id="rId91"/>
            </p:custDataLst>
          </p:nvPr>
        </p:nvCxnSpPr>
        <p:spPr>
          <a:xfrm flipV="1">
            <a:off x="2430962" y="4271093"/>
            <a:ext cx="302271" cy="201086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D98616"/>
            </a:solidFill>
            <a:prstDash val="solid"/>
            <a:tailEnd type="triangle"/>
          </a:ln>
          <a:effectLst/>
        </p:spPr>
      </p:cxnSp>
      <p:cxnSp>
        <p:nvCxnSpPr>
          <p:cNvPr id="235" name="Соединительная линия уступом 244"/>
          <p:cNvCxnSpPr>
            <a:cxnSpLocks/>
            <a:stCxn id="228" idx="3"/>
            <a:endCxn id="230" idx="1"/>
          </p:cNvCxnSpPr>
          <p:nvPr>
            <p:custDataLst>
              <p:tags r:id="rId92"/>
            </p:custDataLst>
          </p:nvPr>
        </p:nvCxnSpPr>
        <p:spPr>
          <a:xfrm>
            <a:off x="2430962" y="4472179"/>
            <a:ext cx="1379470" cy="189669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D98616"/>
            </a:solidFill>
            <a:prstDash val="solid"/>
            <a:tailEnd type="triangle"/>
          </a:ln>
          <a:effectLst/>
        </p:spPr>
      </p:cxnSp>
      <p:cxnSp>
        <p:nvCxnSpPr>
          <p:cNvPr id="236" name="Соединительная линия уступом 247"/>
          <p:cNvCxnSpPr>
            <a:cxnSpLocks/>
            <a:stCxn id="249" idx="3"/>
            <a:endCxn id="242" idx="2"/>
          </p:cNvCxnSpPr>
          <p:nvPr>
            <p:custDataLst>
              <p:tags r:id="rId93"/>
            </p:custDataLst>
          </p:nvPr>
        </p:nvCxnSpPr>
        <p:spPr>
          <a:xfrm flipH="1" flipV="1">
            <a:off x="5029763" y="3391854"/>
            <a:ext cx="2281223" cy="1050241"/>
          </a:xfrm>
          <a:prstGeom prst="bentConnector4">
            <a:avLst>
              <a:gd name="adj1" fmla="val -3842"/>
              <a:gd name="adj2" fmla="val 80727"/>
            </a:avLst>
          </a:prstGeom>
          <a:noFill/>
          <a:ln w="9525" cap="flat" cmpd="sng" algn="ctr">
            <a:solidFill>
              <a:srgbClr val="D98616"/>
            </a:solidFill>
            <a:prstDash val="solid"/>
            <a:tailEnd type="triangle"/>
          </a:ln>
          <a:effectLst/>
        </p:spPr>
      </p:cxnSp>
      <p:sp>
        <p:nvSpPr>
          <p:cNvPr id="237" name="Скругленный прямоугольник 34"/>
          <p:cNvSpPr/>
          <p:nvPr>
            <p:custDataLst>
              <p:tags r:id="rId94"/>
            </p:custDataLst>
          </p:nvPr>
        </p:nvSpPr>
        <p:spPr>
          <a:xfrm>
            <a:off x="2734302" y="3632028"/>
            <a:ext cx="2138472" cy="162095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solid"/>
          </a:ln>
          <a:effectLst/>
        </p:spPr>
        <p:txBody>
          <a:bodyPr lIns="0" tIns="0" rIns="0" bIns="0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8" name="Прямоугольник 35"/>
          <p:cNvSpPr/>
          <p:nvPr>
            <p:custDataLst>
              <p:tags r:id="rId95"/>
            </p:custDataLst>
          </p:nvPr>
        </p:nvSpPr>
        <p:spPr>
          <a:xfrm>
            <a:off x="3091618" y="3646383"/>
            <a:ext cx="1786797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дготовка  тренеров предприятия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239" name="Соединительная линия уступом 253"/>
          <p:cNvCxnSpPr>
            <a:cxnSpLocks/>
            <a:stCxn id="171" idx="3"/>
          </p:cNvCxnSpPr>
          <p:nvPr>
            <p:custDataLst>
              <p:tags r:id="rId96"/>
            </p:custDataLst>
          </p:nvPr>
        </p:nvCxnSpPr>
        <p:spPr>
          <a:xfrm>
            <a:off x="4558985" y="4271093"/>
            <a:ext cx="62286" cy="104704"/>
          </a:xfrm>
          <a:prstGeom prst="bentConnector2">
            <a:avLst/>
          </a:prstGeom>
          <a:noFill/>
          <a:ln w="9525" cap="flat" cmpd="sng" algn="ctr">
            <a:solidFill>
              <a:srgbClr val="D98616"/>
            </a:solidFill>
            <a:prstDash val="solid"/>
            <a:tailEnd type="triangle"/>
          </a:ln>
          <a:effectLst/>
        </p:spPr>
      </p:cxnSp>
      <p:cxnSp>
        <p:nvCxnSpPr>
          <p:cNvPr id="240" name="Соединительная линия уступом 259"/>
          <p:cNvCxnSpPr>
            <a:cxnSpLocks/>
            <a:stCxn id="242" idx="3"/>
          </p:cNvCxnSpPr>
          <p:nvPr>
            <p:custDataLst>
              <p:tags r:id="rId97"/>
            </p:custDataLst>
          </p:nvPr>
        </p:nvCxnSpPr>
        <p:spPr>
          <a:xfrm flipH="1">
            <a:off x="7158990" y="3166642"/>
            <a:ext cx="152000" cy="1445791"/>
          </a:xfrm>
          <a:prstGeom prst="bentConnector4">
            <a:avLst>
              <a:gd name="adj1" fmla="val -115303"/>
              <a:gd name="adj2" fmla="val 93628"/>
            </a:avLst>
          </a:prstGeom>
          <a:noFill/>
          <a:ln w="9525" cap="flat" cmpd="sng" algn="ctr">
            <a:solidFill>
              <a:srgbClr val="8064A2"/>
            </a:solidFill>
            <a:prstDash val="solid"/>
            <a:tailEnd type="triangle"/>
          </a:ln>
          <a:effectLst/>
        </p:spPr>
      </p:cxnSp>
      <p:cxnSp>
        <p:nvCxnSpPr>
          <p:cNvPr id="241" name="Соединительная линия уступом 272"/>
          <p:cNvCxnSpPr>
            <a:cxnSpLocks/>
            <a:stCxn id="158" idx="3"/>
          </p:cNvCxnSpPr>
          <p:nvPr>
            <p:custDataLst>
              <p:tags r:id="rId98"/>
            </p:custDataLst>
          </p:nvPr>
        </p:nvCxnSpPr>
        <p:spPr>
          <a:xfrm>
            <a:off x="4836962" y="2481554"/>
            <a:ext cx="993607" cy="1256869"/>
          </a:xfrm>
          <a:prstGeom prst="bentConnector2">
            <a:avLst/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sp>
        <p:nvSpPr>
          <p:cNvPr id="242" name="Скругленный прямоугольник 30"/>
          <p:cNvSpPr/>
          <p:nvPr>
            <p:custDataLst>
              <p:tags r:id="rId99"/>
            </p:custDataLst>
          </p:nvPr>
        </p:nvSpPr>
        <p:spPr>
          <a:xfrm>
            <a:off x="2748535" y="2941430"/>
            <a:ext cx="4562455" cy="450424"/>
          </a:xfrm>
          <a:prstGeom prst="roundRect">
            <a:avLst/>
          </a:prstGeom>
          <a:solidFill>
            <a:srgbClr val="8064A2">
              <a:lumMod val="40000"/>
              <a:lumOff val="60000"/>
            </a:srgbClr>
          </a:solidFill>
          <a:ln w="9525" cap="flat" cmpd="sng" algn="ctr">
            <a:solidFill>
              <a:srgbClr val="8064A2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43" name="Прямоугольник 31"/>
          <p:cNvSpPr/>
          <p:nvPr>
            <p:custDataLst>
              <p:tags r:id="rId100"/>
            </p:custDataLst>
          </p:nvPr>
        </p:nvSpPr>
        <p:spPr>
          <a:xfrm>
            <a:off x="2799950" y="3009168"/>
            <a:ext cx="4412894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11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ткрытие и реализация проектов по оптимизации пилотного потока и вспомогательных процессов, влияющих на пилотный поток</a:t>
            </a:r>
            <a:endParaRPr lang="ru-RU" sz="11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44" name="Равнобедренный треугольник 275"/>
          <p:cNvSpPr/>
          <p:nvPr/>
        </p:nvSpPr>
        <p:spPr>
          <a:xfrm rot="10800000">
            <a:off x="2473139" y="1014110"/>
            <a:ext cx="177442" cy="202791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81000" tIns="0" rIns="0" bIns="0" rtlCol="0" anchor="ctr"/>
          <a:lstStyle/>
          <a:p>
            <a:pPr defTabSz="699390"/>
            <a:endParaRPr lang="ru-RU" sz="900" b="1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5" name="Равнобедренный треугольник 277"/>
          <p:cNvSpPr/>
          <p:nvPr/>
        </p:nvSpPr>
        <p:spPr>
          <a:xfrm rot="10800000">
            <a:off x="1259895" y="1014110"/>
            <a:ext cx="177442" cy="202791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81000" tIns="0" rIns="0" bIns="0" rtlCol="0" anchor="ctr"/>
          <a:lstStyle/>
          <a:p>
            <a:pPr defTabSz="699390"/>
            <a:endParaRPr lang="ru-RU" sz="900" b="1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6" name="Равнобедренный треугольник 279"/>
          <p:cNvSpPr/>
          <p:nvPr/>
        </p:nvSpPr>
        <p:spPr>
          <a:xfrm rot="10800000">
            <a:off x="4836962" y="1014110"/>
            <a:ext cx="177442" cy="202791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81000" tIns="0" rIns="0" bIns="0" rtlCol="0" anchor="ctr"/>
          <a:lstStyle/>
          <a:p>
            <a:pPr defTabSz="699390"/>
            <a:endParaRPr lang="ru-RU" sz="900" b="1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7" name="Равнобедренный треугольник 281"/>
          <p:cNvSpPr/>
          <p:nvPr/>
        </p:nvSpPr>
        <p:spPr>
          <a:xfrm rot="10800000">
            <a:off x="7367100" y="1014110"/>
            <a:ext cx="177442" cy="202791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81000" tIns="0" rIns="0" bIns="0" rtlCol="0" anchor="ctr"/>
          <a:lstStyle/>
          <a:p>
            <a:pPr defTabSz="699390"/>
            <a:endParaRPr lang="ru-RU" sz="900" b="1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8" name="Равнобедренный треугольник 283"/>
          <p:cNvSpPr/>
          <p:nvPr/>
        </p:nvSpPr>
        <p:spPr>
          <a:xfrm rot="10800000">
            <a:off x="8647731" y="1014110"/>
            <a:ext cx="177442" cy="202791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81000" tIns="0" rIns="0" bIns="0" rtlCol="0" anchor="ctr"/>
          <a:lstStyle/>
          <a:p>
            <a:pPr defTabSz="699390"/>
            <a:endParaRPr lang="ru-RU" sz="900" b="1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9" name="Скругленный прямоугольник 166"/>
          <p:cNvSpPr/>
          <p:nvPr>
            <p:custDataLst>
              <p:tags r:id="rId101"/>
            </p:custDataLst>
          </p:nvPr>
        </p:nvSpPr>
        <p:spPr>
          <a:xfrm>
            <a:off x="3627777" y="4375798"/>
            <a:ext cx="3683209" cy="132593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50" name="Прямоугольник 169"/>
          <p:cNvSpPr/>
          <p:nvPr>
            <p:custDataLst>
              <p:tags r:id="rId102"/>
            </p:custDataLst>
          </p:nvPr>
        </p:nvSpPr>
        <p:spPr>
          <a:xfrm>
            <a:off x="3691243" y="4376253"/>
            <a:ext cx="2531757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сещение производства топ-менеджерами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251" name="Соединительная линия уступом 170"/>
          <p:cNvCxnSpPr>
            <a:cxnSpLocks/>
            <a:endCxn id="173" idx="1"/>
          </p:cNvCxnSpPr>
          <p:nvPr>
            <p:custDataLst>
              <p:tags r:id="rId103"/>
            </p:custDataLst>
          </p:nvPr>
        </p:nvCxnSpPr>
        <p:spPr>
          <a:xfrm flipV="1">
            <a:off x="4573443" y="4272085"/>
            <a:ext cx="263521" cy="1028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D98616"/>
            </a:solidFill>
            <a:prstDash val="solid"/>
            <a:tailEnd type="triangle"/>
          </a:ln>
          <a:effectLst/>
        </p:spPr>
      </p:cxnSp>
      <p:sp>
        <p:nvSpPr>
          <p:cNvPr id="252" name="Скругленный прямоугольник 194"/>
          <p:cNvSpPr/>
          <p:nvPr>
            <p:custDataLst>
              <p:tags r:id="rId104"/>
            </p:custDataLst>
          </p:nvPr>
        </p:nvSpPr>
        <p:spPr>
          <a:xfrm>
            <a:off x="7549292" y="4559941"/>
            <a:ext cx="1165243" cy="130578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53" name="Прямоугольник 195"/>
          <p:cNvSpPr/>
          <p:nvPr>
            <p:custDataLst>
              <p:tags r:id="rId105"/>
            </p:custDataLst>
          </p:nvPr>
        </p:nvSpPr>
        <p:spPr>
          <a:xfrm>
            <a:off x="7596543" y="4557794"/>
            <a:ext cx="1089991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ни информирования</a:t>
            </a:r>
          </a:p>
        </p:txBody>
      </p:sp>
      <p:sp>
        <p:nvSpPr>
          <p:cNvPr id="255" name="TextBox 254"/>
          <p:cNvSpPr txBox="1"/>
          <p:nvPr/>
        </p:nvSpPr>
        <p:spPr>
          <a:xfrm>
            <a:off x="2452956" y="790607"/>
            <a:ext cx="25359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>
                <a:solidFill>
                  <a:srgbClr val="D74167"/>
                </a:solidFill>
              </a:rPr>
              <a:t>0</a:t>
            </a:r>
          </a:p>
        </p:txBody>
      </p:sp>
      <p:sp>
        <p:nvSpPr>
          <p:cNvPr id="256" name="TextBox 255"/>
          <p:cNvSpPr txBox="1"/>
          <p:nvPr/>
        </p:nvSpPr>
        <p:spPr>
          <a:xfrm>
            <a:off x="1013063" y="806252"/>
            <a:ext cx="60625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>
                <a:solidFill>
                  <a:srgbClr val="D74167"/>
                </a:solidFill>
              </a:rPr>
              <a:t>- 3 мес.</a:t>
            </a:r>
          </a:p>
        </p:txBody>
      </p:sp>
      <p:sp>
        <p:nvSpPr>
          <p:cNvPr id="257" name="TextBox 256"/>
          <p:cNvSpPr txBox="1"/>
          <p:nvPr/>
        </p:nvSpPr>
        <p:spPr>
          <a:xfrm>
            <a:off x="4695983" y="806243"/>
            <a:ext cx="53412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>
                <a:solidFill>
                  <a:srgbClr val="D74167"/>
                </a:solidFill>
              </a:rPr>
              <a:t>3 мес.</a:t>
            </a:r>
          </a:p>
        </p:txBody>
      </p:sp>
      <p:sp>
        <p:nvSpPr>
          <p:cNvPr id="258" name="TextBox 257"/>
          <p:cNvSpPr txBox="1"/>
          <p:nvPr/>
        </p:nvSpPr>
        <p:spPr>
          <a:xfrm>
            <a:off x="7235329" y="806243"/>
            <a:ext cx="53412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>
                <a:solidFill>
                  <a:srgbClr val="D74167"/>
                </a:solidFill>
              </a:rPr>
              <a:t>6 мес.</a:t>
            </a:r>
          </a:p>
        </p:txBody>
      </p:sp>
      <p:sp>
        <p:nvSpPr>
          <p:cNvPr id="259" name="TextBox 258"/>
          <p:cNvSpPr txBox="1"/>
          <p:nvPr/>
        </p:nvSpPr>
        <p:spPr>
          <a:xfrm>
            <a:off x="8388254" y="806244"/>
            <a:ext cx="60305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>
                <a:solidFill>
                  <a:srgbClr val="D74167"/>
                </a:solidFill>
              </a:rPr>
              <a:t>36 мес.</a:t>
            </a:r>
          </a:p>
        </p:txBody>
      </p:sp>
      <p:sp>
        <p:nvSpPr>
          <p:cNvPr id="120" name="Rectangle 125">
            <a:extLst>
              <a:ext uri="{FF2B5EF4-FFF2-40B4-BE49-F238E27FC236}">
                <a16:creationId xmlns:a16="http://schemas.microsoft.com/office/drawing/2014/main" id="{7675B3F2-91CF-4355-BAA9-256CBC584199}"/>
              </a:ext>
            </a:extLst>
          </p:cNvPr>
          <p:cNvSpPr/>
          <p:nvPr/>
        </p:nvSpPr>
        <p:spPr>
          <a:xfrm>
            <a:off x="318828" y="870387"/>
            <a:ext cx="8623466" cy="3921879"/>
          </a:xfrm>
          <a:prstGeom prst="rect">
            <a:avLst/>
          </a:prstGeom>
          <a:solidFill>
            <a:schemeClr val="bg1">
              <a:lumMod val="85000"/>
              <a:alpha val="49000"/>
            </a:schemeClr>
          </a:solidFill>
          <a:ln w="952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27000" tIns="0" rIns="27000" bIns="0" rtlCol="0" anchor="ctr"/>
          <a:lstStyle/>
          <a:p>
            <a:pPr algn="ctr"/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121" name="Rectangular Callout 130">
            <a:extLst>
              <a:ext uri="{FF2B5EF4-FFF2-40B4-BE49-F238E27FC236}">
                <a16:creationId xmlns:a16="http://schemas.microsoft.com/office/drawing/2014/main" id="{AE7D13F8-0638-4E3B-BDD8-35F9C2442E62}"/>
              </a:ext>
            </a:extLst>
          </p:cNvPr>
          <p:cNvSpPr/>
          <p:nvPr/>
        </p:nvSpPr>
        <p:spPr>
          <a:xfrm>
            <a:off x="455582" y="1758258"/>
            <a:ext cx="2142839" cy="1661305"/>
          </a:xfrm>
          <a:prstGeom prst="wedgeRectCallout">
            <a:avLst>
              <a:gd name="adj1" fmla="val 61646"/>
              <a:gd name="adj2" fmla="val 16530"/>
            </a:avLst>
          </a:prstGeom>
          <a:solidFill>
            <a:schemeClr val="bg1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7000" rIns="27000" rtlCol="0" anchor="t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Выделение сотрудников (1 на 500 чел. численности) для 100% занятости в проектном офисе после 3 мес. проекта</a:t>
            </a:r>
          </a:p>
        </p:txBody>
      </p:sp>
      <p:sp>
        <p:nvSpPr>
          <p:cNvPr id="122" name="Овал 48">
            <a:extLst>
              <a:ext uri="{FF2B5EF4-FFF2-40B4-BE49-F238E27FC236}">
                <a16:creationId xmlns:a16="http://schemas.microsoft.com/office/drawing/2014/main" id="{7991F92C-AC8B-4EB5-A608-1B151891E4E0}"/>
              </a:ext>
            </a:extLst>
          </p:cNvPr>
          <p:cNvSpPr/>
          <p:nvPr/>
        </p:nvSpPr>
        <p:spPr>
          <a:xfrm>
            <a:off x="428293" y="1442591"/>
            <a:ext cx="493621" cy="493621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27000" tIns="0" rIns="27000" bIns="0" rtlCol="0" anchor="ctr"/>
          <a:lstStyle/>
          <a:p>
            <a:pPr algn="ctr" defTabSz="342900"/>
            <a:r>
              <a:rPr lang="ru-RU" sz="2400" b="1" dirty="0">
                <a:solidFill>
                  <a:prstClr val="white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79508240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9466" y="381581"/>
            <a:ext cx="6251971" cy="164917"/>
          </a:xfrm>
        </p:spPr>
        <p:txBody>
          <a:bodyPr/>
          <a:lstStyle/>
          <a:p>
            <a:r>
              <a:rPr lang="ru-RU" dirty="0"/>
              <a:t>Процесс реализации программы на отдельном предприятии-участнике </a:t>
            </a:r>
          </a:p>
        </p:txBody>
      </p:sp>
      <p:sp>
        <p:nvSpPr>
          <p:cNvPr id="141" name="Прямоугольник 4"/>
          <p:cNvSpPr/>
          <p:nvPr>
            <p:custDataLst>
              <p:tags r:id="rId1"/>
            </p:custDataLst>
          </p:nvPr>
        </p:nvSpPr>
        <p:spPr>
          <a:xfrm>
            <a:off x="780495" y="4143563"/>
            <a:ext cx="8043653" cy="592521"/>
          </a:xfrm>
          <a:prstGeom prst="rect">
            <a:avLst/>
          </a:prstGeom>
          <a:solidFill>
            <a:srgbClr val="F79646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60948" tIns="30474" rIns="60948" bIns="30474" rtlCol="0" anchor="ctr"/>
          <a:lstStyle/>
          <a:p>
            <a:pPr algn="ctr"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2" name="Прямоугольник 5"/>
          <p:cNvSpPr/>
          <p:nvPr>
            <p:custDataLst>
              <p:tags r:id="rId2"/>
            </p:custDataLst>
          </p:nvPr>
        </p:nvSpPr>
        <p:spPr>
          <a:xfrm>
            <a:off x="932688" y="3487336"/>
            <a:ext cx="7891460" cy="688274"/>
          </a:xfrm>
          <a:prstGeom prst="rect">
            <a:avLst/>
          </a:prstGeom>
          <a:solidFill>
            <a:srgbClr val="9BBB59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60948" tIns="30474" rIns="60948" bIns="30474" rtlCol="0" anchor="ctr"/>
          <a:lstStyle/>
          <a:p>
            <a:pPr algn="ctr"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3" name="Прямоугольник 6"/>
          <p:cNvSpPr/>
          <p:nvPr>
            <p:custDataLst>
              <p:tags r:id="rId3"/>
            </p:custDataLst>
          </p:nvPr>
        </p:nvSpPr>
        <p:spPr>
          <a:xfrm>
            <a:off x="810768" y="1837289"/>
            <a:ext cx="8013383" cy="806898"/>
          </a:xfrm>
          <a:prstGeom prst="rect">
            <a:avLst/>
          </a:prstGeom>
          <a:solidFill>
            <a:srgbClr val="D8F2FB"/>
          </a:solidFill>
          <a:ln w="25400" cap="flat" cmpd="sng" algn="ctr">
            <a:noFill/>
            <a:prstDash val="solid"/>
          </a:ln>
          <a:effectLst/>
        </p:spPr>
        <p:txBody>
          <a:bodyPr lIns="60948" tIns="30474" rIns="60948" bIns="30474" rtlCol="0" anchor="ctr"/>
          <a:lstStyle/>
          <a:p>
            <a:pPr algn="ctr"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4" name="Прямоугольник 7"/>
          <p:cNvSpPr/>
          <p:nvPr>
            <p:custDataLst>
              <p:tags r:id="rId4"/>
            </p:custDataLst>
          </p:nvPr>
        </p:nvSpPr>
        <p:spPr>
          <a:xfrm>
            <a:off x="883920" y="2644186"/>
            <a:ext cx="7940231" cy="865001"/>
          </a:xfrm>
          <a:prstGeom prst="rect">
            <a:avLst/>
          </a:prstGeom>
          <a:solidFill>
            <a:srgbClr val="E6E0EC"/>
          </a:solidFill>
          <a:ln w="25400" cap="flat" cmpd="sng" algn="ctr">
            <a:noFill/>
            <a:prstDash val="solid"/>
          </a:ln>
          <a:effectLst/>
        </p:spPr>
        <p:txBody>
          <a:bodyPr lIns="60948" tIns="30474" rIns="60948" bIns="30474" rtlCol="0" anchor="ctr"/>
          <a:lstStyle/>
          <a:p>
            <a:pPr algn="ctr"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5" name="Прямоугольник 8"/>
          <p:cNvSpPr/>
          <p:nvPr>
            <p:custDataLst>
              <p:tags r:id="rId5"/>
            </p:custDataLst>
          </p:nvPr>
        </p:nvSpPr>
        <p:spPr>
          <a:xfrm>
            <a:off x="810768" y="1224279"/>
            <a:ext cx="8013383" cy="64906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0948" tIns="30474" rIns="60948" bIns="30474" rtlCol="0" anchor="ctr"/>
          <a:lstStyle/>
          <a:p>
            <a:pPr algn="ctr"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7" name="Пятиугольник 12"/>
          <p:cNvSpPr/>
          <p:nvPr>
            <p:custDataLst>
              <p:tags r:id="rId6"/>
            </p:custDataLst>
          </p:nvPr>
        </p:nvSpPr>
        <p:spPr>
          <a:xfrm>
            <a:off x="319849" y="1224279"/>
            <a:ext cx="815393" cy="649060"/>
          </a:xfrm>
          <a:prstGeom prst="homePlate">
            <a:avLst>
              <a:gd name="adj" fmla="val 5883"/>
            </a:avLst>
          </a:prstGeom>
          <a:solidFill>
            <a:sysClr val="window" lastClr="FFFFFF">
              <a:lumMod val="85000"/>
            </a:sys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КОМПОЗИЦИЯ</a:t>
            </a:r>
            <a:b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ЕЙ</a:t>
            </a:r>
          </a:p>
        </p:txBody>
      </p:sp>
      <p:sp>
        <p:nvSpPr>
          <p:cNvPr id="148" name="Пятиугольник 13"/>
          <p:cNvSpPr/>
          <p:nvPr>
            <p:custDataLst>
              <p:tags r:id="rId7"/>
            </p:custDataLst>
          </p:nvPr>
        </p:nvSpPr>
        <p:spPr>
          <a:xfrm>
            <a:off x="319849" y="1873341"/>
            <a:ext cx="815393" cy="770846"/>
          </a:xfrm>
          <a:prstGeom prst="homePlate">
            <a:avLst>
              <a:gd name="adj" fmla="val 5614"/>
            </a:avLst>
          </a:prstGeom>
          <a:solidFill>
            <a:srgbClr val="3BBEED">
              <a:lumMod val="40000"/>
              <a:lumOff val="60000"/>
            </a:srgb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ТИМИЗАЦИЯ ПОТОКОВ ПО ПРОИЗВОДСТВУ ПРОДУКЦИИ</a:t>
            </a:r>
          </a:p>
        </p:txBody>
      </p:sp>
      <p:sp>
        <p:nvSpPr>
          <p:cNvPr id="149" name="Пятиугольник 14"/>
          <p:cNvSpPr/>
          <p:nvPr>
            <p:custDataLst>
              <p:tags r:id="rId8"/>
            </p:custDataLst>
          </p:nvPr>
        </p:nvSpPr>
        <p:spPr>
          <a:xfrm>
            <a:off x="319849" y="3485817"/>
            <a:ext cx="815393" cy="689793"/>
          </a:xfrm>
          <a:prstGeom prst="homePlate">
            <a:avLst>
              <a:gd name="adj" fmla="val 7344"/>
            </a:avLst>
          </a:prstGeom>
          <a:solidFill>
            <a:srgbClr val="9BBB59">
              <a:lumMod val="60000"/>
              <a:lumOff val="40000"/>
            </a:srgb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УЧЕНИЕ</a:t>
            </a:r>
          </a:p>
        </p:txBody>
      </p:sp>
      <p:sp>
        <p:nvSpPr>
          <p:cNvPr id="150" name="Пятиугольник 15"/>
          <p:cNvSpPr/>
          <p:nvPr>
            <p:custDataLst>
              <p:tags r:id="rId9"/>
            </p:custDataLst>
          </p:nvPr>
        </p:nvSpPr>
        <p:spPr>
          <a:xfrm>
            <a:off x="319849" y="4162931"/>
            <a:ext cx="815393" cy="582804"/>
          </a:xfrm>
          <a:prstGeom prst="homePlate">
            <a:avLst>
              <a:gd name="adj" fmla="val 8204"/>
            </a:avLst>
          </a:prstGeom>
          <a:solidFill>
            <a:srgbClr val="F79646">
              <a:lumMod val="60000"/>
              <a:lumOff val="40000"/>
            </a:srgb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ИЗМЕНЕНИЯМИ</a:t>
            </a:r>
          </a:p>
        </p:txBody>
      </p:sp>
      <p:sp>
        <p:nvSpPr>
          <p:cNvPr id="151" name="Пятиугольник 16"/>
          <p:cNvSpPr/>
          <p:nvPr>
            <p:custDataLst>
              <p:tags r:id="rId10"/>
            </p:custDataLst>
          </p:nvPr>
        </p:nvSpPr>
        <p:spPr>
          <a:xfrm>
            <a:off x="319849" y="2644186"/>
            <a:ext cx="815393" cy="865001"/>
          </a:xfrm>
          <a:prstGeom prst="homePlate">
            <a:avLst>
              <a:gd name="adj" fmla="val 6286"/>
            </a:avLst>
          </a:prstGeom>
          <a:solidFill>
            <a:srgbClr val="8064A2">
              <a:lumMod val="40000"/>
              <a:lumOff val="60000"/>
            </a:srgb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</a:t>
            </a:r>
            <a:b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АМИ И МЕТОДОЛОГИЕЙ</a:t>
            </a:r>
          </a:p>
        </p:txBody>
      </p:sp>
      <p:sp>
        <p:nvSpPr>
          <p:cNvPr id="152" name="Скругленный прямоугольник 17"/>
          <p:cNvSpPr/>
          <p:nvPr>
            <p:custDataLst>
              <p:tags r:id="rId11"/>
            </p:custDataLst>
          </p:nvPr>
        </p:nvSpPr>
        <p:spPr>
          <a:xfrm>
            <a:off x="2765141" y="1285882"/>
            <a:ext cx="2071818" cy="229943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3" name="Скругленный прямоугольник 18"/>
          <p:cNvSpPr/>
          <p:nvPr>
            <p:custDataLst>
              <p:tags r:id="rId12"/>
            </p:custDataLst>
          </p:nvPr>
        </p:nvSpPr>
        <p:spPr>
          <a:xfrm>
            <a:off x="1479197" y="1915979"/>
            <a:ext cx="944694" cy="665248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40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4" name="Прямоугольник 19"/>
          <p:cNvSpPr/>
          <p:nvPr>
            <p:custDataLst>
              <p:tags r:id="rId13"/>
            </p:custDataLst>
          </p:nvPr>
        </p:nvSpPr>
        <p:spPr>
          <a:xfrm>
            <a:off x="1524528" y="2031338"/>
            <a:ext cx="856689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10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ыбор потоков для оптимизации </a:t>
            </a:r>
            <a:endParaRPr lang="ru-RU" sz="10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55" name="Прямоугольник 20"/>
          <p:cNvSpPr/>
          <p:nvPr>
            <p:custDataLst>
              <p:tags r:id="rId14"/>
            </p:custDataLst>
          </p:nvPr>
        </p:nvSpPr>
        <p:spPr>
          <a:xfrm>
            <a:off x="2825626" y="1334280"/>
            <a:ext cx="192949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азработка дерева целей, постановка КПЭ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56" name="Скругленный прямоугольник 21"/>
          <p:cNvSpPr/>
          <p:nvPr>
            <p:custDataLst>
              <p:tags r:id="rId15"/>
            </p:custDataLst>
          </p:nvPr>
        </p:nvSpPr>
        <p:spPr>
          <a:xfrm>
            <a:off x="1477151" y="3509467"/>
            <a:ext cx="948680" cy="352293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7" name="Прямоугольник 22"/>
          <p:cNvSpPr/>
          <p:nvPr>
            <p:custDataLst>
              <p:tags r:id="rId16"/>
            </p:custDataLst>
          </p:nvPr>
        </p:nvSpPr>
        <p:spPr>
          <a:xfrm>
            <a:off x="1486351" y="3514510"/>
            <a:ext cx="945474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учение/стажировка рабочей группы пилотного проекта по оптимизации потоков</a:t>
            </a:r>
          </a:p>
        </p:txBody>
      </p:sp>
      <p:sp>
        <p:nvSpPr>
          <p:cNvPr id="158" name="Скругленный прямоугольник 23"/>
          <p:cNvSpPr/>
          <p:nvPr>
            <p:custDataLst>
              <p:tags r:id="rId17"/>
            </p:custDataLst>
          </p:nvPr>
        </p:nvSpPr>
        <p:spPr>
          <a:xfrm>
            <a:off x="2746579" y="2366582"/>
            <a:ext cx="2090383" cy="229943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9" name="Прямоугольник 24"/>
          <p:cNvSpPr/>
          <p:nvPr>
            <p:custDataLst>
              <p:tags r:id="rId18"/>
            </p:custDataLst>
          </p:nvPr>
        </p:nvSpPr>
        <p:spPr>
          <a:xfrm>
            <a:off x="2815428" y="2397966"/>
            <a:ext cx="1900542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10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оздание участков-образцов</a:t>
            </a:r>
          </a:p>
        </p:txBody>
      </p:sp>
      <p:sp>
        <p:nvSpPr>
          <p:cNvPr id="160" name="Скругленный прямоугольник 25"/>
          <p:cNvSpPr/>
          <p:nvPr>
            <p:custDataLst>
              <p:tags r:id="rId19"/>
            </p:custDataLst>
          </p:nvPr>
        </p:nvSpPr>
        <p:spPr>
          <a:xfrm>
            <a:off x="5390485" y="1929702"/>
            <a:ext cx="1920505" cy="409809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1" name="Прямоугольник 26"/>
          <p:cNvSpPr/>
          <p:nvPr>
            <p:custDataLst>
              <p:tags r:id="rId20"/>
            </p:custDataLst>
          </p:nvPr>
        </p:nvSpPr>
        <p:spPr>
          <a:xfrm>
            <a:off x="5407710" y="1929958"/>
            <a:ext cx="1880421" cy="4154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9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еализация мероприятий по достижению целевого состояния потоков</a:t>
            </a:r>
            <a:endParaRPr lang="ru-RU" sz="9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2" name="Скругленный прямоугольник 27"/>
          <p:cNvSpPr/>
          <p:nvPr>
            <p:custDataLst>
              <p:tags r:id="rId21"/>
            </p:custDataLst>
          </p:nvPr>
        </p:nvSpPr>
        <p:spPr>
          <a:xfrm>
            <a:off x="5381496" y="1289913"/>
            <a:ext cx="1929495" cy="443391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3" name="Прямоугольник 28"/>
          <p:cNvSpPr/>
          <p:nvPr>
            <p:custDataLst>
              <p:tags r:id="rId22"/>
            </p:custDataLst>
          </p:nvPr>
        </p:nvSpPr>
        <p:spPr>
          <a:xfrm>
            <a:off x="5468667" y="1442591"/>
            <a:ext cx="1796379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9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недрение инфоцентра предприятия</a:t>
            </a:r>
            <a:endParaRPr lang="ru-RU" sz="9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4" name="Скругленный прямоугольник 29"/>
          <p:cNvSpPr/>
          <p:nvPr>
            <p:custDataLst>
              <p:tags r:id="rId23"/>
            </p:custDataLst>
          </p:nvPr>
        </p:nvSpPr>
        <p:spPr>
          <a:xfrm>
            <a:off x="2765141" y="1603244"/>
            <a:ext cx="2071818" cy="224747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/>
            <a:endParaRPr lang="ru-RU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5" name="Скругленный прямоугольник 32"/>
          <p:cNvSpPr/>
          <p:nvPr>
            <p:custDataLst>
              <p:tags r:id="rId24"/>
            </p:custDataLst>
          </p:nvPr>
        </p:nvSpPr>
        <p:spPr>
          <a:xfrm>
            <a:off x="7538720" y="3134383"/>
            <a:ext cx="1147817" cy="309983"/>
          </a:xfrm>
          <a:prstGeom prst="roundRect">
            <a:avLst/>
          </a:prstGeom>
          <a:solidFill>
            <a:srgbClr val="8064A2">
              <a:lumMod val="40000"/>
              <a:lumOff val="60000"/>
            </a:srgbClr>
          </a:solidFill>
          <a:ln w="9525" cap="flat" cmpd="sng" algn="ctr">
            <a:solidFill>
              <a:srgbClr val="8064A2"/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6" name="Прямоугольник 33"/>
          <p:cNvSpPr/>
          <p:nvPr>
            <p:custDataLst>
              <p:tags r:id="rId25"/>
            </p:custDataLst>
          </p:nvPr>
        </p:nvSpPr>
        <p:spPr>
          <a:xfrm>
            <a:off x="7566640" y="3196655"/>
            <a:ext cx="1119894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недрение системы по работе с предложениями по улучшениям</a:t>
            </a:r>
            <a:endParaRPr lang="ru-RU" sz="6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7" name="Скругленный прямоугольник 36"/>
          <p:cNvSpPr/>
          <p:nvPr>
            <p:custDataLst>
              <p:tags r:id="rId26"/>
            </p:custDataLst>
          </p:nvPr>
        </p:nvSpPr>
        <p:spPr>
          <a:xfrm>
            <a:off x="5389896" y="3751870"/>
            <a:ext cx="1921093" cy="355366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8" name="Прямоугольник 37"/>
          <p:cNvSpPr/>
          <p:nvPr>
            <p:custDataLst>
              <p:tags r:id="rId27"/>
            </p:custDataLst>
          </p:nvPr>
        </p:nvSpPr>
        <p:spPr>
          <a:xfrm>
            <a:off x="5463482" y="3791470"/>
            <a:ext cx="177184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9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учение участников (членов РГ) проектов</a:t>
            </a:r>
            <a:endParaRPr lang="ru-RU" sz="9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9" name="Скругленный прямоугольник 38"/>
          <p:cNvSpPr/>
          <p:nvPr>
            <p:custDataLst>
              <p:tags r:id="rId28"/>
            </p:custDataLst>
          </p:nvPr>
        </p:nvSpPr>
        <p:spPr>
          <a:xfrm>
            <a:off x="1475025" y="3996259"/>
            <a:ext cx="948865" cy="152522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0" name="Прямоугольник 39"/>
          <p:cNvSpPr/>
          <p:nvPr>
            <p:custDataLst>
              <p:tags r:id="rId29"/>
            </p:custDataLst>
          </p:nvPr>
        </p:nvSpPr>
        <p:spPr>
          <a:xfrm>
            <a:off x="1513328" y="4023719"/>
            <a:ext cx="858631" cy="923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учение ГД предприятия</a:t>
            </a:r>
            <a:endParaRPr lang="ru-RU" sz="6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71" name="Скругленный прямоугольник 40"/>
          <p:cNvSpPr/>
          <p:nvPr>
            <p:custDataLst>
              <p:tags r:id="rId30"/>
            </p:custDataLst>
          </p:nvPr>
        </p:nvSpPr>
        <p:spPr>
          <a:xfrm>
            <a:off x="2733233" y="4204796"/>
            <a:ext cx="1825752" cy="132593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2" name="Прямоугольник 41"/>
          <p:cNvSpPr/>
          <p:nvPr>
            <p:custDataLst>
              <p:tags r:id="rId31"/>
            </p:custDataLst>
          </p:nvPr>
        </p:nvSpPr>
        <p:spPr>
          <a:xfrm>
            <a:off x="2802114" y="4210483"/>
            <a:ext cx="170594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тартовое совещание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73" name="Скругленный прямоугольник 42"/>
          <p:cNvSpPr/>
          <p:nvPr>
            <p:custDataLst>
              <p:tags r:id="rId32"/>
            </p:custDataLst>
          </p:nvPr>
        </p:nvSpPr>
        <p:spPr>
          <a:xfrm>
            <a:off x="4836964" y="4204347"/>
            <a:ext cx="2474023" cy="135475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4" name="Прямоугольник 43"/>
          <p:cNvSpPr/>
          <p:nvPr>
            <p:custDataLst>
              <p:tags r:id="rId33"/>
            </p:custDataLst>
          </p:nvPr>
        </p:nvSpPr>
        <p:spPr>
          <a:xfrm>
            <a:off x="4867566" y="4209449"/>
            <a:ext cx="2404454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оведение Дней информирования</a:t>
            </a:r>
          </a:p>
        </p:txBody>
      </p:sp>
      <p:cxnSp>
        <p:nvCxnSpPr>
          <p:cNvPr id="175" name="Соединительная линия уступом 46"/>
          <p:cNvCxnSpPr>
            <a:cxnSpLocks/>
            <a:endCxn id="164" idx="1"/>
          </p:cNvCxnSpPr>
          <p:nvPr>
            <p:custDataLst>
              <p:tags r:id="rId34"/>
            </p:custDataLst>
          </p:nvPr>
        </p:nvCxnSpPr>
        <p:spPr>
          <a:xfrm>
            <a:off x="2121772" y="1515825"/>
            <a:ext cx="643369" cy="199793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176" name="Соединительная линия уступом 47"/>
          <p:cNvCxnSpPr>
            <a:cxnSpLocks/>
            <a:stCxn id="153" idx="3"/>
            <a:endCxn id="214" idx="1"/>
          </p:cNvCxnSpPr>
          <p:nvPr>
            <p:custDataLst>
              <p:tags r:id="rId35"/>
            </p:custDataLst>
          </p:nvPr>
        </p:nvCxnSpPr>
        <p:spPr>
          <a:xfrm flipV="1">
            <a:off x="2423891" y="2134609"/>
            <a:ext cx="322689" cy="113994"/>
          </a:xfrm>
          <a:prstGeom prst="bentConnector3">
            <a:avLst>
              <a:gd name="adj1" fmla="val 16940"/>
            </a:avLst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177" name="Соединительная линия уступом 48"/>
          <p:cNvCxnSpPr>
            <a:cxnSpLocks/>
            <a:stCxn id="153" idx="3"/>
          </p:cNvCxnSpPr>
          <p:nvPr>
            <p:custDataLst>
              <p:tags r:id="rId36"/>
            </p:custDataLst>
          </p:nvPr>
        </p:nvCxnSpPr>
        <p:spPr>
          <a:xfrm>
            <a:off x="2423891" y="2248603"/>
            <a:ext cx="316419" cy="149057"/>
          </a:xfrm>
          <a:prstGeom prst="bentConnector3">
            <a:avLst>
              <a:gd name="adj1" fmla="val 17088"/>
            </a:avLst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178" name="Соединительная линия уступом 49"/>
          <p:cNvCxnSpPr>
            <a:cxnSpLocks/>
            <a:stCxn id="214" idx="3"/>
            <a:endCxn id="160" idx="1"/>
          </p:cNvCxnSpPr>
          <p:nvPr>
            <p:custDataLst>
              <p:tags r:id="rId37"/>
            </p:custDataLst>
          </p:nvPr>
        </p:nvCxnSpPr>
        <p:spPr>
          <a:xfrm flipV="1">
            <a:off x="4836964" y="2134607"/>
            <a:ext cx="553521" cy="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179" name="Соединительная линия уступом 50"/>
          <p:cNvCxnSpPr/>
          <p:nvPr>
            <p:custDataLst>
              <p:tags r:id="rId38"/>
            </p:custDataLst>
          </p:nvPr>
        </p:nvCxnSpPr>
        <p:spPr>
          <a:xfrm>
            <a:off x="4558984" y="2757486"/>
            <a:ext cx="313973" cy="183947"/>
          </a:xfrm>
          <a:prstGeom prst="bentConnector2">
            <a:avLst/>
          </a:prstGeom>
          <a:noFill/>
          <a:ln w="9525" cap="flat" cmpd="sng" algn="ctr">
            <a:solidFill>
              <a:srgbClr val="8064A2"/>
            </a:solidFill>
            <a:prstDash val="solid"/>
            <a:tailEnd type="triangle"/>
          </a:ln>
          <a:effectLst/>
        </p:spPr>
      </p:cxnSp>
      <p:cxnSp>
        <p:nvCxnSpPr>
          <p:cNvPr id="180" name="Соединительная линия уступом 51"/>
          <p:cNvCxnSpPr>
            <a:cxnSpLocks/>
            <a:stCxn id="152" idx="3"/>
            <a:endCxn id="162" idx="1"/>
          </p:cNvCxnSpPr>
          <p:nvPr>
            <p:custDataLst>
              <p:tags r:id="rId39"/>
            </p:custDataLst>
          </p:nvPr>
        </p:nvCxnSpPr>
        <p:spPr>
          <a:xfrm>
            <a:off x="4836959" y="1400854"/>
            <a:ext cx="544537" cy="110755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tailEnd type="triangle"/>
          </a:ln>
          <a:effectLst/>
        </p:spPr>
      </p:cxnSp>
      <p:cxnSp>
        <p:nvCxnSpPr>
          <p:cNvPr id="181" name="Соединительная линия уступом 52"/>
          <p:cNvCxnSpPr>
            <a:cxnSpLocks/>
            <a:stCxn id="164" idx="3"/>
            <a:endCxn id="162" idx="1"/>
          </p:cNvCxnSpPr>
          <p:nvPr>
            <p:custDataLst>
              <p:tags r:id="rId40"/>
            </p:custDataLst>
          </p:nvPr>
        </p:nvCxnSpPr>
        <p:spPr>
          <a:xfrm flipV="1">
            <a:off x="4836959" y="1511609"/>
            <a:ext cx="544537" cy="204009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tailEnd type="triangle"/>
          </a:ln>
          <a:effectLst/>
        </p:spPr>
      </p:cxnSp>
      <p:cxnSp>
        <p:nvCxnSpPr>
          <p:cNvPr id="182" name="Прямая со стрелкой 53"/>
          <p:cNvCxnSpPr>
            <a:cxnSpLocks/>
            <a:endCxn id="228" idx="1"/>
          </p:cNvCxnSpPr>
          <p:nvPr>
            <p:custDataLst>
              <p:tags r:id="rId41"/>
            </p:custDataLst>
          </p:nvPr>
        </p:nvCxnSpPr>
        <p:spPr>
          <a:xfrm flipV="1">
            <a:off x="1330231" y="4472179"/>
            <a:ext cx="150908" cy="4970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183" name="Соединительная линия уступом 54"/>
          <p:cNvCxnSpPr>
            <a:cxnSpLocks/>
            <a:stCxn id="237" idx="3"/>
            <a:endCxn id="167" idx="1"/>
          </p:cNvCxnSpPr>
          <p:nvPr>
            <p:custDataLst>
              <p:tags r:id="rId42"/>
            </p:custDataLst>
          </p:nvPr>
        </p:nvCxnSpPr>
        <p:spPr>
          <a:xfrm>
            <a:off x="4872774" y="3713076"/>
            <a:ext cx="517122" cy="216477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9BBB59"/>
            </a:solidFill>
            <a:prstDash val="solid"/>
            <a:tailEnd type="triangle"/>
          </a:ln>
          <a:effectLst/>
        </p:spPr>
      </p:cxnSp>
      <p:cxnSp>
        <p:nvCxnSpPr>
          <p:cNvPr id="184" name="Соединительная линия уступом 58"/>
          <p:cNvCxnSpPr>
            <a:cxnSpLocks/>
            <a:stCxn id="169" idx="3"/>
          </p:cNvCxnSpPr>
          <p:nvPr>
            <p:custDataLst>
              <p:tags r:id="rId43"/>
            </p:custDataLst>
          </p:nvPr>
        </p:nvCxnSpPr>
        <p:spPr>
          <a:xfrm flipV="1">
            <a:off x="2423890" y="3406054"/>
            <a:ext cx="502141" cy="666466"/>
          </a:xfrm>
          <a:prstGeom prst="bentConnector2">
            <a:avLst/>
          </a:prstGeom>
          <a:noFill/>
          <a:ln w="9525" cap="flat" cmpd="sng" algn="ctr">
            <a:solidFill>
              <a:srgbClr val="9BBB59"/>
            </a:solidFill>
            <a:prstDash val="solid"/>
            <a:tailEnd type="triangle"/>
          </a:ln>
          <a:effectLst/>
        </p:spPr>
      </p:cxnSp>
      <p:cxnSp>
        <p:nvCxnSpPr>
          <p:cNvPr id="185" name="Соединительная линия уступом 63"/>
          <p:cNvCxnSpPr>
            <a:cxnSpLocks/>
            <a:stCxn id="162" idx="3"/>
          </p:cNvCxnSpPr>
          <p:nvPr>
            <p:custDataLst>
              <p:tags r:id="rId44"/>
            </p:custDataLst>
          </p:nvPr>
        </p:nvCxnSpPr>
        <p:spPr>
          <a:xfrm flipH="1">
            <a:off x="6131561" y="1511609"/>
            <a:ext cx="1179430" cy="1429821"/>
          </a:xfrm>
          <a:prstGeom prst="bentConnector4">
            <a:avLst>
              <a:gd name="adj1" fmla="val -12598"/>
              <a:gd name="adj2" fmla="val 70277"/>
            </a:avLst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tailEnd type="triangle"/>
          </a:ln>
          <a:effectLst/>
        </p:spPr>
      </p:cxnSp>
      <p:cxnSp>
        <p:nvCxnSpPr>
          <p:cNvPr id="186" name="Прямая соединительная линия 66"/>
          <p:cNvCxnSpPr/>
          <p:nvPr>
            <p:custDataLst>
              <p:tags r:id="rId45"/>
            </p:custDataLst>
          </p:nvPr>
        </p:nvCxnSpPr>
        <p:spPr>
          <a:xfrm>
            <a:off x="1331247" y="1446841"/>
            <a:ext cx="0" cy="3030308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</a:ln>
          <a:effectLst/>
        </p:spPr>
      </p:cxnSp>
      <p:cxnSp>
        <p:nvCxnSpPr>
          <p:cNvPr id="187" name="Прямая со стрелкой 67"/>
          <p:cNvCxnSpPr/>
          <p:nvPr>
            <p:custDataLst>
              <p:tags r:id="rId46"/>
            </p:custDataLst>
          </p:nvPr>
        </p:nvCxnSpPr>
        <p:spPr>
          <a:xfrm>
            <a:off x="1330231" y="2225770"/>
            <a:ext cx="150909" cy="1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188" name="Прямая со стрелкой 68"/>
          <p:cNvCxnSpPr>
            <a:cxnSpLocks/>
          </p:cNvCxnSpPr>
          <p:nvPr>
            <p:custDataLst>
              <p:tags r:id="rId47"/>
            </p:custDataLst>
          </p:nvPr>
        </p:nvCxnSpPr>
        <p:spPr>
          <a:xfrm>
            <a:off x="1324976" y="2860147"/>
            <a:ext cx="1421603" cy="1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sp>
        <p:nvSpPr>
          <p:cNvPr id="189" name="Пятиугольник 69"/>
          <p:cNvSpPr/>
          <p:nvPr>
            <p:custDataLst>
              <p:tags r:id="rId48"/>
            </p:custDataLst>
          </p:nvPr>
        </p:nvSpPr>
        <p:spPr>
          <a:xfrm>
            <a:off x="7401127" y="1055301"/>
            <a:ext cx="1346358" cy="183522"/>
          </a:xfrm>
          <a:prstGeom prst="homePlate">
            <a:avLst>
              <a:gd name="adj" fmla="val 10366"/>
            </a:avLst>
          </a:prstGeom>
          <a:solidFill>
            <a:schemeClr val="accent5"/>
          </a:solidFill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189000" tIns="0" rIns="0" bIns="0" rtlCol="0" anchor="ctr"/>
          <a:lstStyle/>
          <a:p>
            <a:pPr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иражирование</a:t>
            </a:r>
          </a:p>
        </p:txBody>
      </p:sp>
      <p:sp>
        <p:nvSpPr>
          <p:cNvPr id="190" name="Пятиугольник 70"/>
          <p:cNvSpPr/>
          <p:nvPr>
            <p:custDataLst>
              <p:tags r:id="rId49"/>
            </p:custDataLst>
          </p:nvPr>
        </p:nvSpPr>
        <p:spPr>
          <a:xfrm>
            <a:off x="4894681" y="1055301"/>
            <a:ext cx="2557679" cy="183522"/>
          </a:xfrm>
          <a:prstGeom prst="homePlate">
            <a:avLst>
              <a:gd name="adj" fmla="val 10366"/>
            </a:avLst>
          </a:prstGeom>
          <a:solidFill>
            <a:srgbClr val="EBE99B">
              <a:lumMod val="60000"/>
              <a:lumOff val="40000"/>
            </a:srgbClr>
          </a:solidFill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39856" tIns="0" rIns="0" bIns="0" rtlCol="0" anchor="ctr"/>
          <a:lstStyle/>
          <a:p>
            <a:pPr algn="ctr" defTabSz="683953"/>
            <a:r>
              <a:rPr lang="ru-RU" sz="675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дрение улучшений</a:t>
            </a:r>
          </a:p>
        </p:txBody>
      </p:sp>
      <p:sp>
        <p:nvSpPr>
          <p:cNvPr id="191" name="Пятиугольник 71"/>
          <p:cNvSpPr/>
          <p:nvPr>
            <p:custDataLst>
              <p:tags r:id="rId50"/>
            </p:custDataLst>
          </p:nvPr>
        </p:nvSpPr>
        <p:spPr>
          <a:xfrm>
            <a:off x="2567106" y="1055301"/>
            <a:ext cx="2385084" cy="183522"/>
          </a:xfrm>
          <a:prstGeom prst="homePlate">
            <a:avLst>
              <a:gd name="adj" fmla="val 10366"/>
            </a:avLst>
          </a:prstGeom>
          <a:solidFill>
            <a:srgbClr val="EBE99B">
              <a:lumMod val="60000"/>
              <a:lumOff val="40000"/>
            </a:srgbClr>
          </a:solidFill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39856" tIns="0" rIns="0" bIns="0" rtlCol="0" anchor="ctr"/>
          <a:lstStyle/>
          <a:p>
            <a:pPr defTabSz="683953"/>
            <a:r>
              <a:rPr lang="ru-RU" sz="675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агностика и планирование</a:t>
            </a:r>
          </a:p>
        </p:txBody>
      </p:sp>
      <p:sp>
        <p:nvSpPr>
          <p:cNvPr id="192" name="Пятиугольник 72"/>
          <p:cNvSpPr/>
          <p:nvPr>
            <p:custDataLst>
              <p:tags r:id="rId51"/>
            </p:custDataLst>
          </p:nvPr>
        </p:nvSpPr>
        <p:spPr>
          <a:xfrm>
            <a:off x="1330233" y="1055301"/>
            <a:ext cx="1230122" cy="183522"/>
          </a:xfrm>
          <a:prstGeom prst="homePlate">
            <a:avLst>
              <a:gd name="adj" fmla="val 10366"/>
            </a:avLst>
          </a:prstGeom>
          <a:solidFill>
            <a:srgbClr val="EBE99B">
              <a:lumMod val="60000"/>
              <a:lumOff val="40000"/>
            </a:srgbClr>
          </a:solidFill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39856" tIns="0" rIns="0" bIns="0" rtlCol="0" anchor="ctr"/>
          <a:lstStyle/>
          <a:p>
            <a:pPr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ка </a:t>
            </a:r>
          </a:p>
        </p:txBody>
      </p:sp>
      <p:cxnSp>
        <p:nvCxnSpPr>
          <p:cNvPr id="193" name="Прямая со стрелкой 88"/>
          <p:cNvCxnSpPr/>
          <p:nvPr>
            <p:custDataLst>
              <p:tags r:id="rId52"/>
            </p:custDataLst>
          </p:nvPr>
        </p:nvCxnSpPr>
        <p:spPr>
          <a:xfrm>
            <a:off x="1330231" y="4104578"/>
            <a:ext cx="150909" cy="1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sp>
        <p:nvSpPr>
          <p:cNvPr id="194" name="TextBox 193"/>
          <p:cNvSpPr txBox="1"/>
          <p:nvPr>
            <p:custDataLst>
              <p:tags r:id="rId53"/>
            </p:custDataLst>
          </p:nvPr>
        </p:nvSpPr>
        <p:spPr>
          <a:xfrm>
            <a:off x="1392091" y="1196350"/>
            <a:ext cx="1251191" cy="276835"/>
          </a:xfrm>
          <a:prstGeom prst="rect">
            <a:avLst/>
          </a:prstGeom>
          <a:noFill/>
        </p:spPr>
        <p:txBody>
          <a:bodyPr wrap="square" lIns="60798" tIns="30399" rIns="60798" bIns="30399" rtlCol="0" anchor="ctr">
            <a:spAutoFit/>
          </a:bodyPr>
          <a:lstStyle/>
          <a:p>
            <a:pPr defTabSz="683953"/>
            <a:r>
              <a:rPr lang="ru-RU" sz="7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бор предприятия и подписание соглашения</a:t>
            </a:r>
          </a:p>
        </p:txBody>
      </p:sp>
      <p:sp>
        <p:nvSpPr>
          <p:cNvPr id="195" name="Скругленный прямоугольник 91"/>
          <p:cNvSpPr/>
          <p:nvPr>
            <p:custDataLst>
              <p:tags r:id="rId54"/>
            </p:custDataLst>
          </p:nvPr>
        </p:nvSpPr>
        <p:spPr>
          <a:xfrm>
            <a:off x="7544542" y="1270522"/>
            <a:ext cx="1143878" cy="176318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6" name="Прямоугольник 92"/>
          <p:cNvSpPr/>
          <p:nvPr>
            <p:custDataLst>
              <p:tags r:id="rId55"/>
            </p:custDataLst>
          </p:nvPr>
        </p:nvSpPr>
        <p:spPr>
          <a:xfrm>
            <a:off x="7594601" y="1308882"/>
            <a:ext cx="1093816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7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Актуализация целей и КПЭ</a:t>
            </a:r>
          </a:p>
        </p:txBody>
      </p:sp>
      <p:sp>
        <p:nvSpPr>
          <p:cNvPr id="197" name="Скругленный прямоугольник 93"/>
          <p:cNvSpPr/>
          <p:nvPr>
            <p:custDataLst>
              <p:tags r:id="rId56"/>
            </p:custDataLst>
          </p:nvPr>
        </p:nvSpPr>
        <p:spPr>
          <a:xfrm>
            <a:off x="7544539" y="1890326"/>
            <a:ext cx="1141998" cy="229943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8" name="Прямоугольник 94"/>
          <p:cNvSpPr/>
          <p:nvPr>
            <p:custDataLst>
              <p:tags r:id="rId57"/>
            </p:custDataLst>
          </p:nvPr>
        </p:nvSpPr>
        <p:spPr>
          <a:xfrm>
            <a:off x="7594602" y="1916533"/>
            <a:ext cx="109381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7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ыбор и оптимизация новых потоков</a:t>
            </a:r>
            <a:endParaRPr lang="ru-RU" sz="7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99" name="Скругленный прямоугольник 95"/>
          <p:cNvSpPr/>
          <p:nvPr>
            <p:custDataLst>
              <p:tags r:id="rId58"/>
            </p:custDataLst>
          </p:nvPr>
        </p:nvSpPr>
        <p:spPr>
          <a:xfrm>
            <a:off x="7539336" y="2163503"/>
            <a:ext cx="1147201" cy="361395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00" name="Прямоугольник 96"/>
          <p:cNvSpPr/>
          <p:nvPr>
            <p:custDataLst>
              <p:tags r:id="rId59"/>
            </p:custDataLst>
          </p:nvPr>
        </p:nvSpPr>
        <p:spPr>
          <a:xfrm>
            <a:off x="7592722" y="2175159"/>
            <a:ext cx="1093815" cy="276999"/>
          </a:xfrm>
          <a:prstGeom prst="rect">
            <a:avLst/>
          </a:prstGeom>
          <a:ln>
            <a:noFill/>
            <a:prstDash val="lgDash"/>
          </a:ln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еализация мероприятий по достижению/приближению идеального состояния потоков</a:t>
            </a:r>
          </a:p>
        </p:txBody>
      </p:sp>
      <p:sp>
        <p:nvSpPr>
          <p:cNvPr id="201" name="Скругленный прямоугольник 97"/>
          <p:cNvSpPr/>
          <p:nvPr>
            <p:custDataLst>
              <p:tags r:id="rId60"/>
            </p:custDataLst>
          </p:nvPr>
        </p:nvSpPr>
        <p:spPr>
          <a:xfrm>
            <a:off x="7549589" y="2711494"/>
            <a:ext cx="1136947" cy="371975"/>
          </a:xfrm>
          <a:prstGeom prst="roundRect">
            <a:avLst>
              <a:gd name="adj" fmla="val 10521"/>
            </a:avLst>
          </a:prstGeom>
          <a:solidFill>
            <a:srgbClr val="8064A2">
              <a:lumMod val="40000"/>
              <a:lumOff val="60000"/>
            </a:srgbClr>
          </a:solidFill>
          <a:ln w="9525" cap="flat" cmpd="sng" algn="ctr">
            <a:solidFill>
              <a:srgbClr val="8064A2"/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02" name="Прямоугольник 98"/>
          <p:cNvSpPr/>
          <p:nvPr>
            <p:custDataLst>
              <p:tags r:id="rId61"/>
            </p:custDataLst>
          </p:nvPr>
        </p:nvSpPr>
        <p:spPr>
          <a:xfrm>
            <a:off x="7599508" y="2721649"/>
            <a:ext cx="113694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ткрытие и реализация проектов по оптимизации дополнительных потоков и процессов</a:t>
            </a:r>
            <a:endParaRPr lang="ru-RU" sz="6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03" name="Овал 105"/>
          <p:cNvSpPr/>
          <p:nvPr>
            <p:custDataLst>
              <p:tags r:id="rId62"/>
            </p:custDataLst>
          </p:nvPr>
        </p:nvSpPr>
        <p:spPr>
          <a:xfrm>
            <a:off x="1259897" y="1270524"/>
            <a:ext cx="167592" cy="181427"/>
          </a:xfrm>
          <a:prstGeom prst="ellipse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900" b="1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4" name="Прямоугольник 110"/>
          <p:cNvSpPr/>
          <p:nvPr>
            <p:custDataLst>
              <p:tags r:id="rId63"/>
            </p:custDataLst>
          </p:nvPr>
        </p:nvSpPr>
        <p:spPr>
          <a:xfrm>
            <a:off x="2851409" y="1658530"/>
            <a:ext cx="1875930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7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недрение пилотного информационного центра</a:t>
            </a:r>
            <a:endParaRPr lang="ru-RU" sz="7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205" name="Прямая со стрелкой 112"/>
          <p:cNvCxnSpPr/>
          <p:nvPr>
            <p:custDataLst>
              <p:tags r:id="rId64"/>
            </p:custDataLst>
          </p:nvPr>
        </p:nvCxnSpPr>
        <p:spPr>
          <a:xfrm>
            <a:off x="1330231" y="3668117"/>
            <a:ext cx="150909" cy="1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206" name="Соединительная линия уступом 113"/>
          <p:cNvCxnSpPr>
            <a:cxnSpLocks/>
            <a:endCxn id="152" idx="1"/>
          </p:cNvCxnSpPr>
          <p:nvPr/>
        </p:nvCxnSpPr>
        <p:spPr>
          <a:xfrm flipV="1">
            <a:off x="2121767" y="1400854"/>
            <a:ext cx="643374" cy="114968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207" name="Прямая со стрелкой 114"/>
          <p:cNvCxnSpPr/>
          <p:nvPr>
            <p:custDataLst>
              <p:tags r:id="rId65"/>
            </p:custDataLst>
          </p:nvPr>
        </p:nvCxnSpPr>
        <p:spPr>
          <a:xfrm>
            <a:off x="1330231" y="1515825"/>
            <a:ext cx="794543" cy="0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208" name="Соединительная линия уступом 116"/>
          <p:cNvCxnSpPr>
            <a:cxnSpLocks/>
            <a:stCxn id="214" idx="3"/>
            <a:endCxn id="242" idx="0"/>
          </p:cNvCxnSpPr>
          <p:nvPr>
            <p:custDataLst>
              <p:tags r:id="rId66"/>
            </p:custDataLst>
          </p:nvPr>
        </p:nvCxnSpPr>
        <p:spPr>
          <a:xfrm>
            <a:off x="4836964" y="2134609"/>
            <a:ext cx="192799" cy="806821"/>
          </a:xfrm>
          <a:prstGeom prst="bentConnector2">
            <a:avLst/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209" name="Соединительная линия уступом 117"/>
          <p:cNvCxnSpPr>
            <a:cxnSpLocks/>
            <a:stCxn id="153" idx="3"/>
            <a:endCxn id="242" idx="1"/>
          </p:cNvCxnSpPr>
          <p:nvPr>
            <p:custDataLst>
              <p:tags r:id="rId67"/>
            </p:custDataLst>
          </p:nvPr>
        </p:nvCxnSpPr>
        <p:spPr>
          <a:xfrm>
            <a:off x="2423891" y="2248603"/>
            <a:ext cx="324644" cy="918039"/>
          </a:xfrm>
          <a:prstGeom prst="bentConnector3">
            <a:avLst>
              <a:gd name="adj1" fmla="val 36699"/>
            </a:avLst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210" name="Соединительная линия уступом 120"/>
          <p:cNvCxnSpPr>
            <a:cxnSpLocks/>
            <a:stCxn id="242" idx="3"/>
            <a:endCxn id="167" idx="0"/>
          </p:cNvCxnSpPr>
          <p:nvPr>
            <p:custDataLst>
              <p:tags r:id="rId68"/>
            </p:custDataLst>
          </p:nvPr>
        </p:nvCxnSpPr>
        <p:spPr>
          <a:xfrm flipH="1">
            <a:off x="6350443" y="3166642"/>
            <a:ext cx="960547" cy="585228"/>
          </a:xfrm>
          <a:prstGeom prst="bentConnector4">
            <a:avLst>
              <a:gd name="adj1" fmla="val -5553"/>
              <a:gd name="adj2" fmla="val 61429"/>
            </a:avLst>
          </a:prstGeom>
          <a:noFill/>
          <a:ln w="9525" cap="flat" cmpd="sng" algn="ctr">
            <a:solidFill>
              <a:srgbClr val="8064A2"/>
            </a:solidFill>
            <a:prstDash val="solid"/>
            <a:tailEnd type="triangle"/>
          </a:ln>
          <a:effectLst/>
        </p:spPr>
      </p:cxnSp>
      <p:cxnSp>
        <p:nvCxnSpPr>
          <p:cNvPr id="211" name="Соединительная линия уступом 121"/>
          <p:cNvCxnSpPr>
            <a:cxnSpLocks/>
            <a:stCxn id="160" idx="3"/>
          </p:cNvCxnSpPr>
          <p:nvPr>
            <p:custDataLst>
              <p:tags r:id="rId69"/>
            </p:custDataLst>
          </p:nvPr>
        </p:nvCxnSpPr>
        <p:spPr>
          <a:xfrm flipH="1">
            <a:off x="6776720" y="2134607"/>
            <a:ext cx="534270" cy="806823"/>
          </a:xfrm>
          <a:prstGeom prst="bentConnector4">
            <a:avLst>
              <a:gd name="adj1" fmla="val -42787"/>
              <a:gd name="adj2" fmla="val 62698"/>
            </a:avLst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sp>
        <p:nvSpPr>
          <p:cNvPr id="212" name="Скругленный прямоугольник 122"/>
          <p:cNvSpPr/>
          <p:nvPr>
            <p:custDataLst>
              <p:tags r:id="rId70"/>
            </p:custDataLst>
          </p:nvPr>
        </p:nvSpPr>
        <p:spPr>
          <a:xfrm>
            <a:off x="2753744" y="2660397"/>
            <a:ext cx="2076947" cy="229943"/>
          </a:xfrm>
          <a:prstGeom prst="roundRect">
            <a:avLst/>
          </a:prstGeom>
          <a:solidFill>
            <a:srgbClr val="8064A2">
              <a:lumMod val="40000"/>
              <a:lumOff val="60000"/>
            </a:srgbClr>
          </a:solidFill>
          <a:ln w="9525" cap="flat" cmpd="sng" algn="ctr">
            <a:solidFill>
              <a:srgbClr val="8064A2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3" name="Прямоугольник 123"/>
          <p:cNvSpPr/>
          <p:nvPr>
            <p:custDataLst>
              <p:tags r:id="rId71"/>
            </p:custDataLst>
          </p:nvPr>
        </p:nvSpPr>
        <p:spPr>
          <a:xfrm>
            <a:off x="2884950" y="2687188"/>
            <a:ext cx="190059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10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Формирование проектного офиса</a:t>
            </a:r>
            <a:endParaRPr lang="ru-RU" sz="10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14" name="Скругленный прямоугольник 124"/>
          <p:cNvSpPr/>
          <p:nvPr>
            <p:custDataLst>
              <p:tags r:id="rId72"/>
            </p:custDataLst>
          </p:nvPr>
        </p:nvSpPr>
        <p:spPr>
          <a:xfrm>
            <a:off x="2746580" y="1929704"/>
            <a:ext cx="2090384" cy="409810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5" name="Прямоугольник 125"/>
          <p:cNvSpPr/>
          <p:nvPr>
            <p:custDataLst>
              <p:tags r:id="rId73"/>
            </p:custDataLst>
          </p:nvPr>
        </p:nvSpPr>
        <p:spPr>
          <a:xfrm>
            <a:off x="2822434" y="1955905"/>
            <a:ext cx="1966155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Анализ текущего и определение целевого, идеального состояния потоков, разработка мероприятий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16" name="Скругленный прямоугольник 135"/>
          <p:cNvSpPr/>
          <p:nvPr>
            <p:custDataLst>
              <p:tags r:id="rId74"/>
            </p:custDataLst>
          </p:nvPr>
        </p:nvSpPr>
        <p:spPr>
          <a:xfrm>
            <a:off x="7544539" y="1488298"/>
            <a:ext cx="1143877" cy="345071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7" name="Прямоугольник 133"/>
          <p:cNvSpPr/>
          <p:nvPr>
            <p:custDataLst>
              <p:tags r:id="rId75"/>
            </p:custDataLst>
          </p:nvPr>
        </p:nvSpPr>
        <p:spPr>
          <a:xfrm>
            <a:off x="7594602" y="1498855"/>
            <a:ext cx="104016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недрение взаимосвязан-ных инфоцентров предприятия, цехов, малых групп</a:t>
            </a:r>
          </a:p>
        </p:txBody>
      </p:sp>
      <p:sp>
        <p:nvSpPr>
          <p:cNvPr id="218" name="Скругленный прямоугольник 156"/>
          <p:cNvSpPr/>
          <p:nvPr>
            <p:custDataLst>
              <p:tags r:id="rId76"/>
            </p:custDataLst>
          </p:nvPr>
        </p:nvSpPr>
        <p:spPr>
          <a:xfrm>
            <a:off x="2733232" y="3831475"/>
            <a:ext cx="2134331" cy="321047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9" name="Прямоугольник 163"/>
          <p:cNvSpPr/>
          <p:nvPr>
            <p:custDataLst>
              <p:tags r:id="rId77"/>
            </p:custDataLst>
          </p:nvPr>
        </p:nvSpPr>
        <p:spPr>
          <a:xfrm>
            <a:off x="2804106" y="3861759"/>
            <a:ext cx="204350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учение руководителей предприятия и участников (членов РГ) проектов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220" name="Соединительная линия уступом 168"/>
          <p:cNvCxnSpPr>
            <a:cxnSpLocks/>
            <a:stCxn id="157" idx="3"/>
            <a:endCxn id="212" idx="1"/>
          </p:cNvCxnSpPr>
          <p:nvPr>
            <p:custDataLst>
              <p:tags r:id="rId78"/>
            </p:custDataLst>
          </p:nvPr>
        </p:nvCxnSpPr>
        <p:spPr>
          <a:xfrm flipV="1">
            <a:off x="2431825" y="2775369"/>
            <a:ext cx="321919" cy="923807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9BBB59"/>
            </a:solidFill>
            <a:prstDash val="solid"/>
            <a:tailEnd type="triangle"/>
          </a:ln>
          <a:effectLst/>
        </p:spPr>
      </p:cxnSp>
      <p:cxnSp>
        <p:nvCxnSpPr>
          <p:cNvPr id="221" name="Соединительная линия уступом 172"/>
          <p:cNvCxnSpPr>
            <a:cxnSpLocks/>
            <a:stCxn id="157" idx="3"/>
            <a:endCxn id="212" idx="1"/>
          </p:cNvCxnSpPr>
          <p:nvPr>
            <p:custDataLst>
              <p:tags r:id="rId79"/>
            </p:custDataLst>
          </p:nvPr>
        </p:nvCxnSpPr>
        <p:spPr>
          <a:xfrm flipV="1">
            <a:off x="2431825" y="2775369"/>
            <a:ext cx="321919" cy="923807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9BBB59"/>
            </a:solidFill>
            <a:prstDash val="solid"/>
            <a:tailEnd type="triangle"/>
          </a:ln>
          <a:effectLst/>
        </p:spPr>
      </p:cxnSp>
      <p:cxnSp>
        <p:nvCxnSpPr>
          <p:cNvPr id="222" name="Соединительная линия уступом 179"/>
          <p:cNvCxnSpPr>
            <a:cxnSpLocks/>
            <a:endCxn id="218" idx="1"/>
          </p:cNvCxnSpPr>
          <p:nvPr>
            <p:custDataLst>
              <p:tags r:id="rId80"/>
            </p:custDataLst>
          </p:nvPr>
        </p:nvCxnSpPr>
        <p:spPr>
          <a:xfrm>
            <a:off x="2141034" y="3881300"/>
            <a:ext cx="592198" cy="110699"/>
          </a:xfrm>
          <a:prstGeom prst="bentConnector3">
            <a:avLst>
              <a:gd name="adj1" fmla="val 65441"/>
            </a:avLst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223" name="Соединительная линия уступом 180"/>
          <p:cNvCxnSpPr>
            <a:cxnSpLocks/>
            <a:endCxn id="237" idx="1"/>
          </p:cNvCxnSpPr>
          <p:nvPr/>
        </p:nvCxnSpPr>
        <p:spPr>
          <a:xfrm flipV="1">
            <a:off x="2141029" y="3713076"/>
            <a:ext cx="593273" cy="168222"/>
          </a:xfrm>
          <a:prstGeom prst="bentConnector3">
            <a:avLst>
              <a:gd name="adj1" fmla="val 80183"/>
            </a:avLst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224" name="Прямая со стрелкой 181"/>
          <p:cNvCxnSpPr/>
          <p:nvPr>
            <p:custDataLst>
              <p:tags r:id="rId81"/>
            </p:custDataLst>
          </p:nvPr>
        </p:nvCxnSpPr>
        <p:spPr>
          <a:xfrm>
            <a:off x="1330231" y="3884651"/>
            <a:ext cx="794543" cy="0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225" name="Скругленный прямоугольник 189"/>
          <p:cNvSpPr/>
          <p:nvPr>
            <p:custDataLst>
              <p:tags r:id="rId82"/>
            </p:custDataLst>
          </p:nvPr>
        </p:nvSpPr>
        <p:spPr>
          <a:xfrm>
            <a:off x="7549589" y="3716100"/>
            <a:ext cx="1164946" cy="355366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26" name="Прямоугольник 190"/>
          <p:cNvSpPr/>
          <p:nvPr>
            <p:custDataLst>
              <p:tags r:id="rId83"/>
            </p:custDataLst>
          </p:nvPr>
        </p:nvSpPr>
        <p:spPr>
          <a:xfrm>
            <a:off x="7566640" y="3769696"/>
            <a:ext cx="112438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учение участников (членов РГ) проектов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227" name="Соединительная линия уступом 201"/>
          <p:cNvCxnSpPr>
            <a:cxnSpLocks/>
          </p:cNvCxnSpPr>
          <p:nvPr>
            <p:custDataLst>
              <p:tags r:id="rId84"/>
            </p:custDataLst>
          </p:nvPr>
        </p:nvCxnSpPr>
        <p:spPr>
          <a:xfrm rot="5400000" flipH="1" flipV="1">
            <a:off x="4763267" y="3497670"/>
            <a:ext cx="593311" cy="384719"/>
          </a:xfrm>
          <a:prstGeom prst="bentConnector3">
            <a:avLst>
              <a:gd name="adj1" fmla="val -7366"/>
            </a:avLst>
          </a:prstGeom>
          <a:noFill/>
          <a:ln w="9525" cap="flat" cmpd="sng" algn="ctr">
            <a:solidFill>
              <a:srgbClr val="9BBB59"/>
            </a:solidFill>
            <a:prstDash val="solid"/>
            <a:tailEnd type="triangle"/>
          </a:ln>
          <a:effectLst/>
        </p:spPr>
      </p:cxnSp>
      <p:sp>
        <p:nvSpPr>
          <p:cNvPr id="228" name="Скругленный прямоугольник 219"/>
          <p:cNvSpPr/>
          <p:nvPr>
            <p:custDataLst>
              <p:tags r:id="rId85"/>
            </p:custDataLst>
          </p:nvPr>
        </p:nvSpPr>
        <p:spPr>
          <a:xfrm>
            <a:off x="1481139" y="4270505"/>
            <a:ext cx="949823" cy="403348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29" name="Прямоугольник 220"/>
          <p:cNvSpPr/>
          <p:nvPr>
            <p:custDataLst>
              <p:tags r:id="rId86"/>
            </p:custDataLst>
          </p:nvPr>
        </p:nvSpPr>
        <p:spPr>
          <a:xfrm>
            <a:off x="1523191" y="4335434"/>
            <a:ext cx="87692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9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иагностика предприятия</a:t>
            </a:r>
            <a:endParaRPr lang="ru-RU" sz="9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30" name="Скругленный прямоугольник 233"/>
          <p:cNvSpPr/>
          <p:nvPr>
            <p:custDataLst>
              <p:tags r:id="rId87"/>
            </p:custDataLst>
          </p:nvPr>
        </p:nvSpPr>
        <p:spPr>
          <a:xfrm>
            <a:off x="3810432" y="4598888"/>
            <a:ext cx="3500554" cy="125919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1" name="Прямоугольник 234"/>
          <p:cNvSpPr/>
          <p:nvPr>
            <p:custDataLst>
              <p:tags r:id="rId88"/>
            </p:custDataLst>
          </p:nvPr>
        </p:nvSpPr>
        <p:spPr>
          <a:xfrm>
            <a:off x="3828921" y="4596456"/>
            <a:ext cx="2444566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еализация плана коммуникации и мотивации</a:t>
            </a:r>
          </a:p>
        </p:txBody>
      </p:sp>
      <p:sp>
        <p:nvSpPr>
          <p:cNvPr id="232" name="Скругленный прямоугольник 238"/>
          <p:cNvSpPr/>
          <p:nvPr>
            <p:custDataLst>
              <p:tags r:id="rId89"/>
            </p:custDataLst>
          </p:nvPr>
        </p:nvSpPr>
        <p:spPr>
          <a:xfrm>
            <a:off x="7549589" y="4189891"/>
            <a:ext cx="1157935" cy="297490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3" name="Прямоугольник 239"/>
          <p:cNvSpPr/>
          <p:nvPr>
            <p:custDataLst>
              <p:tags r:id="rId90"/>
            </p:custDataLst>
          </p:nvPr>
        </p:nvSpPr>
        <p:spPr>
          <a:xfrm>
            <a:off x="7592722" y="4221291"/>
            <a:ext cx="1108459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7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альнейшая реализация плана коммуникаций и мотив.</a:t>
            </a:r>
          </a:p>
        </p:txBody>
      </p:sp>
      <p:cxnSp>
        <p:nvCxnSpPr>
          <p:cNvPr id="234" name="Соединительная линия уступом 242"/>
          <p:cNvCxnSpPr>
            <a:cxnSpLocks/>
            <a:stCxn id="228" idx="3"/>
            <a:endCxn id="171" idx="1"/>
          </p:cNvCxnSpPr>
          <p:nvPr>
            <p:custDataLst>
              <p:tags r:id="rId91"/>
            </p:custDataLst>
          </p:nvPr>
        </p:nvCxnSpPr>
        <p:spPr>
          <a:xfrm flipV="1">
            <a:off x="2430962" y="4271093"/>
            <a:ext cx="302271" cy="201086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D98616"/>
            </a:solidFill>
            <a:prstDash val="solid"/>
            <a:tailEnd type="triangle"/>
          </a:ln>
          <a:effectLst/>
        </p:spPr>
      </p:cxnSp>
      <p:cxnSp>
        <p:nvCxnSpPr>
          <p:cNvPr id="235" name="Соединительная линия уступом 244"/>
          <p:cNvCxnSpPr>
            <a:cxnSpLocks/>
            <a:stCxn id="228" idx="3"/>
            <a:endCxn id="230" idx="1"/>
          </p:cNvCxnSpPr>
          <p:nvPr>
            <p:custDataLst>
              <p:tags r:id="rId92"/>
            </p:custDataLst>
          </p:nvPr>
        </p:nvCxnSpPr>
        <p:spPr>
          <a:xfrm>
            <a:off x="2430962" y="4472179"/>
            <a:ext cx="1379470" cy="189669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D98616"/>
            </a:solidFill>
            <a:prstDash val="solid"/>
            <a:tailEnd type="triangle"/>
          </a:ln>
          <a:effectLst/>
        </p:spPr>
      </p:cxnSp>
      <p:cxnSp>
        <p:nvCxnSpPr>
          <p:cNvPr id="236" name="Соединительная линия уступом 247"/>
          <p:cNvCxnSpPr>
            <a:cxnSpLocks/>
            <a:stCxn id="249" idx="3"/>
            <a:endCxn id="242" idx="2"/>
          </p:cNvCxnSpPr>
          <p:nvPr>
            <p:custDataLst>
              <p:tags r:id="rId93"/>
            </p:custDataLst>
          </p:nvPr>
        </p:nvCxnSpPr>
        <p:spPr>
          <a:xfrm flipH="1" flipV="1">
            <a:off x="5029763" y="3391854"/>
            <a:ext cx="2281223" cy="1050241"/>
          </a:xfrm>
          <a:prstGeom prst="bentConnector4">
            <a:avLst>
              <a:gd name="adj1" fmla="val -3842"/>
              <a:gd name="adj2" fmla="val 80727"/>
            </a:avLst>
          </a:prstGeom>
          <a:noFill/>
          <a:ln w="9525" cap="flat" cmpd="sng" algn="ctr">
            <a:solidFill>
              <a:srgbClr val="D98616"/>
            </a:solidFill>
            <a:prstDash val="solid"/>
            <a:tailEnd type="triangle"/>
          </a:ln>
          <a:effectLst/>
        </p:spPr>
      </p:cxnSp>
      <p:sp>
        <p:nvSpPr>
          <p:cNvPr id="237" name="Скругленный прямоугольник 34"/>
          <p:cNvSpPr/>
          <p:nvPr>
            <p:custDataLst>
              <p:tags r:id="rId94"/>
            </p:custDataLst>
          </p:nvPr>
        </p:nvSpPr>
        <p:spPr>
          <a:xfrm>
            <a:off x="2734302" y="3632028"/>
            <a:ext cx="2138472" cy="162095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solid"/>
          </a:ln>
          <a:effectLst/>
        </p:spPr>
        <p:txBody>
          <a:bodyPr lIns="0" tIns="0" rIns="0" bIns="0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8" name="Прямоугольник 35"/>
          <p:cNvSpPr/>
          <p:nvPr>
            <p:custDataLst>
              <p:tags r:id="rId95"/>
            </p:custDataLst>
          </p:nvPr>
        </p:nvSpPr>
        <p:spPr>
          <a:xfrm>
            <a:off x="3091618" y="3646383"/>
            <a:ext cx="1786797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дготовка  тренеров предприятия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239" name="Соединительная линия уступом 253"/>
          <p:cNvCxnSpPr>
            <a:cxnSpLocks/>
            <a:stCxn id="171" idx="3"/>
          </p:cNvCxnSpPr>
          <p:nvPr>
            <p:custDataLst>
              <p:tags r:id="rId96"/>
            </p:custDataLst>
          </p:nvPr>
        </p:nvCxnSpPr>
        <p:spPr>
          <a:xfrm>
            <a:off x="4558985" y="4271093"/>
            <a:ext cx="62286" cy="104704"/>
          </a:xfrm>
          <a:prstGeom prst="bentConnector2">
            <a:avLst/>
          </a:prstGeom>
          <a:noFill/>
          <a:ln w="9525" cap="flat" cmpd="sng" algn="ctr">
            <a:solidFill>
              <a:srgbClr val="D98616"/>
            </a:solidFill>
            <a:prstDash val="solid"/>
            <a:tailEnd type="triangle"/>
          </a:ln>
          <a:effectLst/>
        </p:spPr>
      </p:cxnSp>
      <p:cxnSp>
        <p:nvCxnSpPr>
          <p:cNvPr id="240" name="Соединительная линия уступом 259"/>
          <p:cNvCxnSpPr>
            <a:cxnSpLocks/>
            <a:stCxn id="242" idx="3"/>
          </p:cNvCxnSpPr>
          <p:nvPr>
            <p:custDataLst>
              <p:tags r:id="rId97"/>
            </p:custDataLst>
          </p:nvPr>
        </p:nvCxnSpPr>
        <p:spPr>
          <a:xfrm flipH="1">
            <a:off x="7158990" y="3166642"/>
            <a:ext cx="152000" cy="1445791"/>
          </a:xfrm>
          <a:prstGeom prst="bentConnector4">
            <a:avLst>
              <a:gd name="adj1" fmla="val -115303"/>
              <a:gd name="adj2" fmla="val 93628"/>
            </a:avLst>
          </a:prstGeom>
          <a:noFill/>
          <a:ln w="9525" cap="flat" cmpd="sng" algn="ctr">
            <a:solidFill>
              <a:srgbClr val="8064A2"/>
            </a:solidFill>
            <a:prstDash val="solid"/>
            <a:tailEnd type="triangle"/>
          </a:ln>
          <a:effectLst/>
        </p:spPr>
      </p:cxnSp>
      <p:cxnSp>
        <p:nvCxnSpPr>
          <p:cNvPr id="241" name="Соединительная линия уступом 272"/>
          <p:cNvCxnSpPr>
            <a:cxnSpLocks/>
            <a:stCxn id="158" idx="3"/>
          </p:cNvCxnSpPr>
          <p:nvPr>
            <p:custDataLst>
              <p:tags r:id="rId98"/>
            </p:custDataLst>
          </p:nvPr>
        </p:nvCxnSpPr>
        <p:spPr>
          <a:xfrm>
            <a:off x="4836962" y="2481554"/>
            <a:ext cx="993607" cy="1256869"/>
          </a:xfrm>
          <a:prstGeom prst="bentConnector2">
            <a:avLst/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sp>
        <p:nvSpPr>
          <p:cNvPr id="242" name="Скругленный прямоугольник 30"/>
          <p:cNvSpPr/>
          <p:nvPr>
            <p:custDataLst>
              <p:tags r:id="rId99"/>
            </p:custDataLst>
          </p:nvPr>
        </p:nvSpPr>
        <p:spPr>
          <a:xfrm>
            <a:off x="2748535" y="2941430"/>
            <a:ext cx="4562455" cy="450424"/>
          </a:xfrm>
          <a:prstGeom prst="roundRect">
            <a:avLst/>
          </a:prstGeom>
          <a:solidFill>
            <a:srgbClr val="8064A2">
              <a:lumMod val="40000"/>
              <a:lumOff val="60000"/>
            </a:srgbClr>
          </a:solidFill>
          <a:ln w="9525" cap="flat" cmpd="sng" algn="ctr">
            <a:solidFill>
              <a:srgbClr val="8064A2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43" name="Прямоугольник 31"/>
          <p:cNvSpPr/>
          <p:nvPr>
            <p:custDataLst>
              <p:tags r:id="rId100"/>
            </p:custDataLst>
          </p:nvPr>
        </p:nvSpPr>
        <p:spPr>
          <a:xfrm>
            <a:off x="2799950" y="3009168"/>
            <a:ext cx="4412894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11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ткрытие и реализация проектов по оптимизации пилотного потока и вспомогательных процессов, влияющих на пилотный поток</a:t>
            </a:r>
            <a:endParaRPr lang="ru-RU" sz="11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44" name="Равнобедренный треугольник 275"/>
          <p:cNvSpPr/>
          <p:nvPr/>
        </p:nvSpPr>
        <p:spPr>
          <a:xfrm rot="10800000">
            <a:off x="2473139" y="1014110"/>
            <a:ext cx="177442" cy="202791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81000" tIns="0" rIns="0" bIns="0" rtlCol="0" anchor="ctr"/>
          <a:lstStyle/>
          <a:p>
            <a:pPr defTabSz="699390"/>
            <a:endParaRPr lang="ru-RU" sz="900" b="1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5" name="Равнобедренный треугольник 277"/>
          <p:cNvSpPr/>
          <p:nvPr/>
        </p:nvSpPr>
        <p:spPr>
          <a:xfrm rot="10800000">
            <a:off x="1259895" y="1014110"/>
            <a:ext cx="177442" cy="202791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81000" tIns="0" rIns="0" bIns="0" rtlCol="0" anchor="ctr"/>
          <a:lstStyle/>
          <a:p>
            <a:pPr defTabSz="699390"/>
            <a:endParaRPr lang="ru-RU" sz="900" b="1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6" name="Равнобедренный треугольник 279"/>
          <p:cNvSpPr/>
          <p:nvPr/>
        </p:nvSpPr>
        <p:spPr>
          <a:xfrm rot="10800000">
            <a:off x="4836962" y="1014110"/>
            <a:ext cx="177442" cy="202791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81000" tIns="0" rIns="0" bIns="0" rtlCol="0" anchor="ctr"/>
          <a:lstStyle/>
          <a:p>
            <a:pPr defTabSz="699390"/>
            <a:endParaRPr lang="ru-RU" sz="900" b="1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7" name="Равнобедренный треугольник 281"/>
          <p:cNvSpPr/>
          <p:nvPr/>
        </p:nvSpPr>
        <p:spPr>
          <a:xfrm rot="10800000">
            <a:off x="7367100" y="1014110"/>
            <a:ext cx="177442" cy="202791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81000" tIns="0" rIns="0" bIns="0" rtlCol="0" anchor="ctr"/>
          <a:lstStyle/>
          <a:p>
            <a:pPr defTabSz="699390"/>
            <a:endParaRPr lang="ru-RU" sz="900" b="1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8" name="Равнобедренный треугольник 283"/>
          <p:cNvSpPr/>
          <p:nvPr/>
        </p:nvSpPr>
        <p:spPr>
          <a:xfrm rot="10800000">
            <a:off x="8647731" y="1014110"/>
            <a:ext cx="177442" cy="202791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81000" tIns="0" rIns="0" bIns="0" rtlCol="0" anchor="ctr"/>
          <a:lstStyle/>
          <a:p>
            <a:pPr defTabSz="699390"/>
            <a:endParaRPr lang="ru-RU" sz="900" b="1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9" name="Скругленный прямоугольник 166"/>
          <p:cNvSpPr/>
          <p:nvPr>
            <p:custDataLst>
              <p:tags r:id="rId101"/>
            </p:custDataLst>
          </p:nvPr>
        </p:nvSpPr>
        <p:spPr>
          <a:xfrm>
            <a:off x="3627777" y="4375798"/>
            <a:ext cx="3683209" cy="132593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50" name="Прямоугольник 169"/>
          <p:cNvSpPr/>
          <p:nvPr>
            <p:custDataLst>
              <p:tags r:id="rId102"/>
            </p:custDataLst>
          </p:nvPr>
        </p:nvSpPr>
        <p:spPr>
          <a:xfrm>
            <a:off x="3691243" y="4376253"/>
            <a:ext cx="2531757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сещение производства топ-менеджерами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251" name="Соединительная линия уступом 170"/>
          <p:cNvCxnSpPr>
            <a:cxnSpLocks/>
            <a:endCxn id="173" idx="1"/>
          </p:cNvCxnSpPr>
          <p:nvPr>
            <p:custDataLst>
              <p:tags r:id="rId103"/>
            </p:custDataLst>
          </p:nvPr>
        </p:nvCxnSpPr>
        <p:spPr>
          <a:xfrm flipV="1">
            <a:off x="4573443" y="4272085"/>
            <a:ext cx="263521" cy="1028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D98616"/>
            </a:solidFill>
            <a:prstDash val="solid"/>
            <a:tailEnd type="triangle"/>
          </a:ln>
          <a:effectLst/>
        </p:spPr>
      </p:cxnSp>
      <p:sp>
        <p:nvSpPr>
          <p:cNvPr id="252" name="Скругленный прямоугольник 194"/>
          <p:cNvSpPr/>
          <p:nvPr>
            <p:custDataLst>
              <p:tags r:id="rId104"/>
            </p:custDataLst>
          </p:nvPr>
        </p:nvSpPr>
        <p:spPr>
          <a:xfrm>
            <a:off x="7549292" y="4559941"/>
            <a:ext cx="1165243" cy="130578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53" name="Прямоугольник 195"/>
          <p:cNvSpPr/>
          <p:nvPr>
            <p:custDataLst>
              <p:tags r:id="rId105"/>
            </p:custDataLst>
          </p:nvPr>
        </p:nvSpPr>
        <p:spPr>
          <a:xfrm>
            <a:off x="7596543" y="4557794"/>
            <a:ext cx="1089991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ни информирования</a:t>
            </a:r>
          </a:p>
        </p:txBody>
      </p:sp>
      <p:sp>
        <p:nvSpPr>
          <p:cNvPr id="255" name="TextBox 254"/>
          <p:cNvSpPr txBox="1"/>
          <p:nvPr/>
        </p:nvSpPr>
        <p:spPr>
          <a:xfrm>
            <a:off x="2452956" y="790607"/>
            <a:ext cx="25359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>
                <a:solidFill>
                  <a:srgbClr val="D74167"/>
                </a:solidFill>
              </a:rPr>
              <a:t>0</a:t>
            </a:r>
          </a:p>
        </p:txBody>
      </p:sp>
      <p:sp>
        <p:nvSpPr>
          <p:cNvPr id="256" name="TextBox 255"/>
          <p:cNvSpPr txBox="1"/>
          <p:nvPr/>
        </p:nvSpPr>
        <p:spPr>
          <a:xfrm>
            <a:off x="1013063" y="806252"/>
            <a:ext cx="60625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>
                <a:solidFill>
                  <a:srgbClr val="D74167"/>
                </a:solidFill>
              </a:rPr>
              <a:t>- 3 мес.</a:t>
            </a:r>
          </a:p>
        </p:txBody>
      </p:sp>
      <p:sp>
        <p:nvSpPr>
          <p:cNvPr id="257" name="TextBox 256"/>
          <p:cNvSpPr txBox="1"/>
          <p:nvPr/>
        </p:nvSpPr>
        <p:spPr>
          <a:xfrm>
            <a:off x="4695983" y="806243"/>
            <a:ext cx="53412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>
                <a:solidFill>
                  <a:srgbClr val="D74167"/>
                </a:solidFill>
              </a:rPr>
              <a:t>3 мес.</a:t>
            </a:r>
          </a:p>
        </p:txBody>
      </p:sp>
      <p:sp>
        <p:nvSpPr>
          <p:cNvPr id="258" name="TextBox 257"/>
          <p:cNvSpPr txBox="1"/>
          <p:nvPr/>
        </p:nvSpPr>
        <p:spPr>
          <a:xfrm>
            <a:off x="7235329" y="806243"/>
            <a:ext cx="53412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>
                <a:solidFill>
                  <a:srgbClr val="D74167"/>
                </a:solidFill>
              </a:rPr>
              <a:t>6 мес.</a:t>
            </a:r>
          </a:p>
        </p:txBody>
      </p:sp>
      <p:sp>
        <p:nvSpPr>
          <p:cNvPr id="259" name="TextBox 258"/>
          <p:cNvSpPr txBox="1"/>
          <p:nvPr/>
        </p:nvSpPr>
        <p:spPr>
          <a:xfrm>
            <a:off x="8388254" y="806244"/>
            <a:ext cx="60305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>
                <a:solidFill>
                  <a:srgbClr val="D74167"/>
                </a:solidFill>
              </a:rPr>
              <a:t>36 мес.</a:t>
            </a:r>
          </a:p>
        </p:txBody>
      </p:sp>
      <p:sp>
        <p:nvSpPr>
          <p:cNvPr id="120" name="Rectangle 125">
            <a:extLst>
              <a:ext uri="{FF2B5EF4-FFF2-40B4-BE49-F238E27FC236}">
                <a16:creationId xmlns:a16="http://schemas.microsoft.com/office/drawing/2014/main" id="{7675B3F2-91CF-4355-BAA9-256CBC584199}"/>
              </a:ext>
            </a:extLst>
          </p:cNvPr>
          <p:cNvSpPr/>
          <p:nvPr/>
        </p:nvSpPr>
        <p:spPr>
          <a:xfrm>
            <a:off x="318828" y="870387"/>
            <a:ext cx="8623466" cy="3921879"/>
          </a:xfrm>
          <a:prstGeom prst="rect">
            <a:avLst/>
          </a:prstGeom>
          <a:solidFill>
            <a:schemeClr val="bg1">
              <a:lumMod val="85000"/>
              <a:alpha val="49000"/>
            </a:schemeClr>
          </a:solidFill>
          <a:ln w="952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27000" tIns="0" rIns="27000" bIns="0" rtlCol="0" anchor="ctr"/>
          <a:lstStyle/>
          <a:p>
            <a:pPr algn="ctr"/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121" name="Rectangular Callout 130">
            <a:extLst>
              <a:ext uri="{FF2B5EF4-FFF2-40B4-BE49-F238E27FC236}">
                <a16:creationId xmlns:a16="http://schemas.microsoft.com/office/drawing/2014/main" id="{AE7D13F8-0638-4E3B-BDD8-35F9C2442E62}"/>
              </a:ext>
            </a:extLst>
          </p:cNvPr>
          <p:cNvSpPr/>
          <p:nvPr/>
        </p:nvSpPr>
        <p:spPr>
          <a:xfrm>
            <a:off x="493231" y="1757058"/>
            <a:ext cx="2142839" cy="1434617"/>
          </a:xfrm>
          <a:prstGeom prst="wedgeRectCallout">
            <a:avLst>
              <a:gd name="adj1" fmla="val 20396"/>
              <a:gd name="adj2" fmla="val 76550"/>
            </a:avLst>
          </a:prstGeom>
          <a:solidFill>
            <a:schemeClr val="bg1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7000" rIns="27000" rtlCol="0" anchor="t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Обучение рабочей группы из 5-8 чел. (2 дня на территории предприятия), которые будут вовлечены в Проект на 80-100% в течение 3 мес.</a:t>
            </a:r>
          </a:p>
        </p:txBody>
      </p:sp>
      <p:sp>
        <p:nvSpPr>
          <p:cNvPr id="122" name="Овал 48">
            <a:extLst>
              <a:ext uri="{FF2B5EF4-FFF2-40B4-BE49-F238E27FC236}">
                <a16:creationId xmlns:a16="http://schemas.microsoft.com/office/drawing/2014/main" id="{E4ECB8BD-8388-4BB0-8221-38AAEBE06E37}"/>
              </a:ext>
            </a:extLst>
          </p:cNvPr>
          <p:cNvSpPr/>
          <p:nvPr/>
        </p:nvSpPr>
        <p:spPr>
          <a:xfrm>
            <a:off x="342025" y="1463716"/>
            <a:ext cx="493621" cy="493621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27000" tIns="0" rIns="27000" bIns="0" rtlCol="0" anchor="ctr"/>
          <a:lstStyle/>
          <a:p>
            <a:pPr algn="ctr" defTabSz="342900"/>
            <a:r>
              <a:rPr lang="ru-RU" sz="2400" b="1" dirty="0">
                <a:solidFill>
                  <a:prstClr val="white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99079920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2000" b="1" dirty="0"/>
              <a:t>Система обучения повышению производительности труда</a:t>
            </a:r>
          </a:p>
        </p:txBody>
      </p:sp>
    </p:spTree>
    <p:extLst>
      <p:ext uri="{BB962C8B-B14F-4D97-AF65-F5344CB8AC3E}">
        <p14:creationId xmlns:p14="http://schemas.microsoft.com/office/powerpoint/2010/main" val="59245939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03515" y="12924"/>
            <a:ext cx="8678387" cy="8534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2000" b="1" dirty="0"/>
              <a:t>Хотеть → Знать → Уметь → Делать 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1" y="1249106"/>
            <a:ext cx="2411760" cy="309880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58303" tIns="29152" rIns="58303" bIns="2915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5160443" y="1249106"/>
            <a:ext cx="3983559" cy="3098800"/>
          </a:xfrm>
          <a:prstGeom prst="rect">
            <a:avLst/>
          </a:prstGeom>
          <a:solidFill>
            <a:srgbClr val="92D050"/>
          </a:solidFill>
          <a:ln w="9525" cap="flat" cmpd="sng" algn="ctr">
            <a:noFill/>
            <a:prstDash val="solid"/>
          </a:ln>
          <a:effectLst/>
        </p:spPr>
        <p:txBody>
          <a:bodyPr lIns="58303" tIns="29152" rIns="58303" bIns="2915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7" name="Равнобедренный треугольник 26"/>
          <p:cNvSpPr/>
          <p:nvPr/>
        </p:nvSpPr>
        <p:spPr>
          <a:xfrm rot="5400000">
            <a:off x="3799167" y="2461287"/>
            <a:ext cx="3486059" cy="763506"/>
          </a:xfrm>
          <a:prstGeom prst="triangle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</a:ln>
          <a:effectLst/>
        </p:spPr>
        <p:txBody>
          <a:bodyPr lIns="58303" tIns="29152" rIns="58303" bIns="2915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2579696" y="1249106"/>
            <a:ext cx="2403781" cy="309880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58303" tIns="29152" rIns="58303" bIns="2915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9" name="Равнобедренный треугольник 28"/>
          <p:cNvSpPr/>
          <p:nvPr/>
        </p:nvSpPr>
        <p:spPr>
          <a:xfrm rot="5400000">
            <a:off x="1218419" y="2461287"/>
            <a:ext cx="3486059" cy="763506"/>
          </a:xfrm>
          <a:prstGeom prst="triangle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</a:ln>
          <a:effectLst/>
        </p:spPr>
        <p:txBody>
          <a:bodyPr lIns="58303" tIns="29152" rIns="58303" bIns="2915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0" name="Равнобедренный треугольник 29"/>
          <p:cNvSpPr/>
          <p:nvPr/>
        </p:nvSpPr>
        <p:spPr>
          <a:xfrm rot="5400000">
            <a:off x="1252581" y="2425220"/>
            <a:ext cx="3081866" cy="763506"/>
          </a:xfrm>
          <a:prstGeom prst="triangle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58303" tIns="29152" rIns="58303" bIns="2915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1" name="Объект 2"/>
          <p:cNvSpPr txBox="1">
            <a:spLocks/>
          </p:cNvSpPr>
          <p:nvPr/>
        </p:nvSpPr>
        <p:spPr>
          <a:xfrm>
            <a:off x="276571" y="1353752"/>
            <a:ext cx="2439120" cy="2518146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Font typeface="Arial" pitchFamily="34" charset="0"/>
              <a:buNone/>
            </a:pPr>
            <a:r>
              <a:rPr lang="ru-RU" sz="1600" dirty="0">
                <a:latin typeface="+mj-lt"/>
                <a:cs typeface="Arial" panose="020B0604020202020204" pitchFamily="34" charset="0"/>
              </a:rPr>
              <a:t>Тренинги </a:t>
            </a:r>
          </a:p>
          <a:p>
            <a:pPr marL="0" indent="0" fontAlgn="auto">
              <a:spcAft>
                <a:spcPts val="0"/>
              </a:spcAft>
              <a:buFont typeface="Arial" pitchFamily="34" charset="0"/>
              <a:buNone/>
            </a:pPr>
            <a:r>
              <a:rPr lang="ru-RU" sz="1600" dirty="0">
                <a:latin typeface="+mj-lt"/>
                <a:cs typeface="Arial" panose="020B0604020202020204" pitchFamily="34" charset="0"/>
              </a:rPr>
              <a:t>Обучающие сессии</a:t>
            </a:r>
          </a:p>
          <a:p>
            <a:pPr marL="0" indent="0" fontAlgn="auto">
              <a:spcAft>
                <a:spcPts val="0"/>
              </a:spcAft>
              <a:buFont typeface="Arial" pitchFamily="34" charset="0"/>
              <a:buNone/>
            </a:pPr>
            <a:r>
              <a:rPr lang="ru-RU" sz="1600" dirty="0">
                <a:latin typeface="+mj-lt"/>
                <a:cs typeface="Arial" panose="020B0604020202020204" pitchFamily="34" charset="0"/>
              </a:rPr>
              <a:t>Обучение на рабочем месте (площадочное обучение)</a:t>
            </a:r>
          </a:p>
          <a:p>
            <a:pPr marL="0" indent="0" fontAlgn="auto">
              <a:spcAft>
                <a:spcPts val="0"/>
              </a:spcAft>
              <a:buFont typeface="Arial" pitchFamily="34" charset="0"/>
              <a:buNone/>
            </a:pPr>
            <a:r>
              <a:rPr lang="ru-RU" sz="1600" dirty="0">
                <a:latin typeface="+mj-lt"/>
                <a:cs typeface="Arial" panose="020B0604020202020204" pitchFamily="34" charset="0"/>
              </a:rPr>
              <a:t>Стажировка на модельных предприятиях </a:t>
            </a:r>
          </a:p>
          <a:p>
            <a:pPr marL="0" indent="0" fontAlgn="auto">
              <a:spcAft>
                <a:spcPts val="0"/>
              </a:spcAft>
              <a:buFont typeface="Arial" pitchFamily="34" charset="0"/>
              <a:buNone/>
            </a:pPr>
            <a:r>
              <a:rPr lang="ru-RU" sz="1600" dirty="0">
                <a:latin typeface="+mj-lt"/>
                <a:cs typeface="Arial" panose="020B0604020202020204" pitchFamily="34" charset="0"/>
              </a:rPr>
              <a:t>Реализация реальных проектов </a:t>
            </a:r>
          </a:p>
          <a:p>
            <a:pPr marL="0" indent="0" fontAlgn="auto">
              <a:spcAft>
                <a:spcPts val="0"/>
              </a:spcAft>
              <a:buFont typeface="Arial" pitchFamily="34" charset="0"/>
              <a:buNone/>
            </a:pPr>
            <a:endParaRPr lang="ru-RU" sz="160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5960726" y="1464454"/>
            <a:ext cx="3183274" cy="2636458"/>
          </a:xfrm>
          <a:prstGeom prst="rect">
            <a:avLst/>
          </a:prstGeom>
          <a:noFill/>
        </p:spPr>
        <p:txBody>
          <a:bodyPr wrap="square" lIns="58261" tIns="29130" rIns="58261" bIns="29130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РЕЗУЛЬТАТЫ НА РАБОЧЕМ МЕСТЕ: </a:t>
            </a:r>
          </a:p>
          <a:p>
            <a:pPr marL="280384" defTabSz="914400" eaLnBrk="1" fontAlgn="auto" hangingPunct="1">
              <a:spcBef>
                <a:spcPts val="1148"/>
              </a:spcBef>
              <a:spcAft>
                <a:spcPts val="0"/>
              </a:spcAft>
            </a:pPr>
            <a:r>
              <a:rPr lang="ru-RU" sz="160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Улучшение показателей потоков</a:t>
            </a:r>
          </a:p>
          <a:p>
            <a:pPr marL="280384" defTabSz="914400" eaLnBrk="1" fontAlgn="auto" hangingPunct="1">
              <a:spcBef>
                <a:spcPts val="1148"/>
              </a:spcBef>
              <a:spcAft>
                <a:spcPts val="0"/>
              </a:spcAft>
            </a:pPr>
            <a:r>
              <a:rPr lang="ru-RU" sz="160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Формирование культуры непрерывных улучшений</a:t>
            </a:r>
          </a:p>
          <a:p>
            <a:pPr marL="280384" defTabSz="914400" eaLnBrk="1" fontAlgn="auto" hangingPunct="1">
              <a:spcBef>
                <a:spcPts val="1148"/>
              </a:spcBef>
              <a:spcAft>
                <a:spcPts val="0"/>
              </a:spcAft>
            </a:pPr>
            <a:r>
              <a:rPr lang="ru-RU" sz="160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Повышение показателей производительности труда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3343202" y="1561734"/>
            <a:ext cx="2430649" cy="2619530"/>
          </a:xfrm>
          <a:prstGeom prst="rect">
            <a:avLst/>
          </a:prstGeom>
        </p:spPr>
        <p:txBody>
          <a:bodyPr>
            <a:noAutofit/>
          </a:bodyPr>
          <a:lstStyle>
            <a:lvl1pPr indent="0">
              <a:spcBef>
                <a:spcPct val="20000"/>
              </a:spcBef>
              <a:buFont typeface="Arial" pitchFamily="34" charset="0"/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rPr>
              <a:t>Моментальное применение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rPr>
              <a:t>в реальном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rPr>
              <a:t>рабочем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rPr>
              <a:t>проекте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cs typeface="Arial" panose="020B06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rPr>
              <a:t>Экспертная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rPr>
              <a:t>поддержка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rPr>
              <a:t>ФЦК</a:t>
            </a:r>
          </a:p>
        </p:txBody>
      </p:sp>
      <p:sp>
        <p:nvSpPr>
          <p:cNvPr id="34" name="Равнобедренный треугольник 33"/>
          <p:cNvSpPr/>
          <p:nvPr/>
        </p:nvSpPr>
        <p:spPr>
          <a:xfrm rot="5400000">
            <a:off x="3811596" y="2420987"/>
            <a:ext cx="3107267" cy="763506"/>
          </a:xfrm>
          <a:prstGeom prst="triangle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58303" tIns="29152" rIns="58303" bIns="2915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5746981" y="1475521"/>
            <a:ext cx="3299802" cy="492989"/>
          </a:xfrm>
          <a:prstGeom prst="roundRect">
            <a:avLst>
              <a:gd name="adj" fmla="val 50000"/>
            </a:avLst>
          </a:prstGeom>
          <a:noFill/>
          <a:ln w="25400" cap="flat" cmpd="sng" algn="ctr">
            <a:solidFill>
              <a:srgbClr val="0070C0"/>
            </a:solidFill>
            <a:prstDash val="solid"/>
          </a:ln>
          <a:effectLst/>
        </p:spPr>
        <p:txBody>
          <a:bodyPr lIns="58303" tIns="29152" rIns="58303" bIns="2915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cxnSp>
        <p:nvCxnSpPr>
          <p:cNvPr id="36" name="Прямая соединительная линия 35"/>
          <p:cNvCxnSpPr>
            <a:endCxn id="40" idx="0"/>
          </p:cNvCxnSpPr>
          <p:nvPr/>
        </p:nvCxnSpPr>
        <p:spPr>
          <a:xfrm>
            <a:off x="6166463" y="1991217"/>
            <a:ext cx="0" cy="1417453"/>
          </a:xfrm>
          <a:prstGeom prst="line">
            <a:avLst/>
          </a:prstGeom>
          <a:noFill/>
          <a:ln w="25400" cap="flat" cmpd="sng" algn="ctr">
            <a:solidFill>
              <a:srgbClr val="0070C0"/>
            </a:solidFill>
            <a:prstDash val="solid"/>
          </a:ln>
          <a:effectLst/>
        </p:spPr>
      </p:cxnSp>
      <p:cxnSp>
        <p:nvCxnSpPr>
          <p:cNvPr id="37" name="Прямая соединительная линия 36"/>
          <p:cNvCxnSpPr>
            <a:cxnSpLocks/>
            <a:stCxn id="41" idx="4"/>
            <a:endCxn id="45" idx="0"/>
          </p:cNvCxnSpPr>
          <p:nvPr/>
        </p:nvCxnSpPr>
        <p:spPr>
          <a:xfrm>
            <a:off x="215403" y="1583596"/>
            <a:ext cx="0" cy="2273425"/>
          </a:xfrm>
          <a:prstGeom prst="line">
            <a:avLst/>
          </a:prstGeom>
          <a:noFill/>
          <a:ln w="25400" cap="flat" cmpd="sng" algn="ctr">
            <a:solidFill>
              <a:srgbClr val="0070C0"/>
            </a:solidFill>
            <a:prstDash val="solid"/>
          </a:ln>
          <a:effectLst/>
        </p:spPr>
      </p:cxnSp>
      <p:sp>
        <p:nvSpPr>
          <p:cNvPr id="38" name="Овал 37"/>
          <p:cNvSpPr/>
          <p:nvPr/>
        </p:nvSpPr>
        <p:spPr>
          <a:xfrm>
            <a:off x="6089312" y="2208661"/>
            <a:ext cx="154302" cy="119889"/>
          </a:xfrm>
          <a:prstGeom prst="ellipse">
            <a:avLst/>
          </a:prstGeom>
          <a:solidFill>
            <a:srgbClr val="0070C0"/>
          </a:solidFill>
          <a:ln w="9525" cap="flat" cmpd="sng" algn="ctr">
            <a:solidFill>
              <a:srgbClr val="0070C0"/>
            </a:solidFill>
            <a:prstDash val="solid"/>
          </a:ln>
          <a:effectLst/>
        </p:spPr>
        <p:txBody>
          <a:bodyPr lIns="58303" tIns="29152" rIns="58303" bIns="2915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9" name="Овал 38"/>
          <p:cNvSpPr/>
          <p:nvPr/>
        </p:nvSpPr>
        <p:spPr>
          <a:xfrm>
            <a:off x="6089312" y="2856733"/>
            <a:ext cx="154302" cy="119889"/>
          </a:xfrm>
          <a:prstGeom prst="ellipse">
            <a:avLst/>
          </a:prstGeom>
          <a:solidFill>
            <a:srgbClr val="0070C0"/>
          </a:solidFill>
          <a:ln w="9525" cap="flat" cmpd="sng" algn="ctr">
            <a:solidFill>
              <a:srgbClr val="0070C0"/>
            </a:solidFill>
            <a:prstDash val="solid"/>
          </a:ln>
          <a:effectLst/>
        </p:spPr>
        <p:txBody>
          <a:bodyPr lIns="58303" tIns="29152" rIns="58303" bIns="2915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0" name="Овал 39"/>
          <p:cNvSpPr/>
          <p:nvPr/>
        </p:nvSpPr>
        <p:spPr>
          <a:xfrm>
            <a:off x="6089312" y="3408670"/>
            <a:ext cx="154302" cy="119889"/>
          </a:xfrm>
          <a:prstGeom prst="ellipse">
            <a:avLst/>
          </a:prstGeom>
          <a:solidFill>
            <a:srgbClr val="0070C0"/>
          </a:solidFill>
          <a:ln w="9525" cap="flat" cmpd="sng" algn="ctr">
            <a:solidFill>
              <a:srgbClr val="0070C0"/>
            </a:solidFill>
            <a:prstDash val="solid"/>
          </a:ln>
          <a:effectLst/>
        </p:spPr>
        <p:txBody>
          <a:bodyPr lIns="58303" tIns="29152" rIns="58303" bIns="2915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1" name="Овал 40"/>
          <p:cNvSpPr/>
          <p:nvPr/>
        </p:nvSpPr>
        <p:spPr>
          <a:xfrm>
            <a:off x="138252" y="1463707"/>
            <a:ext cx="154302" cy="119889"/>
          </a:xfrm>
          <a:prstGeom prst="ellipse">
            <a:avLst/>
          </a:prstGeom>
          <a:solidFill>
            <a:srgbClr val="0070C0"/>
          </a:solidFill>
          <a:ln w="9525" cap="flat" cmpd="sng" algn="ctr">
            <a:solidFill>
              <a:srgbClr val="0070C0"/>
            </a:solidFill>
            <a:prstDash val="solid"/>
          </a:ln>
          <a:effectLst/>
        </p:spPr>
        <p:txBody>
          <a:bodyPr lIns="58303" tIns="29152" rIns="58303" bIns="2915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2" name="Овал 41"/>
          <p:cNvSpPr/>
          <p:nvPr/>
        </p:nvSpPr>
        <p:spPr>
          <a:xfrm>
            <a:off x="138252" y="1764360"/>
            <a:ext cx="154302" cy="119889"/>
          </a:xfrm>
          <a:prstGeom prst="ellipse">
            <a:avLst/>
          </a:prstGeom>
          <a:solidFill>
            <a:srgbClr val="0070C0"/>
          </a:solidFill>
          <a:ln w="9525" cap="flat" cmpd="sng" algn="ctr">
            <a:solidFill>
              <a:srgbClr val="0070C0"/>
            </a:solidFill>
            <a:prstDash val="solid"/>
          </a:ln>
          <a:effectLst/>
        </p:spPr>
        <p:txBody>
          <a:bodyPr lIns="58303" tIns="29152" rIns="58303" bIns="2915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3" name="Овал 42"/>
          <p:cNvSpPr/>
          <p:nvPr/>
        </p:nvSpPr>
        <p:spPr>
          <a:xfrm>
            <a:off x="138252" y="2066558"/>
            <a:ext cx="154302" cy="119889"/>
          </a:xfrm>
          <a:prstGeom prst="ellipse">
            <a:avLst/>
          </a:prstGeom>
          <a:solidFill>
            <a:srgbClr val="0070C0"/>
          </a:solidFill>
          <a:ln w="9525" cap="flat" cmpd="sng" algn="ctr">
            <a:solidFill>
              <a:srgbClr val="0070C0"/>
            </a:solidFill>
            <a:prstDash val="solid"/>
          </a:ln>
          <a:effectLst/>
        </p:spPr>
        <p:txBody>
          <a:bodyPr lIns="58303" tIns="29152" rIns="58303" bIns="2915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4" name="Овал 43"/>
          <p:cNvSpPr/>
          <p:nvPr/>
        </p:nvSpPr>
        <p:spPr>
          <a:xfrm>
            <a:off x="138252" y="3064933"/>
            <a:ext cx="154302" cy="119889"/>
          </a:xfrm>
          <a:prstGeom prst="ellipse">
            <a:avLst/>
          </a:prstGeom>
          <a:solidFill>
            <a:srgbClr val="0070C0"/>
          </a:solidFill>
          <a:ln w="9525" cap="flat" cmpd="sng" algn="ctr">
            <a:solidFill>
              <a:srgbClr val="0070C0"/>
            </a:solidFill>
            <a:prstDash val="solid"/>
          </a:ln>
          <a:effectLst/>
        </p:spPr>
        <p:txBody>
          <a:bodyPr lIns="58303" tIns="29152" rIns="58303" bIns="2915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5" name="Овал 44"/>
          <p:cNvSpPr/>
          <p:nvPr/>
        </p:nvSpPr>
        <p:spPr>
          <a:xfrm>
            <a:off x="138252" y="3857021"/>
            <a:ext cx="154302" cy="119889"/>
          </a:xfrm>
          <a:prstGeom prst="ellipse">
            <a:avLst/>
          </a:prstGeom>
          <a:solidFill>
            <a:srgbClr val="0070C0"/>
          </a:solidFill>
          <a:ln w="9525" cap="flat" cmpd="sng" algn="ctr">
            <a:solidFill>
              <a:srgbClr val="0070C0"/>
            </a:solidFill>
            <a:prstDash val="solid"/>
          </a:ln>
          <a:effectLst/>
        </p:spPr>
        <p:txBody>
          <a:bodyPr lIns="58303" tIns="29152" rIns="58303" bIns="2915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157742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03515" y="12924"/>
            <a:ext cx="8678387" cy="8534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2000" b="1" dirty="0"/>
              <a:t>Ключевая роль сотрудников ФЦК – обучение </a:t>
            </a:r>
            <a:br>
              <a:rPr lang="ru-RU" sz="2000" b="1" dirty="0"/>
            </a:br>
            <a:r>
              <a:rPr lang="ru-RU" sz="2000" b="1" dirty="0"/>
              <a:t>и развитие сотрудников предприятий 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044291" y="1012577"/>
            <a:ext cx="3456800" cy="335872"/>
          </a:xfrm>
          <a:prstGeom prst="rect">
            <a:avLst/>
          </a:prstGeom>
          <a:noFill/>
        </p:spPr>
        <p:txBody>
          <a:bodyPr wrap="none" lIns="58303" tIns="29152" rIns="58303" bIns="29152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b="1" dirty="0">
                <a:latin typeface="+mj-lt"/>
              </a:rPr>
              <a:t>ТЕХНОЛОГИИ ОБУЧЕНИЯ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531832" y="2357106"/>
            <a:ext cx="2318668" cy="305095"/>
          </a:xfrm>
          <a:prstGeom prst="rect">
            <a:avLst/>
          </a:prstGeom>
          <a:noFill/>
        </p:spPr>
        <p:txBody>
          <a:bodyPr wrap="none" lIns="58303" tIns="29152" rIns="58303" bIns="29152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b="1" dirty="0">
                <a:solidFill>
                  <a:prstClr val="black"/>
                </a:solidFill>
                <a:latin typeface="+mj-lt"/>
              </a:rPr>
              <a:t>НАСТАВНИЧЕСТВО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3593774" y="2213090"/>
            <a:ext cx="1909903" cy="551316"/>
          </a:xfrm>
          <a:prstGeom prst="rect">
            <a:avLst/>
          </a:prstGeom>
          <a:noFill/>
        </p:spPr>
        <p:txBody>
          <a:bodyPr wrap="none" lIns="58303" tIns="29152" rIns="58303" bIns="29152" rtlCol="0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b="1" dirty="0">
                <a:solidFill>
                  <a:prstClr val="black"/>
                </a:solidFill>
                <a:latin typeface="+mj-lt"/>
              </a:rPr>
              <a:t>ОБУЧЕНИЕ </a:t>
            </a:r>
            <a:endParaRPr lang="en-US" sz="1600" b="1" dirty="0">
              <a:solidFill>
                <a:prstClr val="black"/>
              </a:solidFill>
              <a:latin typeface="+mj-lt"/>
            </a:endParaRPr>
          </a:p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b="1" dirty="0">
                <a:solidFill>
                  <a:prstClr val="black"/>
                </a:solidFill>
                <a:latin typeface="+mj-lt"/>
              </a:rPr>
              <a:t>НА ПЛОЩАДКЕ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557343" y="2237838"/>
            <a:ext cx="1778456" cy="551316"/>
          </a:xfrm>
          <a:prstGeom prst="rect">
            <a:avLst/>
          </a:prstGeom>
          <a:noFill/>
        </p:spPr>
        <p:txBody>
          <a:bodyPr wrap="none" lIns="58303" tIns="29152" rIns="58303" bIns="29152" rtlCol="0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b="1" dirty="0">
                <a:solidFill>
                  <a:prstClr val="black"/>
                </a:solidFill>
                <a:latin typeface="+mj-lt"/>
              </a:rPr>
              <a:t>ПРОВЕДЕНИЕ </a:t>
            </a:r>
            <a:endParaRPr lang="en-US" sz="1600" b="1" dirty="0">
              <a:solidFill>
                <a:prstClr val="black"/>
              </a:solidFill>
              <a:latin typeface="+mj-lt"/>
            </a:endParaRPr>
          </a:p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b="1" dirty="0">
                <a:solidFill>
                  <a:prstClr val="black"/>
                </a:solidFill>
                <a:latin typeface="+mj-lt"/>
              </a:rPr>
              <a:t>ТРЕНИНГОВ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495894" y="2763214"/>
            <a:ext cx="2561358" cy="2028643"/>
          </a:xfrm>
          <a:prstGeom prst="rect">
            <a:avLst/>
          </a:prstGeom>
          <a:noFill/>
        </p:spPr>
        <p:txBody>
          <a:bodyPr wrap="square" lIns="58303" tIns="29152" rIns="58303" bIns="29152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b="1" dirty="0">
                <a:solidFill>
                  <a:prstClr val="black"/>
                </a:solidFill>
                <a:latin typeface="+mj-lt"/>
              </a:rPr>
              <a:t>Передача личного опыта</a:t>
            </a:r>
            <a:r>
              <a:rPr lang="en-US" sz="1600" b="1" dirty="0">
                <a:solidFill>
                  <a:prstClr val="black"/>
                </a:solidFill>
                <a:latin typeface="+mj-lt"/>
              </a:rPr>
              <a:t>:</a:t>
            </a:r>
          </a:p>
          <a:p>
            <a:pPr marL="218639" indent="-218639" defTabSz="9144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prstClr val="black"/>
                </a:solidFill>
                <a:latin typeface="+mj-lt"/>
              </a:rPr>
              <a:t>Совместная реализация проектов</a:t>
            </a:r>
          </a:p>
          <a:p>
            <a:pPr marL="218639" indent="-218639" defTabSz="9144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prstClr val="black"/>
                </a:solidFill>
                <a:latin typeface="+mj-lt"/>
              </a:rPr>
              <a:t>Инструктирование</a:t>
            </a:r>
          </a:p>
          <a:p>
            <a:pPr marL="218639" indent="-218639" defTabSz="9144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prstClr val="black"/>
                </a:solidFill>
                <a:latin typeface="+mj-lt"/>
              </a:rPr>
              <a:t>Демонстрация</a:t>
            </a:r>
          </a:p>
          <a:p>
            <a:pPr marL="218639" indent="-218639" defTabSz="9144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prstClr val="black"/>
                </a:solidFill>
                <a:latin typeface="+mj-lt"/>
              </a:rPr>
              <a:t>Обратная связь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3256356" y="2771681"/>
            <a:ext cx="2745610" cy="1782422"/>
          </a:xfrm>
          <a:prstGeom prst="rect">
            <a:avLst/>
          </a:prstGeom>
          <a:noFill/>
        </p:spPr>
        <p:txBody>
          <a:bodyPr wrap="square" lIns="58303" tIns="29152" rIns="58303" bIns="29152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b="1" dirty="0">
                <a:solidFill>
                  <a:prstClr val="black"/>
                </a:solidFill>
                <a:latin typeface="+mj-lt"/>
              </a:rPr>
              <a:t>Обучение на рабочем месте</a:t>
            </a:r>
            <a:r>
              <a:rPr lang="en-US" sz="1600" b="1" dirty="0">
                <a:solidFill>
                  <a:prstClr val="black"/>
                </a:solidFill>
                <a:latin typeface="+mj-lt"/>
              </a:rPr>
              <a:t>:</a:t>
            </a:r>
          </a:p>
          <a:p>
            <a:pPr marL="218639" indent="-218639" defTabSz="9144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prstClr val="black"/>
                </a:solidFill>
                <a:latin typeface="+mj-lt"/>
              </a:rPr>
              <a:t>Картирование</a:t>
            </a:r>
          </a:p>
          <a:p>
            <a:pPr marL="218639" indent="-218639" defTabSz="9144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prstClr val="black"/>
                </a:solidFill>
                <a:latin typeface="+mj-lt"/>
              </a:rPr>
              <a:t>Стандартизированная работа</a:t>
            </a:r>
          </a:p>
          <a:p>
            <a:pPr marL="218639" indent="-218639" defTabSz="9144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prstClr val="black"/>
                </a:solidFill>
                <a:latin typeface="+mj-lt"/>
              </a:rPr>
              <a:t>5С</a:t>
            </a:r>
          </a:p>
          <a:p>
            <a:pPr marL="218639" indent="-218639" defTabSz="9144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prstClr val="black"/>
                </a:solidFill>
                <a:latin typeface="+mj-lt"/>
              </a:rPr>
              <a:t>Другие инструменты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269575" y="2771682"/>
            <a:ext cx="2520039" cy="1885014"/>
          </a:xfrm>
          <a:prstGeom prst="rect">
            <a:avLst/>
          </a:prstGeom>
          <a:noFill/>
        </p:spPr>
        <p:txBody>
          <a:bodyPr wrap="square" lIns="58303" tIns="29152" rIns="58303" bIns="29152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b="1" dirty="0">
                <a:solidFill>
                  <a:prstClr val="black"/>
                </a:solidFill>
                <a:latin typeface="+mj-lt"/>
              </a:rPr>
              <a:t>Тренинги</a:t>
            </a:r>
            <a:r>
              <a:rPr lang="en-US" sz="1600" b="1" dirty="0">
                <a:solidFill>
                  <a:prstClr val="black"/>
                </a:solidFill>
                <a:latin typeface="+mj-lt"/>
              </a:rPr>
              <a:t>:</a:t>
            </a:r>
          </a:p>
          <a:p>
            <a:pPr marL="218639" indent="-218639" defTabSz="9144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prstClr val="black"/>
                </a:solidFill>
                <a:latin typeface="+mj-lt"/>
              </a:rPr>
              <a:t>Базовый курс</a:t>
            </a:r>
          </a:p>
          <a:p>
            <a:pPr marL="218639" indent="-218639" defTabSz="9144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prstClr val="black"/>
                </a:solidFill>
                <a:latin typeface="+mj-lt"/>
              </a:rPr>
              <a:t>Проекты</a:t>
            </a:r>
          </a:p>
          <a:p>
            <a:pPr marL="218639" indent="-218639" defTabSz="9144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prstClr val="black"/>
                </a:solidFill>
                <a:latin typeface="+mj-lt"/>
              </a:rPr>
              <a:t>5С</a:t>
            </a:r>
          </a:p>
          <a:p>
            <a:pPr marL="218639" indent="-218639" defTabSz="914400" eaLnBrk="1" fontAlgn="auto" hangingPunct="1">
              <a:spcBef>
                <a:spcPts val="765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prstClr val="black"/>
                </a:solidFill>
                <a:latin typeface="+mj-lt"/>
              </a:rPr>
              <a:t>Тренинги по разворачиванию программ</a:t>
            </a: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2233301" y="947859"/>
            <a:ext cx="4601808" cy="435125"/>
          </a:xfrm>
          <a:prstGeom prst="roundRect">
            <a:avLst>
              <a:gd name="adj" fmla="val 50000"/>
            </a:avLst>
          </a:prstGeom>
          <a:noFill/>
          <a:ln w="31750" cap="flat" cmpd="sng" algn="ctr">
            <a:solidFill>
              <a:srgbClr val="1E86C8"/>
            </a:solidFill>
            <a:prstDash val="solid"/>
          </a:ln>
          <a:effectLst/>
        </p:spPr>
        <p:txBody>
          <a:bodyPr lIns="58303" tIns="29152" rIns="58303" bIns="2915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405581" y="1711198"/>
            <a:ext cx="2651671" cy="3089126"/>
          </a:xfrm>
          <a:prstGeom prst="roundRect">
            <a:avLst>
              <a:gd name="adj" fmla="val 6568"/>
            </a:avLst>
          </a:prstGeom>
          <a:noFill/>
          <a:ln w="31750" cap="flat" cmpd="sng" algn="ctr">
            <a:solidFill>
              <a:srgbClr val="1E86C8"/>
            </a:solidFill>
            <a:prstDash val="solid"/>
          </a:ln>
          <a:effectLst/>
        </p:spPr>
        <p:txBody>
          <a:bodyPr lIns="58303" tIns="29152" rIns="58303" bIns="2915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3209044" y="1711197"/>
            <a:ext cx="2792922" cy="3080659"/>
          </a:xfrm>
          <a:prstGeom prst="roundRect">
            <a:avLst>
              <a:gd name="adj" fmla="val 6568"/>
            </a:avLst>
          </a:prstGeom>
          <a:noFill/>
          <a:ln w="31750" cap="flat" cmpd="sng" algn="ctr">
            <a:solidFill>
              <a:srgbClr val="1E86C8"/>
            </a:solidFill>
            <a:prstDash val="solid"/>
          </a:ln>
          <a:effectLst/>
        </p:spPr>
        <p:txBody>
          <a:bodyPr lIns="58303" tIns="29152" rIns="58303" bIns="2915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6115029" y="1711198"/>
            <a:ext cx="2554839" cy="3080658"/>
          </a:xfrm>
          <a:prstGeom prst="roundRect">
            <a:avLst>
              <a:gd name="adj" fmla="val 6568"/>
            </a:avLst>
          </a:prstGeom>
          <a:noFill/>
          <a:ln w="31750" cap="flat" cmpd="sng" algn="ctr">
            <a:solidFill>
              <a:srgbClr val="1E86C8"/>
            </a:solidFill>
            <a:prstDash val="solid"/>
          </a:ln>
          <a:effectLst/>
        </p:spPr>
        <p:txBody>
          <a:bodyPr lIns="58303" tIns="29152" rIns="58303" bIns="2915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cxnSp>
        <p:nvCxnSpPr>
          <p:cNvPr id="36" name="Прямая соединительная линия 35"/>
          <p:cNvCxnSpPr>
            <a:endCxn id="33" idx="0"/>
          </p:cNvCxnSpPr>
          <p:nvPr/>
        </p:nvCxnSpPr>
        <p:spPr>
          <a:xfrm flipH="1">
            <a:off x="1731417" y="1376461"/>
            <a:ext cx="1235526" cy="334737"/>
          </a:xfrm>
          <a:prstGeom prst="line">
            <a:avLst/>
          </a:prstGeom>
          <a:noFill/>
          <a:ln w="25400" cap="flat" cmpd="sng" algn="ctr">
            <a:solidFill>
              <a:srgbClr val="1E86C8"/>
            </a:solidFill>
            <a:prstDash val="solid"/>
          </a:ln>
          <a:effectLst/>
        </p:spPr>
      </p:cxnSp>
      <p:cxnSp>
        <p:nvCxnSpPr>
          <p:cNvPr id="37" name="Прямая соединительная линия 36"/>
          <p:cNvCxnSpPr/>
          <p:nvPr/>
        </p:nvCxnSpPr>
        <p:spPr>
          <a:xfrm flipH="1">
            <a:off x="4597719" y="1376461"/>
            <a:ext cx="1" cy="334736"/>
          </a:xfrm>
          <a:prstGeom prst="line">
            <a:avLst/>
          </a:prstGeom>
          <a:noFill/>
          <a:ln w="25400" cap="flat" cmpd="sng" algn="ctr">
            <a:solidFill>
              <a:srgbClr val="1E86C8"/>
            </a:solidFill>
            <a:prstDash val="solid"/>
          </a:ln>
          <a:effectLst/>
        </p:spPr>
      </p:cxnSp>
      <p:cxnSp>
        <p:nvCxnSpPr>
          <p:cNvPr id="38" name="Прямая соединительная линия 37"/>
          <p:cNvCxnSpPr>
            <a:endCxn id="35" idx="0"/>
          </p:cNvCxnSpPr>
          <p:nvPr/>
        </p:nvCxnSpPr>
        <p:spPr>
          <a:xfrm>
            <a:off x="6115030" y="1376461"/>
            <a:ext cx="1277419" cy="334737"/>
          </a:xfrm>
          <a:prstGeom prst="line">
            <a:avLst/>
          </a:prstGeom>
          <a:noFill/>
          <a:ln w="25400" cap="flat" cmpd="sng" algn="ctr">
            <a:solidFill>
              <a:srgbClr val="1E86C8"/>
            </a:solidFill>
            <a:prstDash val="solid"/>
          </a:ln>
          <a:effectLst/>
        </p:spPr>
      </p:cxnSp>
      <p:pic>
        <p:nvPicPr>
          <p:cNvPr id="39" name="Picture 2" descr="D:\ак\памятки разные\иконки\33-07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3024" y="1763371"/>
            <a:ext cx="1023032" cy="53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4" descr="D:\ак\памятки разные\иконки\33-03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616" y="1825193"/>
            <a:ext cx="1152128" cy="5406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5" descr="D:\ак\памятки разные\иконки\33-04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1796204"/>
            <a:ext cx="1093002" cy="502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3" descr="D:\ак\памятки разные\иконки\33-02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5776" y="986081"/>
            <a:ext cx="797860" cy="371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Овал 42"/>
          <p:cNvSpPr/>
          <p:nvPr/>
        </p:nvSpPr>
        <p:spPr>
          <a:xfrm>
            <a:off x="1608011" y="1655217"/>
            <a:ext cx="154302" cy="120154"/>
          </a:xfrm>
          <a:prstGeom prst="ellipse">
            <a:avLst/>
          </a:prstGeom>
          <a:solidFill>
            <a:srgbClr val="1E86C8"/>
          </a:solidFill>
          <a:ln w="9525" cap="flat" cmpd="sng" algn="ctr">
            <a:noFill/>
            <a:prstDash val="solid"/>
          </a:ln>
          <a:effectLst/>
        </p:spPr>
        <p:txBody>
          <a:bodyPr lIns="58303" tIns="29152" rIns="58303" bIns="2915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4" name="Овал 43"/>
          <p:cNvSpPr/>
          <p:nvPr/>
        </p:nvSpPr>
        <p:spPr>
          <a:xfrm>
            <a:off x="4516624" y="1655217"/>
            <a:ext cx="154302" cy="120154"/>
          </a:xfrm>
          <a:prstGeom prst="ellipse">
            <a:avLst/>
          </a:prstGeom>
          <a:solidFill>
            <a:srgbClr val="1E86C8"/>
          </a:solidFill>
          <a:ln w="9525" cap="flat" cmpd="sng" algn="ctr">
            <a:solidFill>
              <a:srgbClr val="1E86C8"/>
            </a:solidFill>
            <a:prstDash val="solid"/>
          </a:ln>
          <a:effectLst/>
        </p:spPr>
        <p:txBody>
          <a:bodyPr lIns="58303" tIns="29152" rIns="58303" bIns="2915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5" name="Овал 44"/>
          <p:cNvSpPr/>
          <p:nvPr/>
        </p:nvSpPr>
        <p:spPr>
          <a:xfrm>
            <a:off x="7364703" y="1655217"/>
            <a:ext cx="154302" cy="120154"/>
          </a:xfrm>
          <a:prstGeom prst="ellipse">
            <a:avLst/>
          </a:prstGeom>
          <a:solidFill>
            <a:srgbClr val="1E86C8"/>
          </a:solidFill>
          <a:ln w="9525" cap="flat" cmpd="sng" algn="ctr">
            <a:noFill/>
            <a:prstDash val="solid"/>
          </a:ln>
          <a:effectLst/>
        </p:spPr>
        <p:txBody>
          <a:bodyPr lIns="58303" tIns="29152" rIns="58303" bIns="2915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972395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03515" y="12924"/>
            <a:ext cx="8678387" cy="8534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2000" b="1" dirty="0"/>
              <a:t>Внутренние тренеры – система подготовки </a:t>
            </a: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2375414" y="2396646"/>
            <a:ext cx="2119933" cy="580167"/>
          </a:xfrm>
          <a:prstGeom prst="roundRect">
            <a:avLst>
              <a:gd name="adj" fmla="val 50000"/>
            </a:avLst>
          </a:prstGeom>
          <a:solidFill>
            <a:srgbClr val="1E86C8"/>
          </a:solidFill>
          <a:ln w="25400" cap="flat" cmpd="sng" algn="ctr">
            <a:noFill/>
            <a:prstDash val="solid"/>
          </a:ln>
          <a:effectLst/>
        </p:spPr>
        <p:txBody>
          <a:bodyPr lIns="58303" tIns="29152" rIns="58303" bIns="2915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4609668" y="2396646"/>
            <a:ext cx="2107221" cy="580167"/>
          </a:xfrm>
          <a:prstGeom prst="roundRect">
            <a:avLst>
              <a:gd name="adj" fmla="val 50000"/>
            </a:avLst>
          </a:prstGeom>
          <a:solidFill>
            <a:srgbClr val="1F497D"/>
          </a:solidFill>
          <a:ln w="25400" cap="flat" cmpd="sng" algn="ctr">
            <a:noFill/>
            <a:prstDash val="solid"/>
          </a:ln>
          <a:effectLst/>
        </p:spPr>
        <p:txBody>
          <a:bodyPr lIns="58303" tIns="29152" rIns="58303" bIns="2915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7" name="Скругленный прямоугольник 46"/>
          <p:cNvSpPr/>
          <p:nvPr/>
        </p:nvSpPr>
        <p:spPr>
          <a:xfrm>
            <a:off x="6822552" y="2396646"/>
            <a:ext cx="2211674" cy="580167"/>
          </a:xfrm>
          <a:prstGeom prst="roundRect">
            <a:avLst>
              <a:gd name="adj" fmla="val 50000"/>
            </a:avLst>
          </a:prstGeom>
          <a:solidFill>
            <a:srgbClr val="1E86C8"/>
          </a:solidFill>
          <a:ln w="25400" cap="flat" cmpd="sng" algn="ctr">
            <a:noFill/>
            <a:prstDash val="solid"/>
          </a:ln>
          <a:effectLst/>
        </p:spPr>
        <p:txBody>
          <a:bodyPr lIns="58303" tIns="29152" rIns="58303" bIns="2915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8" name="Скругленный прямоугольник 47"/>
          <p:cNvSpPr/>
          <p:nvPr/>
        </p:nvSpPr>
        <p:spPr>
          <a:xfrm>
            <a:off x="148652" y="2396646"/>
            <a:ext cx="2142992" cy="580167"/>
          </a:xfrm>
          <a:prstGeom prst="roundRect">
            <a:avLst>
              <a:gd name="adj" fmla="val 50000"/>
            </a:avLst>
          </a:prstGeom>
          <a:solidFill>
            <a:srgbClr val="1F497D"/>
          </a:solidFill>
          <a:ln w="25400" cap="flat" cmpd="sng" algn="ctr">
            <a:noFill/>
            <a:prstDash val="solid"/>
          </a:ln>
          <a:effectLst/>
        </p:spPr>
        <p:txBody>
          <a:bodyPr lIns="58303" tIns="29152" rIns="58303" bIns="2915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cxnSp>
        <p:nvCxnSpPr>
          <p:cNvPr id="49" name="Прямая соединительная линия 48"/>
          <p:cNvCxnSpPr/>
          <p:nvPr/>
        </p:nvCxnSpPr>
        <p:spPr>
          <a:xfrm>
            <a:off x="447124" y="2830354"/>
            <a:ext cx="6510" cy="1242724"/>
          </a:xfrm>
          <a:prstGeom prst="line">
            <a:avLst/>
          </a:prstGeom>
          <a:noFill/>
          <a:ln w="25400" cap="flat" cmpd="sng" algn="ctr">
            <a:solidFill>
              <a:srgbClr val="1F497D"/>
            </a:solidFill>
            <a:prstDash val="solid"/>
          </a:ln>
          <a:effectLst/>
        </p:spPr>
      </p:cxnSp>
      <p:sp>
        <p:nvSpPr>
          <p:cNvPr id="50" name="TextBox 49"/>
          <p:cNvSpPr txBox="1"/>
          <p:nvPr/>
        </p:nvSpPr>
        <p:spPr>
          <a:xfrm>
            <a:off x="765406" y="899164"/>
            <a:ext cx="117767" cy="335850"/>
          </a:xfrm>
          <a:prstGeom prst="rect">
            <a:avLst/>
          </a:prstGeom>
          <a:noFill/>
        </p:spPr>
        <p:txBody>
          <a:bodyPr wrap="none" lIns="58282" tIns="29141" rIns="58282" bIns="29141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302953" y="641992"/>
            <a:ext cx="2959535" cy="1682851"/>
          </a:xfrm>
          <a:prstGeom prst="rect">
            <a:avLst/>
          </a:prstGeom>
          <a:noFill/>
        </p:spPr>
        <p:txBody>
          <a:bodyPr wrap="square" lIns="81615" tIns="40808" rIns="81615" bIns="40808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b="1" dirty="0">
                <a:solidFill>
                  <a:prstClr val="black"/>
                </a:solidFill>
                <a:latin typeface="+mj-lt"/>
                <a:cs typeface="Times New Roman" pitchFamily="18" charset="0"/>
              </a:rPr>
              <a:t>Для чего нужен тренер?   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dirty="0">
                <a:solidFill>
                  <a:prstClr val="black"/>
                </a:solidFill>
                <a:latin typeface="+mj-lt"/>
                <a:cs typeface="Times New Roman" pitchFamily="18" charset="0"/>
              </a:rPr>
              <a:t>чтобы на предприятии были собственные ресурсы для  обучения сотрудников  методам бережливого производства (в нужное время и в нужном количестве)</a:t>
            </a:r>
            <a:endParaRPr lang="ru-RU" sz="1200" b="1" dirty="0">
              <a:solidFill>
                <a:prstClr val="black"/>
              </a:solidFill>
              <a:latin typeface="+mj-lt"/>
              <a:cs typeface="Times New Roman" pitchFamily="18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3380246" y="659561"/>
            <a:ext cx="2863368" cy="1313519"/>
          </a:xfrm>
          <a:prstGeom prst="rect">
            <a:avLst/>
          </a:prstGeom>
          <a:noFill/>
        </p:spPr>
        <p:txBody>
          <a:bodyPr wrap="square" lIns="81615" tIns="40808" rIns="81615" bIns="40808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b="1" dirty="0">
                <a:solidFill>
                  <a:prstClr val="black"/>
                </a:solidFill>
                <a:latin typeface="+mj-lt"/>
                <a:cs typeface="Times New Roman" pitchFamily="18" charset="0"/>
              </a:rPr>
              <a:t>Внутренний 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b="1" dirty="0">
                <a:solidFill>
                  <a:prstClr val="black"/>
                </a:solidFill>
                <a:latin typeface="+mj-lt"/>
                <a:cs typeface="Times New Roman" pitchFamily="18" charset="0"/>
              </a:rPr>
              <a:t>тренер</a:t>
            </a:r>
            <a:r>
              <a:rPr lang="ru-RU" sz="1600" dirty="0">
                <a:solidFill>
                  <a:prstClr val="black"/>
                </a:solidFill>
                <a:latin typeface="+mj-lt"/>
                <a:cs typeface="Times New Roman" pitchFamily="18" charset="0"/>
              </a:rPr>
              <a:t> – 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dirty="0">
                <a:solidFill>
                  <a:prstClr val="black"/>
                </a:solidFill>
                <a:latin typeface="+mj-lt"/>
                <a:cs typeface="Times New Roman" pitchFamily="18" charset="0"/>
              </a:rPr>
              <a:t>сотрудник предприятия, прошедший отбор, подготовку и сертификацию по программам  ФЦК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6166462" y="681716"/>
            <a:ext cx="2919200" cy="1251964"/>
          </a:xfrm>
          <a:prstGeom prst="rect">
            <a:avLst/>
          </a:prstGeom>
          <a:noFill/>
        </p:spPr>
        <p:txBody>
          <a:bodyPr wrap="square" lIns="81615" tIns="40808" rIns="81615" bIns="40808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b="1" dirty="0">
                <a:solidFill>
                  <a:prstClr val="black"/>
                </a:solidFill>
                <a:latin typeface="+mj-lt"/>
                <a:cs typeface="Times New Roman" pitchFamily="18" charset="0"/>
              </a:rPr>
              <a:t>Сертификация</a:t>
            </a:r>
            <a:r>
              <a:rPr lang="ru-RU" sz="1100" dirty="0">
                <a:solidFill>
                  <a:prstClr val="black"/>
                </a:solidFill>
                <a:latin typeface="+mj-lt"/>
                <a:cs typeface="Times New Roman" pitchFamily="18" charset="0"/>
              </a:rPr>
              <a:t> 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dirty="0">
                <a:solidFill>
                  <a:prstClr val="black"/>
                </a:solidFill>
                <a:latin typeface="+mj-lt"/>
                <a:cs typeface="Times New Roman" pitchFamily="18" charset="0"/>
              </a:rPr>
              <a:t>тренеров  позволяет предприятию быть уверенным наличии у сотрудника необходимого уровня знаний и навыков для проведения обучения </a:t>
            </a:r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 flipH="1">
            <a:off x="290928" y="681715"/>
            <a:ext cx="12027" cy="1603342"/>
          </a:xfrm>
          <a:prstGeom prst="line">
            <a:avLst/>
          </a:prstGeom>
          <a:noFill/>
          <a:ln w="25400" cap="flat" cmpd="sng" algn="ctr">
            <a:solidFill>
              <a:srgbClr val="1F497D"/>
            </a:solidFill>
            <a:prstDash val="solid"/>
          </a:ln>
          <a:effectLst/>
        </p:spPr>
      </p:cxnSp>
      <p:cxnSp>
        <p:nvCxnSpPr>
          <p:cNvPr id="55" name="Прямая соединительная линия 54"/>
          <p:cNvCxnSpPr/>
          <p:nvPr/>
        </p:nvCxnSpPr>
        <p:spPr>
          <a:xfrm flipH="1">
            <a:off x="3359215" y="681715"/>
            <a:ext cx="4080" cy="1603342"/>
          </a:xfrm>
          <a:prstGeom prst="line">
            <a:avLst/>
          </a:prstGeom>
          <a:noFill/>
          <a:ln w="25400" cap="flat" cmpd="sng" algn="ctr">
            <a:solidFill>
              <a:srgbClr val="1F497D"/>
            </a:solidFill>
            <a:prstDash val="solid"/>
          </a:ln>
          <a:effectLst/>
        </p:spPr>
      </p:cxnSp>
      <p:cxnSp>
        <p:nvCxnSpPr>
          <p:cNvPr id="56" name="Прямая соединительная линия 55"/>
          <p:cNvCxnSpPr/>
          <p:nvPr/>
        </p:nvCxnSpPr>
        <p:spPr>
          <a:xfrm>
            <a:off x="6166463" y="681715"/>
            <a:ext cx="0" cy="1600099"/>
          </a:xfrm>
          <a:prstGeom prst="line">
            <a:avLst/>
          </a:prstGeom>
          <a:noFill/>
          <a:ln w="25400" cap="flat" cmpd="sng" algn="ctr">
            <a:solidFill>
              <a:srgbClr val="1F497D"/>
            </a:solidFill>
            <a:prstDash val="solid"/>
          </a:ln>
          <a:effectLst/>
        </p:spPr>
      </p:cxnSp>
      <p:sp>
        <p:nvSpPr>
          <p:cNvPr id="57" name="Прямоугольник 56"/>
          <p:cNvSpPr/>
          <p:nvPr/>
        </p:nvSpPr>
        <p:spPr>
          <a:xfrm>
            <a:off x="560126" y="3229259"/>
            <a:ext cx="1658231" cy="305095"/>
          </a:xfrm>
          <a:prstGeom prst="rect">
            <a:avLst/>
          </a:prstGeom>
        </p:spPr>
        <p:txBody>
          <a:bodyPr wrap="none" lIns="58303" tIns="29152" rIns="58303" bIns="29152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dirty="0">
                <a:solidFill>
                  <a:prstClr val="black"/>
                </a:solidFill>
                <a:latin typeface="+mj-lt"/>
              </a:rPr>
              <a:t>Заочный этап 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560126" y="3821693"/>
            <a:ext cx="1372897" cy="305095"/>
          </a:xfrm>
          <a:prstGeom prst="rect">
            <a:avLst/>
          </a:prstGeom>
        </p:spPr>
        <p:txBody>
          <a:bodyPr wrap="none" lIns="58303" tIns="29152" rIns="58303" bIns="29152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dirty="0">
                <a:solidFill>
                  <a:prstClr val="black"/>
                </a:solidFill>
                <a:latin typeface="+mj-lt"/>
              </a:rPr>
              <a:t>Очный этап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2849170" y="3151928"/>
            <a:ext cx="1287306" cy="494890"/>
          </a:xfrm>
          <a:prstGeom prst="rect">
            <a:avLst/>
          </a:prstGeom>
        </p:spPr>
        <p:txBody>
          <a:bodyPr wrap="square" lIns="58303" tIns="29152" rIns="58303" bIns="29152">
            <a:spAutoFit/>
          </a:bodyPr>
          <a:lstStyle/>
          <a:p>
            <a:pPr defTabSz="914400" eaLnBrk="1" fontAlgn="auto" hangingPunct="1">
              <a:lnSpc>
                <a:spcPts val="17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600" dirty="0">
                <a:solidFill>
                  <a:prstClr val="black"/>
                </a:solidFill>
                <a:latin typeface="+mj-lt"/>
              </a:rPr>
              <a:t>Передача программ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2851001" y="3692790"/>
            <a:ext cx="1644346" cy="494890"/>
          </a:xfrm>
          <a:prstGeom prst="rect">
            <a:avLst/>
          </a:prstGeom>
        </p:spPr>
        <p:txBody>
          <a:bodyPr wrap="square" lIns="58303" tIns="29152" rIns="58303" bIns="29152">
            <a:spAutoFit/>
          </a:bodyPr>
          <a:lstStyle/>
          <a:p>
            <a:pPr defTabSz="914400" eaLnBrk="1" fontAlgn="auto" hangingPunct="1">
              <a:lnSpc>
                <a:spcPts val="17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600" dirty="0">
                <a:solidFill>
                  <a:prstClr val="black"/>
                </a:solidFill>
                <a:latin typeface="+mj-lt"/>
              </a:rPr>
              <a:t>Тренинг тренеров 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5080065" y="3193824"/>
            <a:ext cx="1896055" cy="930907"/>
          </a:xfrm>
          <a:prstGeom prst="rect">
            <a:avLst/>
          </a:prstGeom>
        </p:spPr>
        <p:txBody>
          <a:bodyPr wrap="square" lIns="58303" tIns="29152" rIns="58303" bIns="29152">
            <a:spAutoFit/>
          </a:bodyPr>
          <a:lstStyle/>
          <a:p>
            <a:pPr defTabSz="914400" eaLnBrk="1" fontAlgn="auto" hangingPunct="1">
              <a:lnSpc>
                <a:spcPts val="17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600" dirty="0">
                <a:solidFill>
                  <a:prstClr val="black"/>
                </a:solidFill>
                <a:latin typeface="+mj-lt"/>
              </a:rPr>
              <a:t>Минимум</a:t>
            </a:r>
            <a:r>
              <a:rPr lang="en-US" sz="1600" dirty="0">
                <a:solidFill>
                  <a:prstClr val="black"/>
                </a:solidFill>
                <a:latin typeface="+mj-lt"/>
              </a:rPr>
              <a:t> </a:t>
            </a:r>
            <a:r>
              <a:rPr lang="ru-RU" sz="1600" dirty="0">
                <a:solidFill>
                  <a:prstClr val="black"/>
                </a:solidFill>
                <a:latin typeface="+mj-lt"/>
              </a:rPr>
              <a:t>1 группа</a:t>
            </a:r>
            <a:r>
              <a:rPr lang="en-US" sz="1600" dirty="0">
                <a:solidFill>
                  <a:prstClr val="black"/>
                </a:solidFill>
                <a:latin typeface="+mj-lt"/>
              </a:rPr>
              <a:t> </a:t>
            </a:r>
            <a:r>
              <a:rPr lang="ru-RU" sz="1600" dirty="0">
                <a:solidFill>
                  <a:prstClr val="black"/>
                </a:solidFill>
                <a:latin typeface="+mj-lt"/>
              </a:rPr>
              <a:t>по каждой программе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7219302" y="3210157"/>
            <a:ext cx="1445031" cy="305095"/>
          </a:xfrm>
          <a:prstGeom prst="rect">
            <a:avLst/>
          </a:prstGeom>
        </p:spPr>
        <p:txBody>
          <a:bodyPr wrap="none" lIns="58303" tIns="29152" rIns="58303" bIns="29152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dirty="0">
                <a:solidFill>
                  <a:prstClr val="black"/>
                </a:solidFill>
                <a:latin typeface="+mj-lt"/>
              </a:rPr>
              <a:t>Очный этап 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2845811" y="4202043"/>
            <a:ext cx="2234253" cy="712899"/>
          </a:xfrm>
          <a:prstGeom prst="rect">
            <a:avLst/>
          </a:prstGeom>
        </p:spPr>
        <p:txBody>
          <a:bodyPr wrap="square" lIns="58303" tIns="29152" rIns="58303" bIns="29152">
            <a:spAutoFit/>
          </a:bodyPr>
          <a:lstStyle/>
          <a:p>
            <a:pPr defTabSz="914400" eaLnBrk="1" fontAlgn="auto" hangingPunct="1">
              <a:lnSpc>
                <a:spcPts val="17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600" dirty="0" err="1">
                <a:solidFill>
                  <a:prstClr val="black"/>
                </a:solidFill>
                <a:latin typeface="+mj-lt"/>
              </a:rPr>
              <a:t>Вебинары</a:t>
            </a:r>
            <a:r>
              <a:rPr lang="ru-RU" sz="1600" dirty="0">
                <a:solidFill>
                  <a:prstClr val="black"/>
                </a:solidFill>
                <a:latin typeface="+mj-lt"/>
              </a:rPr>
              <a:t>, методическая поддержка онлайн 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5048903" y="4061996"/>
            <a:ext cx="1775979" cy="494890"/>
          </a:xfrm>
          <a:prstGeom prst="rect">
            <a:avLst/>
          </a:prstGeom>
        </p:spPr>
        <p:txBody>
          <a:bodyPr wrap="square" lIns="58303" tIns="29152" rIns="58303" bIns="29152">
            <a:spAutoFit/>
          </a:bodyPr>
          <a:lstStyle/>
          <a:p>
            <a:pPr defTabSz="914400" eaLnBrk="1" fontAlgn="auto" hangingPunct="1">
              <a:lnSpc>
                <a:spcPts val="17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600" dirty="0">
                <a:solidFill>
                  <a:prstClr val="black"/>
                </a:solidFill>
                <a:latin typeface="+mj-lt"/>
              </a:rPr>
              <a:t>Стажировка</a:t>
            </a:r>
            <a:r>
              <a:rPr lang="en-US" sz="1600" dirty="0">
                <a:solidFill>
                  <a:prstClr val="black"/>
                </a:solidFill>
                <a:latin typeface="+mj-lt"/>
              </a:rPr>
              <a:t> </a:t>
            </a:r>
            <a:r>
              <a:rPr lang="ru-RU" sz="1600" dirty="0">
                <a:solidFill>
                  <a:prstClr val="black"/>
                </a:solidFill>
                <a:latin typeface="+mj-lt"/>
              </a:rPr>
              <a:t>на производстве</a:t>
            </a:r>
          </a:p>
        </p:txBody>
      </p:sp>
      <p:cxnSp>
        <p:nvCxnSpPr>
          <p:cNvPr id="65" name="Прямая соединительная линия 64"/>
          <p:cNvCxnSpPr>
            <a:endCxn id="85" idx="4"/>
          </p:cNvCxnSpPr>
          <p:nvPr/>
        </p:nvCxnSpPr>
        <p:spPr>
          <a:xfrm flipH="1">
            <a:off x="2704935" y="2830354"/>
            <a:ext cx="5781" cy="1591076"/>
          </a:xfrm>
          <a:prstGeom prst="line">
            <a:avLst/>
          </a:prstGeom>
          <a:noFill/>
          <a:ln w="25400" cap="flat" cmpd="sng" algn="ctr">
            <a:solidFill>
              <a:srgbClr val="1E86C8"/>
            </a:solidFill>
            <a:prstDash val="solid"/>
          </a:ln>
          <a:effectLst/>
        </p:spPr>
      </p:cxnSp>
      <p:cxnSp>
        <p:nvCxnSpPr>
          <p:cNvPr id="66" name="Прямая соединительная линия 65"/>
          <p:cNvCxnSpPr>
            <a:endCxn id="81" idx="4"/>
          </p:cNvCxnSpPr>
          <p:nvPr/>
        </p:nvCxnSpPr>
        <p:spPr>
          <a:xfrm>
            <a:off x="4940487" y="2830354"/>
            <a:ext cx="0" cy="1447060"/>
          </a:xfrm>
          <a:prstGeom prst="line">
            <a:avLst/>
          </a:prstGeom>
          <a:noFill/>
          <a:ln w="25400" cap="flat" cmpd="sng" algn="ctr">
            <a:solidFill>
              <a:srgbClr val="1F497D"/>
            </a:solidFill>
            <a:prstDash val="solid"/>
          </a:ln>
          <a:effectLst/>
        </p:spPr>
      </p:cxnSp>
      <p:cxnSp>
        <p:nvCxnSpPr>
          <p:cNvPr id="67" name="Прямая соединительная линия 66"/>
          <p:cNvCxnSpPr/>
          <p:nvPr/>
        </p:nvCxnSpPr>
        <p:spPr>
          <a:xfrm>
            <a:off x="7098931" y="2830355"/>
            <a:ext cx="6510" cy="651500"/>
          </a:xfrm>
          <a:prstGeom prst="line">
            <a:avLst/>
          </a:prstGeom>
          <a:noFill/>
          <a:ln w="25400" cap="flat" cmpd="sng" algn="ctr">
            <a:solidFill>
              <a:srgbClr val="1E86C8"/>
            </a:solidFill>
            <a:prstDash val="solid"/>
          </a:ln>
          <a:effectLst/>
        </p:spPr>
      </p:cxnSp>
      <p:cxnSp>
        <p:nvCxnSpPr>
          <p:cNvPr id="68" name="Прямая соединительная линия 67"/>
          <p:cNvCxnSpPr/>
          <p:nvPr/>
        </p:nvCxnSpPr>
        <p:spPr>
          <a:xfrm>
            <a:off x="290928" y="2281814"/>
            <a:ext cx="2698386" cy="3243"/>
          </a:xfrm>
          <a:prstGeom prst="line">
            <a:avLst/>
          </a:prstGeom>
          <a:noFill/>
          <a:ln w="25400" cap="flat" cmpd="sng" algn="ctr">
            <a:solidFill>
              <a:srgbClr val="1F497D"/>
            </a:solidFill>
            <a:prstDash val="solid"/>
          </a:ln>
          <a:effectLst/>
        </p:spPr>
      </p:cxnSp>
      <p:cxnSp>
        <p:nvCxnSpPr>
          <p:cNvPr id="69" name="Прямая соединительная линия 68"/>
          <p:cNvCxnSpPr/>
          <p:nvPr/>
        </p:nvCxnSpPr>
        <p:spPr>
          <a:xfrm>
            <a:off x="3359215" y="2281814"/>
            <a:ext cx="2348038" cy="0"/>
          </a:xfrm>
          <a:prstGeom prst="line">
            <a:avLst/>
          </a:prstGeom>
          <a:noFill/>
          <a:ln w="25400" cap="flat" cmpd="sng" algn="ctr">
            <a:solidFill>
              <a:srgbClr val="1F497D"/>
            </a:solidFill>
            <a:prstDash val="solid"/>
          </a:ln>
          <a:effectLst/>
        </p:spPr>
      </p:cxnSp>
      <p:cxnSp>
        <p:nvCxnSpPr>
          <p:cNvPr id="70" name="Прямая соединительная линия 69"/>
          <p:cNvCxnSpPr/>
          <p:nvPr/>
        </p:nvCxnSpPr>
        <p:spPr>
          <a:xfrm>
            <a:off x="6166463" y="2281814"/>
            <a:ext cx="2348038" cy="0"/>
          </a:xfrm>
          <a:prstGeom prst="line">
            <a:avLst/>
          </a:prstGeom>
          <a:noFill/>
          <a:ln w="25400" cap="flat" cmpd="sng" algn="ctr">
            <a:solidFill>
              <a:srgbClr val="1F497D"/>
            </a:solidFill>
            <a:prstDash val="solid"/>
          </a:ln>
          <a:effectLst/>
        </p:spPr>
      </p:cxnSp>
      <p:sp>
        <p:nvSpPr>
          <p:cNvPr id="71" name="Прямоугольник 70"/>
          <p:cNvSpPr/>
          <p:nvPr/>
        </p:nvSpPr>
        <p:spPr>
          <a:xfrm>
            <a:off x="325673" y="2417958"/>
            <a:ext cx="1571744" cy="520538"/>
          </a:xfrm>
          <a:prstGeom prst="rect">
            <a:avLst/>
          </a:prstGeom>
        </p:spPr>
        <p:txBody>
          <a:bodyPr wrap="square" lIns="58303" tIns="29152" rIns="58303" bIns="29152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500" b="1" dirty="0">
                <a:solidFill>
                  <a:prstClr val="white"/>
                </a:solidFill>
                <a:latin typeface="+mj-lt"/>
              </a:rPr>
              <a:t>ОТБОР ТРЕНЕРОВ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2564030" y="2430015"/>
            <a:ext cx="1954224" cy="520538"/>
          </a:xfrm>
          <a:prstGeom prst="rect">
            <a:avLst/>
          </a:prstGeom>
        </p:spPr>
        <p:txBody>
          <a:bodyPr wrap="square" lIns="58303" tIns="29152" rIns="58303" bIns="29152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500" b="1" dirty="0">
                <a:solidFill>
                  <a:prstClr val="white"/>
                </a:solidFill>
                <a:latin typeface="+mj-lt"/>
              </a:rPr>
              <a:t>ПОДГОТОВКА ТРЕНЕРОВ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4860926" y="2417958"/>
            <a:ext cx="1569227" cy="520538"/>
          </a:xfrm>
          <a:prstGeom prst="rect">
            <a:avLst/>
          </a:prstGeom>
        </p:spPr>
        <p:txBody>
          <a:bodyPr wrap="square" lIns="58303" tIns="29152" rIns="58303" bIns="29152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500" b="1" dirty="0">
                <a:solidFill>
                  <a:prstClr val="white"/>
                </a:solidFill>
                <a:latin typeface="+mj-lt"/>
              </a:rPr>
              <a:t>ПИЛОТНЫЕ ГРУППЫ 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6976121" y="2429247"/>
            <a:ext cx="2109541" cy="520538"/>
          </a:xfrm>
          <a:prstGeom prst="rect">
            <a:avLst/>
          </a:prstGeom>
        </p:spPr>
        <p:txBody>
          <a:bodyPr wrap="square" lIns="58303" tIns="29152" rIns="58303" bIns="29152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500" b="1" dirty="0">
                <a:solidFill>
                  <a:prstClr val="white"/>
                </a:solidFill>
                <a:latin typeface="+mj-lt"/>
              </a:rPr>
              <a:t>СЕРТИФИКАЦИЯ ТРЕНЕРОВ</a:t>
            </a:r>
          </a:p>
        </p:txBody>
      </p:sp>
      <p:sp>
        <p:nvSpPr>
          <p:cNvPr id="75" name="Овал 74"/>
          <p:cNvSpPr/>
          <p:nvPr/>
        </p:nvSpPr>
        <p:spPr>
          <a:xfrm>
            <a:off x="225803" y="637366"/>
            <a:ext cx="154302" cy="152576"/>
          </a:xfrm>
          <a:prstGeom prst="ellipse">
            <a:avLst/>
          </a:prstGeom>
          <a:solidFill>
            <a:srgbClr val="1F497D"/>
          </a:solidFill>
          <a:ln w="9525" cap="flat" cmpd="sng" algn="ctr">
            <a:noFill/>
            <a:prstDash val="solid"/>
          </a:ln>
          <a:effectLst/>
        </p:spPr>
        <p:txBody>
          <a:bodyPr lIns="58303" tIns="29152" rIns="58303" bIns="2915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76" name="Овал 75"/>
          <p:cNvSpPr/>
          <p:nvPr/>
        </p:nvSpPr>
        <p:spPr>
          <a:xfrm>
            <a:off x="3282398" y="637366"/>
            <a:ext cx="154302" cy="152576"/>
          </a:xfrm>
          <a:prstGeom prst="ellipse">
            <a:avLst/>
          </a:prstGeom>
          <a:solidFill>
            <a:srgbClr val="1F497D"/>
          </a:solidFill>
          <a:ln w="9525" cap="flat" cmpd="sng" algn="ctr">
            <a:noFill/>
            <a:prstDash val="solid"/>
          </a:ln>
          <a:effectLst/>
        </p:spPr>
        <p:txBody>
          <a:bodyPr lIns="58303" tIns="29152" rIns="58303" bIns="2915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77" name="Овал 76"/>
          <p:cNvSpPr/>
          <p:nvPr/>
        </p:nvSpPr>
        <p:spPr>
          <a:xfrm>
            <a:off x="6089312" y="637366"/>
            <a:ext cx="154302" cy="152576"/>
          </a:xfrm>
          <a:prstGeom prst="ellipse">
            <a:avLst/>
          </a:prstGeom>
          <a:solidFill>
            <a:srgbClr val="1F497D"/>
          </a:solidFill>
          <a:ln w="9525" cap="flat" cmpd="sng" algn="ctr">
            <a:noFill/>
            <a:prstDash val="solid"/>
          </a:ln>
          <a:effectLst/>
        </p:spPr>
        <p:txBody>
          <a:bodyPr lIns="58303" tIns="29152" rIns="58303" bIns="2915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78" name="Овал 77"/>
          <p:cNvSpPr/>
          <p:nvPr/>
        </p:nvSpPr>
        <p:spPr>
          <a:xfrm>
            <a:off x="376484" y="3315746"/>
            <a:ext cx="154302" cy="152576"/>
          </a:xfrm>
          <a:prstGeom prst="ellipse">
            <a:avLst/>
          </a:prstGeom>
          <a:solidFill>
            <a:srgbClr val="1F497D"/>
          </a:solidFill>
          <a:ln w="9525" cap="flat" cmpd="sng" algn="ctr">
            <a:noFill/>
            <a:prstDash val="solid"/>
          </a:ln>
          <a:effectLst/>
        </p:spPr>
        <p:txBody>
          <a:bodyPr lIns="58303" tIns="29152" rIns="58303" bIns="2915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79" name="Овал 78"/>
          <p:cNvSpPr/>
          <p:nvPr/>
        </p:nvSpPr>
        <p:spPr>
          <a:xfrm>
            <a:off x="376484" y="3923638"/>
            <a:ext cx="154302" cy="152576"/>
          </a:xfrm>
          <a:prstGeom prst="ellipse">
            <a:avLst/>
          </a:prstGeom>
          <a:solidFill>
            <a:srgbClr val="1F497D"/>
          </a:solidFill>
          <a:ln w="9525" cap="flat" cmpd="sng" algn="ctr">
            <a:noFill/>
            <a:prstDash val="solid"/>
          </a:ln>
          <a:effectLst/>
        </p:spPr>
        <p:txBody>
          <a:bodyPr lIns="58303" tIns="29152" rIns="58303" bIns="2915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80" name="Овал 79"/>
          <p:cNvSpPr/>
          <p:nvPr/>
        </p:nvSpPr>
        <p:spPr>
          <a:xfrm>
            <a:off x="4863336" y="3239458"/>
            <a:ext cx="154302" cy="152576"/>
          </a:xfrm>
          <a:prstGeom prst="ellipse">
            <a:avLst/>
          </a:prstGeom>
          <a:solidFill>
            <a:srgbClr val="1F497D"/>
          </a:solidFill>
          <a:ln w="9525" cap="flat" cmpd="sng" algn="ctr">
            <a:noFill/>
            <a:prstDash val="solid"/>
          </a:ln>
          <a:effectLst/>
        </p:spPr>
        <p:txBody>
          <a:bodyPr lIns="58303" tIns="29152" rIns="58303" bIns="2915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81" name="Овал 80"/>
          <p:cNvSpPr/>
          <p:nvPr/>
        </p:nvSpPr>
        <p:spPr>
          <a:xfrm>
            <a:off x="4863336" y="4124838"/>
            <a:ext cx="154302" cy="152576"/>
          </a:xfrm>
          <a:prstGeom prst="ellipse">
            <a:avLst/>
          </a:prstGeom>
          <a:solidFill>
            <a:srgbClr val="1F497D"/>
          </a:solidFill>
          <a:ln w="9525" cap="flat" cmpd="sng" algn="ctr">
            <a:noFill/>
            <a:prstDash val="solid"/>
          </a:ln>
          <a:effectLst/>
        </p:spPr>
        <p:txBody>
          <a:bodyPr lIns="58303" tIns="29152" rIns="58303" bIns="2915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82" name="Овал 81"/>
          <p:cNvSpPr/>
          <p:nvPr/>
        </p:nvSpPr>
        <p:spPr>
          <a:xfrm>
            <a:off x="7028290" y="3327035"/>
            <a:ext cx="154302" cy="152576"/>
          </a:xfrm>
          <a:prstGeom prst="ellipse">
            <a:avLst/>
          </a:prstGeom>
          <a:solidFill>
            <a:srgbClr val="1E86C8"/>
          </a:solidFill>
          <a:ln w="9525" cap="flat" cmpd="sng" algn="ctr">
            <a:solidFill>
              <a:srgbClr val="1E86C8"/>
            </a:solidFill>
            <a:prstDash val="solid"/>
          </a:ln>
          <a:effectLst/>
        </p:spPr>
        <p:txBody>
          <a:bodyPr lIns="58303" tIns="29152" rIns="58303" bIns="2915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83" name="Овал 82"/>
          <p:cNvSpPr/>
          <p:nvPr/>
        </p:nvSpPr>
        <p:spPr>
          <a:xfrm>
            <a:off x="2627784" y="3191567"/>
            <a:ext cx="154302" cy="152576"/>
          </a:xfrm>
          <a:prstGeom prst="ellipse">
            <a:avLst/>
          </a:prstGeom>
          <a:solidFill>
            <a:srgbClr val="1E86C8"/>
          </a:solidFill>
          <a:ln w="9525" cap="flat" cmpd="sng" algn="ctr">
            <a:solidFill>
              <a:srgbClr val="1E86C8"/>
            </a:solidFill>
            <a:prstDash val="solid"/>
          </a:ln>
          <a:effectLst/>
        </p:spPr>
        <p:txBody>
          <a:bodyPr lIns="58303" tIns="29152" rIns="58303" bIns="2915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84" name="Овал 83"/>
          <p:cNvSpPr/>
          <p:nvPr/>
        </p:nvSpPr>
        <p:spPr>
          <a:xfrm>
            <a:off x="2617498" y="3756238"/>
            <a:ext cx="154302" cy="152576"/>
          </a:xfrm>
          <a:prstGeom prst="ellipse">
            <a:avLst/>
          </a:prstGeom>
          <a:solidFill>
            <a:srgbClr val="1E86C8"/>
          </a:solidFill>
          <a:ln w="9525" cap="flat" cmpd="sng" algn="ctr">
            <a:solidFill>
              <a:srgbClr val="1E86C8"/>
            </a:solidFill>
            <a:prstDash val="solid"/>
          </a:ln>
          <a:effectLst/>
        </p:spPr>
        <p:txBody>
          <a:bodyPr lIns="58303" tIns="29152" rIns="58303" bIns="2915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85" name="Овал 84"/>
          <p:cNvSpPr/>
          <p:nvPr/>
        </p:nvSpPr>
        <p:spPr>
          <a:xfrm>
            <a:off x="2627784" y="4268854"/>
            <a:ext cx="154302" cy="152576"/>
          </a:xfrm>
          <a:prstGeom prst="ellipse">
            <a:avLst/>
          </a:prstGeom>
          <a:solidFill>
            <a:srgbClr val="1E86C8"/>
          </a:solidFill>
          <a:ln w="9525" cap="flat" cmpd="sng" algn="ctr">
            <a:solidFill>
              <a:srgbClr val="1E86C8"/>
            </a:solidFill>
            <a:prstDash val="solid"/>
          </a:ln>
          <a:effectLst/>
        </p:spPr>
        <p:txBody>
          <a:bodyPr lIns="58303" tIns="29152" rIns="58303" bIns="2915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97239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C6A5CCD-3026-4E34-851B-2FF8A85CA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b="1" dirty="0"/>
              <a:t>Цель национального</a:t>
            </a:r>
            <a:r>
              <a:rPr lang="en-US" sz="2000" b="1" dirty="0"/>
              <a:t> </a:t>
            </a:r>
            <a:r>
              <a:rPr lang="ru-RU" sz="2000" b="1" dirty="0"/>
              <a:t>проекта – обеспечить</a:t>
            </a:r>
            <a:br>
              <a:rPr lang="ru-RU" sz="2000" b="1" dirty="0"/>
            </a:br>
            <a:r>
              <a:rPr lang="ru-RU" sz="2000" b="1" dirty="0"/>
              <a:t>к 2024 году:</a:t>
            </a:r>
            <a:endParaRPr lang="ru-RU" dirty="0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2B2E8D6-A829-42EE-A8A3-6F9F9B7B2A93}"/>
              </a:ext>
            </a:extLst>
          </p:cNvPr>
          <p:cNvSpPr/>
          <p:nvPr/>
        </p:nvSpPr>
        <p:spPr>
          <a:xfrm>
            <a:off x="-2153806" y="3031240"/>
            <a:ext cx="3207929" cy="341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90000"/>
              </a:lnSpc>
            </a:pPr>
            <a:endParaRPr lang="ru-RU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E94C902D-4986-4D29-ACE8-AE59A4AA60C0}"/>
              </a:ext>
            </a:extLst>
          </p:cNvPr>
          <p:cNvSpPr/>
          <p:nvPr/>
        </p:nvSpPr>
        <p:spPr>
          <a:xfrm>
            <a:off x="-1494971" y="3818196"/>
            <a:ext cx="1890261" cy="341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90000"/>
              </a:lnSpc>
            </a:pPr>
            <a:endParaRPr lang="ru-RU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12" name="Схема 11">
            <a:extLst>
              <a:ext uri="{FF2B5EF4-FFF2-40B4-BE49-F238E27FC236}">
                <a16:creationId xmlns:a16="http://schemas.microsoft.com/office/drawing/2014/main" id="{7E2B09C9-B011-488B-AC16-04DC287271D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40605999"/>
              </p:ext>
            </p:extLst>
          </p:nvPr>
        </p:nvGraphicFramePr>
        <p:xfrm>
          <a:off x="655177" y="830307"/>
          <a:ext cx="7833646" cy="39809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51638212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03515" y="12924"/>
            <a:ext cx="8940485" cy="8534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2000" b="1" dirty="0"/>
              <a:t>Для обмена опытом проводятся слёты «Школа тренеров»</a:t>
            </a:r>
          </a:p>
        </p:txBody>
      </p:sp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048" y="869354"/>
            <a:ext cx="8028384" cy="39619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2972395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1096" y="114301"/>
            <a:ext cx="8335961" cy="43219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2000" b="1" dirty="0"/>
              <a:t>ИТ-платформа производительность.рф 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673" y="828037"/>
            <a:ext cx="4008597" cy="32911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-8878" y="4078642"/>
            <a:ext cx="9144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rgbClr val="CA3568"/>
                </a:solidFill>
                <a:latin typeface="+mn-lt"/>
              </a:rPr>
              <a:t>С нами уже более 3000 пользователей. </a:t>
            </a:r>
          </a:p>
          <a:p>
            <a:pPr algn="ctr"/>
            <a:r>
              <a:rPr lang="ru-RU" sz="1400" b="1" dirty="0">
                <a:solidFill>
                  <a:srgbClr val="CA3568"/>
                </a:solidFill>
                <a:latin typeface="+mn-lt"/>
              </a:rPr>
              <a:t>Регистрируйтесь в личном кабинете и присоединяйтесь!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4465464" y="748135"/>
            <a:ext cx="4296792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>
                <a:latin typeface="+mn-lt"/>
              </a:rPr>
              <a:t>Информация о проект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>
                <a:latin typeface="+mn-lt"/>
              </a:rPr>
              <a:t>Новости проекта и ФЦК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>
                <a:latin typeface="+mn-lt"/>
              </a:rPr>
              <a:t>Личный кабинет пользовател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>
                <a:latin typeface="+mn-lt"/>
              </a:rPr>
              <a:t>Сервис подачи заявок на участие в проект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>
                <a:latin typeface="+mn-lt"/>
              </a:rPr>
              <a:t>Экспресс-диагностика</a:t>
            </a:r>
          </a:p>
          <a:p>
            <a:pPr marL="444500" lvl="1" indent="-177800">
              <a:buFont typeface="Calibri" panose="020F0502020204030204" pitchFamily="34" charset="0"/>
              <a:buChar char="−"/>
            </a:pPr>
            <a:r>
              <a:rPr lang="ru-RU" sz="1200" dirty="0">
                <a:latin typeface="+mn-lt"/>
              </a:rPr>
              <a:t>Самодиагностика производственной системы</a:t>
            </a:r>
          </a:p>
          <a:p>
            <a:pPr marL="444500" lvl="1" indent="-177800">
              <a:buFont typeface="Calibri" panose="020F0502020204030204" pitchFamily="34" charset="0"/>
              <a:buChar char="−"/>
            </a:pPr>
            <a:r>
              <a:rPr lang="ru-RU" sz="1200" dirty="0" err="1">
                <a:latin typeface="+mn-lt"/>
              </a:rPr>
              <a:t>Бенчмаркинг</a:t>
            </a:r>
            <a:endParaRPr lang="ru-RU" sz="12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>
                <a:latin typeface="+mn-lt"/>
              </a:rPr>
              <a:t>Примеры реализованных проект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>
                <a:latin typeface="+mn-lt"/>
              </a:rPr>
              <a:t>Онлайн-школ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>
                <a:latin typeface="+mn-lt"/>
              </a:rPr>
              <a:t>Лучшие практики и типовые решения</a:t>
            </a:r>
            <a:endParaRPr lang="en-US" sz="12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>
                <a:latin typeface="+mn-lt"/>
              </a:rPr>
              <a:t>Календарь мероприяти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200" dirty="0">
              <a:latin typeface="+mn-lt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465464" y="2988210"/>
            <a:ext cx="470072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latin typeface="+mn-lt"/>
              </a:rPr>
              <a:t>Функционал ИТ-платформы постоянно расширяется</a:t>
            </a:r>
          </a:p>
        </p:txBody>
      </p:sp>
    </p:spTree>
    <p:extLst>
      <p:ext uri="{BB962C8B-B14F-4D97-AF65-F5344CB8AC3E}">
        <p14:creationId xmlns:p14="http://schemas.microsoft.com/office/powerpoint/2010/main" val="303363966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213064" y="105423"/>
            <a:ext cx="9099612" cy="43219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2000" b="1" dirty="0"/>
              <a:t>Онлайн-школа «Производительность.рф»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554869" y="4137279"/>
            <a:ext cx="320039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  <a:latin typeface="+mn-lt"/>
              </a:rPr>
              <a:t>Электронные курсы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  <a:latin typeface="+mn-lt"/>
              </a:rPr>
              <a:t>Видеоролики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  <a:latin typeface="+mn-lt"/>
              </a:rPr>
              <a:t>Обзоры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5338" y="818233"/>
            <a:ext cx="4008597" cy="32911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7745" y="974693"/>
            <a:ext cx="3712411" cy="20703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304801" y="1091252"/>
            <a:ext cx="375969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+mn-lt"/>
              </a:rPr>
              <a:t>Доступ для всех зарегистрированных пользователей ИТ-платформы </a:t>
            </a:r>
            <a:r>
              <a:rPr lang="ru-RU" sz="1400" dirty="0">
                <a:latin typeface="+mn-lt"/>
                <a:hlinkClick r:id="rId4"/>
              </a:rPr>
              <a:t>производительность.рф</a:t>
            </a:r>
            <a:endParaRPr lang="ru-RU" sz="1400" dirty="0">
              <a:latin typeface="+mn-lt"/>
            </a:endParaRPr>
          </a:p>
          <a:p>
            <a:endParaRPr lang="ru-RU" sz="1400" dirty="0">
              <a:latin typeface="+mn-lt"/>
            </a:endParaRPr>
          </a:p>
          <a:p>
            <a:r>
              <a:rPr lang="ru-RU" sz="1400" dirty="0">
                <a:latin typeface="+mn-lt"/>
              </a:rPr>
              <a:t>Возможность самостоятельного обучения</a:t>
            </a:r>
          </a:p>
          <a:p>
            <a:endParaRPr lang="ru-RU" sz="1400" dirty="0">
              <a:latin typeface="+mn-lt"/>
            </a:endParaRPr>
          </a:p>
          <a:p>
            <a:r>
              <a:rPr lang="ru-RU" sz="1400" dirty="0">
                <a:latin typeface="+mn-lt"/>
              </a:rPr>
              <a:t>Подготовка к старту проекта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5943605" y="4170107"/>
            <a:ext cx="320039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  <a:latin typeface="+mn-lt"/>
              </a:rPr>
              <a:t>Кейсы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  <a:latin typeface="+mn-lt"/>
              </a:rPr>
              <a:t>Полезные ссылки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  <a:latin typeface="+mn-lt"/>
              </a:rPr>
              <a:t>Опросы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969581" y="4157569"/>
            <a:ext cx="45720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  <a:latin typeface="+mn-lt"/>
              </a:rPr>
              <a:t>Методические материалы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  <a:latin typeface="+mn-lt"/>
              </a:rPr>
              <a:t>Форумы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  <a:latin typeface="+mn-lt"/>
              </a:rPr>
              <a:t>Электронная библиотека</a:t>
            </a:r>
          </a:p>
        </p:txBody>
      </p:sp>
    </p:spTree>
    <p:extLst>
      <p:ext uri="{BB962C8B-B14F-4D97-AF65-F5344CB8AC3E}">
        <p14:creationId xmlns:p14="http://schemas.microsoft.com/office/powerpoint/2010/main" val="402178979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9466" y="381581"/>
            <a:ext cx="6251971" cy="164917"/>
          </a:xfrm>
        </p:spPr>
        <p:txBody>
          <a:bodyPr/>
          <a:lstStyle/>
          <a:p>
            <a:r>
              <a:rPr lang="ru-RU" dirty="0"/>
              <a:t>Процесс реализации программы на отдельном предприятии-участнике </a:t>
            </a:r>
          </a:p>
        </p:txBody>
      </p:sp>
      <p:sp>
        <p:nvSpPr>
          <p:cNvPr id="141" name="Прямоугольник 4"/>
          <p:cNvSpPr/>
          <p:nvPr>
            <p:custDataLst>
              <p:tags r:id="rId1"/>
            </p:custDataLst>
          </p:nvPr>
        </p:nvSpPr>
        <p:spPr>
          <a:xfrm>
            <a:off x="780495" y="4143563"/>
            <a:ext cx="8043653" cy="592521"/>
          </a:xfrm>
          <a:prstGeom prst="rect">
            <a:avLst/>
          </a:prstGeom>
          <a:solidFill>
            <a:srgbClr val="F79646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60948" tIns="30474" rIns="60948" bIns="30474" rtlCol="0" anchor="ctr"/>
          <a:lstStyle/>
          <a:p>
            <a:pPr algn="ctr"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2" name="Прямоугольник 5"/>
          <p:cNvSpPr/>
          <p:nvPr>
            <p:custDataLst>
              <p:tags r:id="rId2"/>
            </p:custDataLst>
          </p:nvPr>
        </p:nvSpPr>
        <p:spPr>
          <a:xfrm>
            <a:off x="932688" y="3487336"/>
            <a:ext cx="7891460" cy="688274"/>
          </a:xfrm>
          <a:prstGeom prst="rect">
            <a:avLst/>
          </a:prstGeom>
          <a:solidFill>
            <a:srgbClr val="9BBB59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60948" tIns="30474" rIns="60948" bIns="30474" rtlCol="0" anchor="ctr"/>
          <a:lstStyle/>
          <a:p>
            <a:pPr algn="ctr"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3" name="Прямоугольник 6"/>
          <p:cNvSpPr/>
          <p:nvPr>
            <p:custDataLst>
              <p:tags r:id="rId3"/>
            </p:custDataLst>
          </p:nvPr>
        </p:nvSpPr>
        <p:spPr>
          <a:xfrm>
            <a:off x="810768" y="1837289"/>
            <a:ext cx="8013383" cy="806898"/>
          </a:xfrm>
          <a:prstGeom prst="rect">
            <a:avLst/>
          </a:prstGeom>
          <a:solidFill>
            <a:srgbClr val="D8F2FB"/>
          </a:solidFill>
          <a:ln w="25400" cap="flat" cmpd="sng" algn="ctr">
            <a:noFill/>
            <a:prstDash val="solid"/>
          </a:ln>
          <a:effectLst/>
        </p:spPr>
        <p:txBody>
          <a:bodyPr lIns="60948" tIns="30474" rIns="60948" bIns="30474" rtlCol="0" anchor="ctr"/>
          <a:lstStyle/>
          <a:p>
            <a:pPr algn="ctr"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4" name="Прямоугольник 7"/>
          <p:cNvSpPr/>
          <p:nvPr>
            <p:custDataLst>
              <p:tags r:id="rId4"/>
            </p:custDataLst>
          </p:nvPr>
        </p:nvSpPr>
        <p:spPr>
          <a:xfrm>
            <a:off x="883920" y="2644186"/>
            <a:ext cx="7940231" cy="865001"/>
          </a:xfrm>
          <a:prstGeom prst="rect">
            <a:avLst/>
          </a:prstGeom>
          <a:solidFill>
            <a:srgbClr val="E6E0EC"/>
          </a:solidFill>
          <a:ln w="25400" cap="flat" cmpd="sng" algn="ctr">
            <a:noFill/>
            <a:prstDash val="solid"/>
          </a:ln>
          <a:effectLst/>
        </p:spPr>
        <p:txBody>
          <a:bodyPr lIns="60948" tIns="30474" rIns="60948" bIns="30474" rtlCol="0" anchor="ctr"/>
          <a:lstStyle/>
          <a:p>
            <a:pPr algn="ctr"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5" name="Прямоугольник 8"/>
          <p:cNvSpPr/>
          <p:nvPr>
            <p:custDataLst>
              <p:tags r:id="rId5"/>
            </p:custDataLst>
          </p:nvPr>
        </p:nvSpPr>
        <p:spPr>
          <a:xfrm>
            <a:off x="810768" y="1224279"/>
            <a:ext cx="8013383" cy="64906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0948" tIns="30474" rIns="60948" bIns="30474" rtlCol="0" anchor="ctr"/>
          <a:lstStyle/>
          <a:p>
            <a:pPr algn="ctr"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7" name="Пятиугольник 12"/>
          <p:cNvSpPr/>
          <p:nvPr>
            <p:custDataLst>
              <p:tags r:id="rId6"/>
            </p:custDataLst>
          </p:nvPr>
        </p:nvSpPr>
        <p:spPr>
          <a:xfrm>
            <a:off x="319849" y="1224279"/>
            <a:ext cx="815393" cy="649060"/>
          </a:xfrm>
          <a:prstGeom prst="homePlate">
            <a:avLst>
              <a:gd name="adj" fmla="val 5883"/>
            </a:avLst>
          </a:prstGeom>
          <a:solidFill>
            <a:sysClr val="window" lastClr="FFFFFF">
              <a:lumMod val="85000"/>
            </a:sys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КОМПОЗИЦИЯ</a:t>
            </a:r>
            <a:b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ЕЙ</a:t>
            </a:r>
          </a:p>
        </p:txBody>
      </p:sp>
      <p:sp>
        <p:nvSpPr>
          <p:cNvPr id="148" name="Пятиугольник 13"/>
          <p:cNvSpPr/>
          <p:nvPr>
            <p:custDataLst>
              <p:tags r:id="rId7"/>
            </p:custDataLst>
          </p:nvPr>
        </p:nvSpPr>
        <p:spPr>
          <a:xfrm>
            <a:off x="319849" y="1873341"/>
            <a:ext cx="815393" cy="770846"/>
          </a:xfrm>
          <a:prstGeom prst="homePlate">
            <a:avLst>
              <a:gd name="adj" fmla="val 5614"/>
            </a:avLst>
          </a:prstGeom>
          <a:solidFill>
            <a:srgbClr val="3BBEED">
              <a:lumMod val="40000"/>
              <a:lumOff val="60000"/>
            </a:srgb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ТИМИЗАЦИЯ ПОТОКОВ ПО ПРОИЗВОДСТВУ ПРОДУКЦИИ</a:t>
            </a:r>
          </a:p>
        </p:txBody>
      </p:sp>
      <p:sp>
        <p:nvSpPr>
          <p:cNvPr id="149" name="Пятиугольник 14"/>
          <p:cNvSpPr/>
          <p:nvPr>
            <p:custDataLst>
              <p:tags r:id="rId8"/>
            </p:custDataLst>
          </p:nvPr>
        </p:nvSpPr>
        <p:spPr>
          <a:xfrm>
            <a:off x="319849" y="3485817"/>
            <a:ext cx="815393" cy="689793"/>
          </a:xfrm>
          <a:prstGeom prst="homePlate">
            <a:avLst>
              <a:gd name="adj" fmla="val 7344"/>
            </a:avLst>
          </a:prstGeom>
          <a:solidFill>
            <a:srgbClr val="9BBB59">
              <a:lumMod val="60000"/>
              <a:lumOff val="40000"/>
            </a:srgb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УЧЕНИЕ</a:t>
            </a:r>
          </a:p>
        </p:txBody>
      </p:sp>
      <p:sp>
        <p:nvSpPr>
          <p:cNvPr id="150" name="Пятиугольник 15"/>
          <p:cNvSpPr/>
          <p:nvPr>
            <p:custDataLst>
              <p:tags r:id="rId9"/>
            </p:custDataLst>
          </p:nvPr>
        </p:nvSpPr>
        <p:spPr>
          <a:xfrm>
            <a:off x="319849" y="4162931"/>
            <a:ext cx="815393" cy="582804"/>
          </a:xfrm>
          <a:prstGeom prst="homePlate">
            <a:avLst>
              <a:gd name="adj" fmla="val 8204"/>
            </a:avLst>
          </a:prstGeom>
          <a:solidFill>
            <a:srgbClr val="F79646">
              <a:lumMod val="60000"/>
              <a:lumOff val="40000"/>
            </a:srgb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ИЗМЕНЕНИЯМИ</a:t>
            </a:r>
          </a:p>
        </p:txBody>
      </p:sp>
      <p:sp>
        <p:nvSpPr>
          <p:cNvPr id="151" name="Пятиугольник 16"/>
          <p:cNvSpPr/>
          <p:nvPr>
            <p:custDataLst>
              <p:tags r:id="rId10"/>
            </p:custDataLst>
          </p:nvPr>
        </p:nvSpPr>
        <p:spPr>
          <a:xfrm>
            <a:off x="319849" y="2644186"/>
            <a:ext cx="815393" cy="865001"/>
          </a:xfrm>
          <a:prstGeom prst="homePlate">
            <a:avLst>
              <a:gd name="adj" fmla="val 6286"/>
            </a:avLst>
          </a:prstGeom>
          <a:solidFill>
            <a:srgbClr val="8064A2">
              <a:lumMod val="40000"/>
              <a:lumOff val="60000"/>
            </a:srgb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</a:t>
            </a:r>
            <a:b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АМИ И МЕТОДОЛОГИЕЙ</a:t>
            </a:r>
          </a:p>
        </p:txBody>
      </p:sp>
      <p:sp>
        <p:nvSpPr>
          <p:cNvPr id="152" name="Скругленный прямоугольник 17"/>
          <p:cNvSpPr/>
          <p:nvPr>
            <p:custDataLst>
              <p:tags r:id="rId11"/>
            </p:custDataLst>
          </p:nvPr>
        </p:nvSpPr>
        <p:spPr>
          <a:xfrm>
            <a:off x="2765141" y="1285882"/>
            <a:ext cx="2071818" cy="229943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3" name="Скругленный прямоугольник 18"/>
          <p:cNvSpPr/>
          <p:nvPr>
            <p:custDataLst>
              <p:tags r:id="rId12"/>
            </p:custDataLst>
          </p:nvPr>
        </p:nvSpPr>
        <p:spPr>
          <a:xfrm>
            <a:off x="1479197" y="1915979"/>
            <a:ext cx="944694" cy="665248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40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4" name="Прямоугольник 19"/>
          <p:cNvSpPr/>
          <p:nvPr>
            <p:custDataLst>
              <p:tags r:id="rId13"/>
            </p:custDataLst>
          </p:nvPr>
        </p:nvSpPr>
        <p:spPr>
          <a:xfrm>
            <a:off x="1524528" y="2031338"/>
            <a:ext cx="856689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10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ыбор потоков для оптимизации </a:t>
            </a:r>
            <a:endParaRPr lang="ru-RU" sz="10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55" name="Прямоугольник 20"/>
          <p:cNvSpPr/>
          <p:nvPr>
            <p:custDataLst>
              <p:tags r:id="rId14"/>
            </p:custDataLst>
          </p:nvPr>
        </p:nvSpPr>
        <p:spPr>
          <a:xfrm>
            <a:off x="2825626" y="1334280"/>
            <a:ext cx="192949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азработка дерева целей, постановка КПЭ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56" name="Скругленный прямоугольник 21"/>
          <p:cNvSpPr/>
          <p:nvPr>
            <p:custDataLst>
              <p:tags r:id="rId15"/>
            </p:custDataLst>
          </p:nvPr>
        </p:nvSpPr>
        <p:spPr>
          <a:xfrm>
            <a:off x="1477151" y="3509467"/>
            <a:ext cx="948680" cy="352293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7" name="Прямоугольник 22"/>
          <p:cNvSpPr/>
          <p:nvPr>
            <p:custDataLst>
              <p:tags r:id="rId16"/>
            </p:custDataLst>
          </p:nvPr>
        </p:nvSpPr>
        <p:spPr>
          <a:xfrm>
            <a:off x="1486351" y="3514510"/>
            <a:ext cx="945474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учение/стажировка рабочей группы пилотного проекта по оптимизации потоков</a:t>
            </a:r>
          </a:p>
        </p:txBody>
      </p:sp>
      <p:sp>
        <p:nvSpPr>
          <p:cNvPr id="158" name="Скругленный прямоугольник 23"/>
          <p:cNvSpPr/>
          <p:nvPr>
            <p:custDataLst>
              <p:tags r:id="rId17"/>
            </p:custDataLst>
          </p:nvPr>
        </p:nvSpPr>
        <p:spPr>
          <a:xfrm>
            <a:off x="2746579" y="2366582"/>
            <a:ext cx="2090383" cy="229943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9" name="Прямоугольник 24"/>
          <p:cNvSpPr/>
          <p:nvPr>
            <p:custDataLst>
              <p:tags r:id="rId18"/>
            </p:custDataLst>
          </p:nvPr>
        </p:nvSpPr>
        <p:spPr>
          <a:xfrm>
            <a:off x="2815428" y="2397966"/>
            <a:ext cx="1900542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10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оздание участков-образцов</a:t>
            </a:r>
          </a:p>
        </p:txBody>
      </p:sp>
      <p:sp>
        <p:nvSpPr>
          <p:cNvPr id="160" name="Скругленный прямоугольник 25"/>
          <p:cNvSpPr/>
          <p:nvPr>
            <p:custDataLst>
              <p:tags r:id="rId19"/>
            </p:custDataLst>
          </p:nvPr>
        </p:nvSpPr>
        <p:spPr>
          <a:xfrm>
            <a:off x="5390485" y="1929702"/>
            <a:ext cx="1920505" cy="409809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1" name="Прямоугольник 26"/>
          <p:cNvSpPr/>
          <p:nvPr>
            <p:custDataLst>
              <p:tags r:id="rId20"/>
            </p:custDataLst>
          </p:nvPr>
        </p:nvSpPr>
        <p:spPr>
          <a:xfrm>
            <a:off x="5407710" y="1929958"/>
            <a:ext cx="1880421" cy="4154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9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еализация мероприятий по достижению целевого состояния потоков</a:t>
            </a:r>
            <a:endParaRPr lang="ru-RU" sz="9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2" name="Скругленный прямоугольник 27"/>
          <p:cNvSpPr/>
          <p:nvPr>
            <p:custDataLst>
              <p:tags r:id="rId21"/>
            </p:custDataLst>
          </p:nvPr>
        </p:nvSpPr>
        <p:spPr>
          <a:xfrm>
            <a:off x="5381496" y="1289913"/>
            <a:ext cx="1929495" cy="443391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3" name="Прямоугольник 28"/>
          <p:cNvSpPr/>
          <p:nvPr>
            <p:custDataLst>
              <p:tags r:id="rId22"/>
            </p:custDataLst>
          </p:nvPr>
        </p:nvSpPr>
        <p:spPr>
          <a:xfrm>
            <a:off x="5468667" y="1442591"/>
            <a:ext cx="1796379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9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недрение инфоцентра предприятия</a:t>
            </a:r>
            <a:endParaRPr lang="ru-RU" sz="9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4" name="Скругленный прямоугольник 29"/>
          <p:cNvSpPr/>
          <p:nvPr>
            <p:custDataLst>
              <p:tags r:id="rId23"/>
            </p:custDataLst>
          </p:nvPr>
        </p:nvSpPr>
        <p:spPr>
          <a:xfrm>
            <a:off x="2765141" y="1603244"/>
            <a:ext cx="2071818" cy="224747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/>
            <a:endParaRPr lang="ru-RU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5" name="Скругленный прямоугольник 32"/>
          <p:cNvSpPr/>
          <p:nvPr>
            <p:custDataLst>
              <p:tags r:id="rId24"/>
            </p:custDataLst>
          </p:nvPr>
        </p:nvSpPr>
        <p:spPr>
          <a:xfrm>
            <a:off x="7538720" y="3134383"/>
            <a:ext cx="1147817" cy="309983"/>
          </a:xfrm>
          <a:prstGeom prst="roundRect">
            <a:avLst/>
          </a:prstGeom>
          <a:solidFill>
            <a:srgbClr val="8064A2">
              <a:lumMod val="40000"/>
              <a:lumOff val="60000"/>
            </a:srgbClr>
          </a:solidFill>
          <a:ln w="9525" cap="flat" cmpd="sng" algn="ctr">
            <a:solidFill>
              <a:srgbClr val="8064A2"/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6" name="Прямоугольник 33"/>
          <p:cNvSpPr/>
          <p:nvPr>
            <p:custDataLst>
              <p:tags r:id="rId25"/>
            </p:custDataLst>
          </p:nvPr>
        </p:nvSpPr>
        <p:spPr>
          <a:xfrm>
            <a:off x="7566640" y="3196655"/>
            <a:ext cx="1119894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недрение системы по работе с предложениями по улучшениям</a:t>
            </a:r>
            <a:endParaRPr lang="ru-RU" sz="6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7" name="Скругленный прямоугольник 36"/>
          <p:cNvSpPr/>
          <p:nvPr>
            <p:custDataLst>
              <p:tags r:id="rId26"/>
            </p:custDataLst>
          </p:nvPr>
        </p:nvSpPr>
        <p:spPr>
          <a:xfrm>
            <a:off x="5389896" y="3751870"/>
            <a:ext cx="1921093" cy="355366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8" name="Прямоугольник 37"/>
          <p:cNvSpPr/>
          <p:nvPr>
            <p:custDataLst>
              <p:tags r:id="rId27"/>
            </p:custDataLst>
          </p:nvPr>
        </p:nvSpPr>
        <p:spPr>
          <a:xfrm>
            <a:off x="5463482" y="3791470"/>
            <a:ext cx="177184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9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учение участников (членов РГ) проектов</a:t>
            </a:r>
            <a:endParaRPr lang="ru-RU" sz="9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9" name="Скругленный прямоугольник 38"/>
          <p:cNvSpPr/>
          <p:nvPr>
            <p:custDataLst>
              <p:tags r:id="rId28"/>
            </p:custDataLst>
          </p:nvPr>
        </p:nvSpPr>
        <p:spPr>
          <a:xfrm>
            <a:off x="1475025" y="3996259"/>
            <a:ext cx="948865" cy="152522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0" name="Прямоугольник 39"/>
          <p:cNvSpPr/>
          <p:nvPr>
            <p:custDataLst>
              <p:tags r:id="rId29"/>
            </p:custDataLst>
          </p:nvPr>
        </p:nvSpPr>
        <p:spPr>
          <a:xfrm>
            <a:off x="1513328" y="4023719"/>
            <a:ext cx="858631" cy="923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учение ГД предприятия</a:t>
            </a:r>
            <a:endParaRPr lang="ru-RU" sz="6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71" name="Скругленный прямоугольник 40"/>
          <p:cNvSpPr/>
          <p:nvPr>
            <p:custDataLst>
              <p:tags r:id="rId30"/>
            </p:custDataLst>
          </p:nvPr>
        </p:nvSpPr>
        <p:spPr>
          <a:xfrm>
            <a:off x="2733233" y="4204796"/>
            <a:ext cx="1825752" cy="132593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2" name="Прямоугольник 41"/>
          <p:cNvSpPr/>
          <p:nvPr>
            <p:custDataLst>
              <p:tags r:id="rId31"/>
            </p:custDataLst>
          </p:nvPr>
        </p:nvSpPr>
        <p:spPr>
          <a:xfrm>
            <a:off x="2802114" y="4210483"/>
            <a:ext cx="170594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тартовое совещание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73" name="Скругленный прямоугольник 42"/>
          <p:cNvSpPr/>
          <p:nvPr>
            <p:custDataLst>
              <p:tags r:id="rId32"/>
            </p:custDataLst>
          </p:nvPr>
        </p:nvSpPr>
        <p:spPr>
          <a:xfrm>
            <a:off x="4836964" y="4204347"/>
            <a:ext cx="2474023" cy="135475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4" name="Прямоугольник 43"/>
          <p:cNvSpPr/>
          <p:nvPr>
            <p:custDataLst>
              <p:tags r:id="rId33"/>
            </p:custDataLst>
          </p:nvPr>
        </p:nvSpPr>
        <p:spPr>
          <a:xfrm>
            <a:off x="4867566" y="4209449"/>
            <a:ext cx="2404454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оведение Дней информирования</a:t>
            </a:r>
          </a:p>
        </p:txBody>
      </p:sp>
      <p:cxnSp>
        <p:nvCxnSpPr>
          <p:cNvPr id="175" name="Соединительная линия уступом 46"/>
          <p:cNvCxnSpPr>
            <a:cxnSpLocks/>
            <a:endCxn id="164" idx="1"/>
          </p:cNvCxnSpPr>
          <p:nvPr>
            <p:custDataLst>
              <p:tags r:id="rId34"/>
            </p:custDataLst>
          </p:nvPr>
        </p:nvCxnSpPr>
        <p:spPr>
          <a:xfrm>
            <a:off x="2121772" y="1515825"/>
            <a:ext cx="643369" cy="199793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176" name="Соединительная линия уступом 47"/>
          <p:cNvCxnSpPr>
            <a:cxnSpLocks/>
            <a:stCxn id="153" idx="3"/>
            <a:endCxn id="214" idx="1"/>
          </p:cNvCxnSpPr>
          <p:nvPr>
            <p:custDataLst>
              <p:tags r:id="rId35"/>
            </p:custDataLst>
          </p:nvPr>
        </p:nvCxnSpPr>
        <p:spPr>
          <a:xfrm flipV="1">
            <a:off x="2423891" y="2134609"/>
            <a:ext cx="322689" cy="113994"/>
          </a:xfrm>
          <a:prstGeom prst="bentConnector3">
            <a:avLst>
              <a:gd name="adj1" fmla="val 16940"/>
            </a:avLst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177" name="Соединительная линия уступом 48"/>
          <p:cNvCxnSpPr>
            <a:cxnSpLocks/>
            <a:stCxn id="153" idx="3"/>
          </p:cNvCxnSpPr>
          <p:nvPr>
            <p:custDataLst>
              <p:tags r:id="rId36"/>
            </p:custDataLst>
          </p:nvPr>
        </p:nvCxnSpPr>
        <p:spPr>
          <a:xfrm>
            <a:off x="2423891" y="2248603"/>
            <a:ext cx="316419" cy="149057"/>
          </a:xfrm>
          <a:prstGeom prst="bentConnector3">
            <a:avLst>
              <a:gd name="adj1" fmla="val 17088"/>
            </a:avLst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178" name="Соединительная линия уступом 49"/>
          <p:cNvCxnSpPr>
            <a:cxnSpLocks/>
            <a:stCxn id="214" idx="3"/>
            <a:endCxn id="160" idx="1"/>
          </p:cNvCxnSpPr>
          <p:nvPr>
            <p:custDataLst>
              <p:tags r:id="rId37"/>
            </p:custDataLst>
          </p:nvPr>
        </p:nvCxnSpPr>
        <p:spPr>
          <a:xfrm flipV="1">
            <a:off x="4836964" y="2134607"/>
            <a:ext cx="553521" cy="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179" name="Соединительная линия уступом 50"/>
          <p:cNvCxnSpPr/>
          <p:nvPr>
            <p:custDataLst>
              <p:tags r:id="rId38"/>
            </p:custDataLst>
          </p:nvPr>
        </p:nvCxnSpPr>
        <p:spPr>
          <a:xfrm>
            <a:off x="4558984" y="2757486"/>
            <a:ext cx="313973" cy="183947"/>
          </a:xfrm>
          <a:prstGeom prst="bentConnector2">
            <a:avLst/>
          </a:prstGeom>
          <a:noFill/>
          <a:ln w="9525" cap="flat" cmpd="sng" algn="ctr">
            <a:solidFill>
              <a:srgbClr val="8064A2"/>
            </a:solidFill>
            <a:prstDash val="solid"/>
            <a:tailEnd type="triangle"/>
          </a:ln>
          <a:effectLst/>
        </p:spPr>
      </p:cxnSp>
      <p:cxnSp>
        <p:nvCxnSpPr>
          <p:cNvPr id="180" name="Соединительная линия уступом 51"/>
          <p:cNvCxnSpPr>
            <a:cxnSpLocks/>
            <a:stCxn id="152" idx="3"/>
            <a:endCxn id="162" idx="1"/>
          </p:cNvCxnSpPr>
          <p:nvPr>
            <p:custDataLst>
              <p:tags r:id="rId39"/>
            </p:custDataLst>
          </p:nvPr>
        </p:nvCxnSpPr>
        <p:spPr>
          <a:xfrm>
            <a:off x="4836959" y="1400854"/>
            <a:ext cx="544537" cy="110755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tailEnd type="triangle"/>
          </a:ln>
          <a:effectLst/>
        </p:spPr>
      </p:cxnSp>
      <p:cxnSp>
        <p:nvCxnSpPr>
          <p:cNvPr id="181" name="Соединительная линия уступом 52"/>
          <p:cNvCxnSpPr>
            <a:cxnSpLocks/>
            <a:stCxn id="164" idx="3"/>
            <a:endCxn id="162" idx="1"/>
          </p:cNvCxnSpPr>
          <p:nvPr>
            <p:custDataLst>
              <p:tags r:id="rId40"/>
            </p:custDataLst>
          </p:nvPr>
        </p:nvCxnSpPr>
        <p:spPr>
          <a:xfrm flipV="1">
            <a:off x="4836959" y="1511609"/>
            <a:ext cx="544537" cy="204009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tailEnd type="triangle"/>
          </a:ln>
          <a:effectLst/>
        </p:spPr>
      </p:cxnSp>
      <p:cxnSp>
        <p:nvCxnSpPr>
          <p:cNvPr id="182" name="Прямая со стрелкой 53"/>
          <p:cNvCxnSpPr>
            <a:cxnSpLocks/>
            <a:endCxn id="228" idx="1"/>
          </p:cNvCxnSpPr>
          <p:nvPr>
            <p:custDataLst>
              <p:tags r:id="rId41"/>
            </p:custDataLst>
          </p:nvPr>
        </p:nvCxnSpPr>
        <p:spPr>
          <a:xfrm flipV="1">
            <a:off x="1330231" y="4472179"/>
            <a:ext cx="150908" cy="4970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183" name="Соединительная линия уступом 54"/>
          <p:cNvCxnSpPr>
            <a:cxnSpLocks/>
            <a:stCxn id="237" idx="3"/>
            <a:endCxn id="167" idx="1"/>
          </p:cNvCxnSpPr>
          <p:nvPr>
            <p:custDataLst>
              <p:tags r:id="rId42"/>
            </p:custDataLst>
          </p:nvPr>
        </p:nvCxnSpPr>
        <p:spPr>
          <a:xfrm>
            <a:off x="4872774" y="3713076"/>
            <a:ext cx="517122" cy="216477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9BBB59"/>
            </a:solidFill>
            <a:prstDash val="solid"/>
            <a:tailEnd type="triangle"/>
          </a:ln>
          <a:effectLst/>
        </p:spPr>
      </p:cxnSp>
      <p:cxnSp>
        <p:nvCxnSpPr>
          <p:cNvPr id="184" name="Соединительная линия уступом 58"/>
          <p:cNvCxnSpPr>
            <a:cxnSpLocks/>
            <a:stCxn id="169" idx="3"/>
          </p:cNvCxnSpPr>
          <p:nvPr>
            <p:custDataLst>
              <p:tags r:id="rId43"/>
            </p:custDataLst>
          </p:nvPr>
        </p:nvCxnSpPr>
        <p:spPr>
          <a:xfrm flipV="1">
            <a:off x="2423890" y="3406054"/>
            <a:ext cx="502141" cy="666466"/>
          </a:xfrm>
          <a:prstGeom prst="bentConnector2">
            <a:avLst/>
          </a:prstGeom>
          <a:noFill/>
          <a:ln w="9525" cap="flat" cmpd="sng" algn="ctr">
            <a:solidFill>
              <a:srgbClr val="9BBB59"/>
            </a:solidFill>
            <a:prstDash val="solid"/>
            <a:tailEnd type="triangle"/>
          </a:ln>
          <a:effectLst/>
        </p:spPr>
      </p:cxnSp>
      <p:cxnSp>
        <p:nvCxnSpPr>
          <p:cNvPr id="185" name="Соединительная линия уступом 63"/>
          <p:cNvCxnSpPr>
            <a:cxnSpLocks/>
            <a:stCxn id="162" idx="3"/>
          </p:cNvCxnSpPr>
          <p:nvPr>
            <p:custDataLst>
              <p:tags r:id="rId44"/>
            </p:custDataLst>
          </p:nvPr>
        </p:nvCxnSpPr>
        <p:spPr>
          <a:xfrm flipH="1">
            <a:off x="6131561" y="1511609"/>
            <a:ext cx="1179430" cy="1429821"/>
          </a:xfrm>
          <a:prstGeom prst="bentConnector4">
            <a:avLst>
              <a:gd name="adj1" fmla="val -12598"/>
              <a:gd name="adj2" fmla="val 70277"/>
            </a:avLst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tailEnd type="triangle"/>
          </a:ln>
          <a:effectLst/>
        </p:spPr>
      </p:cxnSp>
      <p:cxnSp>
        <p:nvCxnSpPr>
          <p:cNvPr id="186" name="Прямая соединительная линия 66"/>
          <p:cNvCxnSpPr/>
          <p:nvPr>
            <p:custDataLst>
              <p:tags r:id="rId45"/>
            </p:custDataLst>
          </p:nvPr>
        </p:nvCxnSpPr>
        <p:spPr>
          <a:xfrm>
            <a:off x="1331247" y="1446841"/>
            <a:ext cx="0" cy="3030308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</a:ln>
          <a:effectLst/>
        </p:spPr>
      </p:cxnSp>
      <p:cxnSp>
        <p:nvCxnSpPr>
          <p:cNvPr id="187" name="Прямая со стрелкой 67"/>
          <p:cNvCxnSpPr/>
          <p:nvPr>
            <p:custDataLst>
              <p:tags r:id="rId46"/>
            </p:custDataLst>
          </p:nvPr>
        </p:nvCxnSpPr>
        <p:spPr>
          <a:xfrm>
            <a:off x="1330231" y="2225770"/>
            <a:ext cx="150909" cy="1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188" name="Прямая со стрелкой 68"/>
          <p:cNvCxnSpPr>
            <a:cxnSpLocks/>
          </p:cNvCxnSpPr>
          <p:nvPr>
            <p:custDataLst>
              <p:tags r:id="rId47"/>
            </p:custDataLst>
          </p:nvPr>
        </p:nvCxnSpPr>
        <p:spPr>
          <a:xfrm>
            <a:off x="1324976" y="2860147"/>
            <a:ext cx="1421603" cy="1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sp>
        <p:nvSpPr>
          <p:cNvPr id="189" name="Пятиугольник 69"/>
          <p:cNvSpPr/>
          <p:nvPr>
            <p:custDataLst>
              <p:tags r:id="rId48"/>
            </p:custDataLst>
          </p:nvPr>
        </p:nvSpPr>
        <p:spPr>
          <a:xfrm>
            <a:off x="7401127" y="1055301"/>
            <a:ext cx="1346358" cy="183522"/>
          </a:xfrm>
          <a:prstGeom prst="homePlate">
            <a:avLst>
              <a:gd name="adj" fmla="val 10366"/>
            </a:avLst>
          </a:prstGeom>
          <a:solidFill>
            <a:schemeClr val="accent5"/>
          </a:solidFill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189000" tIns="0" rIns="0" bIns="0" rtlCol="0" anchor="ctr"/>
          <a:lstStyle/>
          <a:p>
            <a:pPr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иражирование</a:t>
            </a:r>
          </a:p>
        </p:txBody>
      </p:sp>
      <p:sp>
        <p:nvSpPr>
          <p:cNvPr id="190" name="Пятиугольник 70"/>
          <p:cNvSpPr/>
          <p:nvPr>
            <p:custDataLst>
              <p:tags r:id="rId49"/>
            </p:custDataLst>
          </p:nvPr>
        </p:nvSpPr>
        <p:spPr>
          <a:xfrm>
            <a:off x="4894681" y="1055301"/>
            <a:ext cx="2557679" cy="183522"/>
          </a:xfrm>
          <a:prstGeom prst="homePlate">
            <a:avLst>
              <a:gd name="adj" fmla="val 10366"/>
            </a:avLst>
          </a:prstGeom>
          <a:solidFill>
            <a:srgbClr val="EBE99B">
              <a:lumMod val="60000"/>
              <a:lumOff val="40000"/>
            </a:srgbClr>
          </a:solidFill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39856" tIns="0" rIns="0" bIns="0" rtlCol="0" anchor="ctr"/>
          <a:lstStyle/>
          <a:p>
            <a:pPr algn="ctr" defTabSz="683953"/>
            <a:r>
              <a:rPr lang="ru-RU" sz="675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дрение улучшений</a:t>
            </a:r>
          </a:p>
        </p:txBody>
      </p:sp>
      <p:sp>
        <p:nvSpPr>
          <p:cNvPr id="191" name="Пятиугольник 71"/>
          <p:cNvSpPr/>
          <p:nvPr>
            <p:custDataLst>
              <p:tags r:id="rId50"/>
            </p:custDataLst>
          </p:nvPr>
        </p:nvSpPr>
        <p:spPr>
          <a:xfrm>
            <a:off x="2567106" y="1055301"/>
            <a:ext cx="2385084" cy="183522"/>
          </a:xfrm>
          <a:prstGeom prst="homePlate">
            <a:avLst>
              <a:gd name="adj" fmla="val 10366"/>
            </a:avLst>
          </a:prstGeom>
          <a:solidFill>
            <a:srgbClr val="EBE99B">
              <a:lumMod val="60000"/>
              <a:lumOff val="40000"/>
            </a:srgbClr>
          </a:solidFill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39856" tIns="0" rIns="0" bIns="0" rtlCol="0" anchor="ctr"/>
          <a:lstStyle/>
          <a:p>
            <a:pPr defTabSz="683953"/>
            <a:r>
              <a:rPr lang="ru-RU" sz="675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агностика и планирование</a:t>
            </a:r>
          </a:p>
        </p:txBody>
      </p:sp>
      <p:sp>
        <p:nvSpPr>
          <p:cNvPr id="192" name="Пятиугольник 72"/>
          <p:cNvSpPr/>
          <p:nvPr>
            <p:custDataLst>
              <p:tags r:id="rId51"/>
            </p:custDataLst>
          </p:nvPr>
        </p:nvSpPr>
        <p:spPr>
          <a:xfrm>
            <a:off x="1330233" y="1055301"/>
            <a:ext cx="1230122" cy="183522"/>
          </a:xfrm>
          <a:prstGeom prst="homePlate">
            <a:avLst>
              <a:gd name="adj" fmla="val 10366"/>
            </a:avLst>
          </a:prstGeom>
          <a:solidFill>
            <a:srgbClr val="EBE99B">
              <a:lumMod val="60000"/>
              <a:lumOff val="40000"/>
            </a:srgbClr>
          </a:solidFill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39856" tIns="0" rIns="0" bIns="0" rtlCol="0" anchor="ctr"/>
          <a:lstStyle/>
          <a:p>
            <a:pPr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ка </a:t>
            </a:r>
          </a:p>
        </p:txBody>
      </p:sp>
      <p:cxnSp>
        <p:nvCxnSpPr>
          <p:cNvPr id="193" name="Прямая со стрелкой 88"/>
          <p:cNvCxnSpPr/>
          <p:nvPr>
            <p:custDataLst>
              <p:tags r:id="rId52"/>
            </p:custDataLst>
          </p:nvPr>
        </p:nvCxnSpPr>
        <p:spPr>
          <a:xfrm>
            <a:off x="1330231" y="4104578"/>
            <a:ext cx="150909" cy="1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sp>
        <p:nvSpPr>
          <p:cNvPr id="194" name="TextBox 193"/>
          <p:cNvSpPr txBox="1"/>
          <p:nvPr>
            <p:custDataLst>
              <p:tags r:id="rId53"/>
            </p:custDataLst>
          </p:nvPr>
        </p:nvSpPr>
        <p:spPr>
          <a:xfrm>
            <a:off x="1392091" y="1196350"/>
            <a:ext cx="1251191" cy="276835"/>
          </a:xfrm>
          <a:prstGeom prst="rect">
            <a:avLst/>
          </a:prstGeom>
          <a:noFill/>
        </p:spPr>
        <p:txBody>
          <a:bodyPr wrap="square" lIns="60798" tIns="30399" rIns="60798" bIns="30399" rtlCol="0" anchor="ctr">
            <a:spAutoFit/>
          </a:bodyPr>
          <a:lstStyle/>
          <a:p>
            <a:pPr defTabSz="683953"/>
            <a:r>
              <a:rPr lang="ru-RU" sz="7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бор предприятия и подписание соглашения</a:t>
            </a:r>
          </a:p>
        </p:txBody>
      </p:sp>
      <p:sp>
        <p:nvSpPr>
          <p:cNvPr id="195" name="Скругленный прямоугольник 91"/>
          <p:cNvSpPr/>
          <p:nvPr>
            <p:custDataLst>
              <p:tags r:id="rId54"/>
            </p:custDataLst>
          </p:nvPr>
        </p:nvSpPr>
        <p:spPr>
          <a:xfrm>
            <a:off x="7544542" y="1270522"/>
            <a:ext cx="1143878" cy="176318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6" name="Прямоугольник 92"/>
          <p:cNvSpPr/>
          <p:nvPr>
            <p:custDataLst>
              <p:tags r:id="rId55"/>
            </p:custDataLst>
          </p:nvPr>
        </p:nvSpPr>
        <p:spPr>
          <a:xfrm>
            <a:off x="7594601" y="1308882"/>
            <a:ext cx="1093816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7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Актуализация целей и КПЭ</a:t>
            </a:r>
          </a:p>
        </p:txBody>
      </p:sp>
      <p:sp>
        <p:nvSpPr>
          <p:cNvPr id="197" name="Скругленный прямоугольник 93"/>
          <p:cNvSpPr/>
          <p:nvPr>
            <p:custDataLst>
              <p:tags r:id="rId56"/>
            </p:custDataLst>
          </p:nvPr>
        </p:nvSpPr>
        <p:spPr>
          <a:xfrm>
            <a:off x="7544539" y="1890326"/>
            <a:ext cx="1141998" cy="229943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8" name="Прямоугольник 94"/>
          <p:cNvSpPr/>
          <p:nvPr>
            <p:custDataLst>
              <p:tags r:id="rId57"/>
            </p:custDataLst>
          </p:nvPr>
        </p:nvSpPr>
        <p:spPr>
          <a:xfrm>
            <a:off x="7594602" y="1916533"/>
            <a:ext cx="109381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7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ыбор и оптимизация новых потоков</a:t>
            </a:r>
            <a:endParaRPr lang="ru-RU" sz="7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99" name="Скругленный прямоугольник 95"/>
          <p:cNvSpPr/>
          <p:nvPr>
            <p:custDataLst>
              <p:tags r:id="rId58"/>
            </p:custDataLst>
          </p:nvPr>
        </p:nvSpPr>
        <p:spPr>
          <a:xfrm>
            <a:off x="7539336" y="2163503"/>
            <a:ext cx="1147201" cy="361395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00" name="Прямоугольник 96"/>
          <p:cNvSpPr/>
          <p:nvPr>
            <p:custDataLst>
              <p:tags r:id="rId59"/>
            </p:custDataLst>
          </p:nvPr>
        </p:nvSpPr>
        <p:spPr>
          <a:xfrm>
            <a:off x="7592722" y="2175159"/>
            <a:ext cx="1093815" cy="276999"/>
          </a:xfrm>
          <a:prstGeom prst="rect">
            <a:avLst/>
          </a:prstGeom>
          <a:ln>
            <a:noFill/>
            <a:prstDash val="lgDash"/>
          </a:ln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еализация мероприятий по достижению/приближению идеального состояния потоков</a:t>
            </a:r>
          </a:p>
        </p:txBody>
      </p:sp>
      <p:sp>
        <p:nvSpPr>
          <p:cNvPr id="201" name="Скругленный прямоугольник 97"/>
          <p:cNvSpPr/>
          <p:nvPr>
            <p:custDataLst>
              <p:tags r:id="rId60"/>
            </p:custDataLst>
          </p:nvPr>
        </p:nvSpPr>
        <p:spPr>
          <a:xfrm>
            <a:off x="7549589" y="2711494"/>
            <a:ext cx="1136947" cy="371975"/>
          </a:xfrm>
          <a:prstGeom prst="roundRect">
            <a:avLst>
              <a:gd name="adj" fmla="val 10521"/>
            </a:avLst>
          </a:prstGeom>
          <a:solidFill>
            <a:srgbClr val="8064A2">
              <a:lumMod val="40000"/>
              <a:lumOff val="60000"/>
            </a:srgbClr>
          </a:solidFill>
          <a:ln w="9525" cap="flat" cmpd="sng" algn="ctr">
            <a:solidFill>
              <a:srgbClr val="8064A2"/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02" name="Прямоугольник 98"/>
          <p:cNvSpPr/>
          <p:nvPr>
            <p:custDataLst>
              <p:tags r:id="rId61"/>
            </p:custDataLst>
          </p:nvPr>
        </p:nvSpPr>
        <p:spPr>
          <a:xfrm>
            <a:off x="7599508" y="2721649"/>
            <a:ext cx="113694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ткрытие и реализация проектов по оптимизации дополнительных потоков и процессов</a:t>
            </a:r>
            <a:endParaRPr lang="ru-RU" sz="6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03" name="Овал 105"/>
          <p:cNvSpPr/>
          <p:nvPr>
            <p:custDataLst>
              <p:tags r:id="rId62"/>
            </p:custDataLst>
          </p:nvPr>
        </p:nvSpPr>
        <p:spPr>
          <a:xfrm>
            <a:off x="1259897" y="1270524"/>
            <a:ext cx="167592" cy="181427"/>
          </a:xfrm>
          <a:prstGeom prst="ellipse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900" b="1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4" name="Прямоугольник 110"/>
          <p:cNvSpPr/>
          <p:nvPr>
            <p:custDataLst>
              <p:tags r:id="rId63"/>
            </p:custDataLst>
          </p:nvPr>
        </p:nvSpPr>
        <p:spPr>
          <a:xfrm>
            <a:off x="2851409" y="1658530"/>
            <a:ext cx="1875930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7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недрение пилотного информационного центра</a:t>
            </a:r>
            <a:endParaRPr lang="ru-RU" sz="7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205" name="Прямая со стрелкой 112"/>
          <p:cNvCxnSpPr/>
          <p:nvPr>
            <p:custDataLst>
              <p:tags r:id="rId64"/>
            </p:custDataLst>
          </p:nvPr>
        </p:nvCxnSpPr>
        <p:spPr>
          <a:xfrm>
            <a:off x="1330231" y="3668117"/>
            <a:ext cx="150909" cy="1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206" name="Соединительная линия уступом 113"/>
          <p:cNvCxnSpPr>
            <a:cxnSpLocks/>
            <a:endCxn id="152" idx="1"/>
          </p:cNvCxnSpPr>
          <p:nvPr/>
        </p:nvCxnSpPr>
        <p:spPr>
          <a:xfrm flipV="1">
            <a:off x="2121767" y="1400854"/>
            <a:ext cx="643374" cy="114968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207" name="Прямая со стрелкой 114"/>
          <p:cNvCxnSpPr/>
          <p:nvPr>
            <p:custDataLst>
              <p:tags r:id="rId65"/>
            </p:custDataLst>
          </p:nvPr>
        </p:nvCxnSpPr>
        <p:spPr>
          <a:xfrm>
            <a:off x="1330231" y="1515825"/>
            <a:ext cx="794543" cy="0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208" name="Соединительная линия уступом 116"/>
          <p:cNvCxnSpPr>
            <a:cxnSpLocks/>
            <a:stCxn id="214" idx="3"/>
            <a:endCxn id="242" idx="0"/>
          </p:cNvCxnSpPr>
          <p:nvPr>
            <p:custDataLst>
              <p:tags r:id="rId66"/>
            </p:custDataLst>
          </p:nvPr>
        </p:nvCxnSpPr>
        <p:spPr>
          <a:xfrm>
            <a:off x="4836964" y="2134609"/>
            <a:ext cx="192799" cy="806821"/>
          </a:xfrm>
          <a:prstGeom prst="bentConnector2">
            <a:avLst/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209" name="Соединительная линия уступом 117"/>
          <p:cNvCxnSpPr>
            <a:cxnSpLocks/>
            <a:stCxn id="153" idx="3"/>
            <a:endCxn id="242" idx="1"/>
          </p:cNvCxnSpPr>
          <p:nvPr>
            <p:custDataLst>
              <p:tags r:id="rId67"/>
            </p:custDataLst>
          </p:nvPr>
        </p:nvCxnSpPr>
        <p:spPr>
          <a:xfrm>
            <a:off x="2423891" y="2248603"/>
            <a:ext cx="324644" cy="918039"/>
          </a:xfrm>
          <a:prstGeom prst="bentConnector3">
            <a:avLst>
              <a:gd name="adj1" fmla="val 36699"/>
            </a:avLst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210" name="Соединительная линия уступом 120"/>
          <p:cNvCxnSpPr>
            <a:cxnSpLocks/>
            <a:stCxn id="242" idx="3"/>
            <a:endCxn id="167" idx="0"/>
          </p:cNvCxnSpPr>
          <p:nvPr>
            <p:custDataLst>
              <p:tags r:id="rId68"/>
            </p:custDataLst>
          </p:nvPr>
        </p:nvCxnSpPr>
        <p:spPr>
          <a:xfrm flipH="1">
            <a:off x="6350443" y="3166642"/>
            <a:ext cx="960547" cy="585228"/>
          </a:xfrm>
          <a:prstGeom prst="bentConnector4">
            <a:avLst>
              <a:gd name="adj1" fmla="val -5553"/>
              <a:gd name="adj2" fmla="val 61429"/>
            </a:avLst>
          </a:prstGeom>
          <a:noFill/>
          <a:ln w="9525" cap="flat" cmpd="sng" algn="ctr">
            <a:solidFill>
              <a:srgbClr val="8064A2"/>
            </a:solidFill>
            <a:prstDash val="solid"/>
            <a:tailEnd type="triangle"/>
          </a:ln>
          <a:effectLst/>
        </p:spPr>
      </p:cxnSp>
      <p:cxnSp>
        <p:nvCxnSpPr>
          <p:cNvPr id="211" name="Соединительная линия уступом 121"/>
          <p:cNvCxnSpPr>
            <a:cxnSpLocks/>
            <a:stCxn id="160" idx="3"/>
          </p:cNvCxnSpPr>
          <p:nvPr>
            <p:custDataLst>
              <p:tags r:id="rId69"/>
            </p:custDataLst>
          </p:nvPr>
        </p:nvCxnSpPr>
        <p:spPr>
          <a:xfrm flipH="1">
            <a:off x="6776720" y="2134607"/>
            <a:ext cx="534270" cy="806823"/>
          </a:xfrm>
          <a:prstGeom prst="bentConnector4">
            <a:avLst>
              <a:gd name="adj1" fmla="val -42787"/>
              <a:gd name="adj2" fmla="val 62698"/>
            </a:avLst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sp>
        <p:nvSpPr>
          <p:cNvPr id="212" name="Скругленный прямоугольник 122"/>
          <p:cNvSpPr/>
          <p:nvPr>
            <p:custDataLst>
              <p:tags r:id="rId70"/>
            </p:custDataLst>
          </p:nvPr>
        </p:nvSpPr>
        <p:spPr>
          <a:xfrm>
            <a:off x="2753744" y="2660397"/>
            <a:ext cx="2076947" cy="229943"/>
          </a:xfrm>
          <a:prstGeom prst="roundRect">
            <a:avLst/>
          </a:prstGeom>
          <a:solidFill>
            <a:srgbClr val="8064A2">
              <a:lumMod val="40000"/>
              <a:lumOff val="60000"/>
            </a:srgbClr>
          </a:solidFill>
          <a:ln w="9525" cap="flat" cmpd="sng" algn="ctr">
            <a:solidFill>
              <a:srgbClr val="8064A2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3" name="Прямоугольник 123"/>
          <p:cNvSpPr/>
          <p:nvPr>
            <p:custDataLst>
              <p:tags r:id="rId71"/>
            </p:custDataLst>
          </p:nvPr>
        </p:nvSpPr>
        <p:spPr>
          <a:xfrm>
            <a:off x="2884950" y="2687188"/>
            <a:ext cx="190059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10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Формирование проектного офиса</a:t>
            </a:r>
            <a:endParaRPr lang="ru-RU" sz="10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14" name="Скругленный прямоугольник 124"/>
          <p:cNvSpPr/>
          <p:nvPr>
            <p:custDataLst>
              <p:tags r:id="rId72"/>
            </p:custDataLst>
          </p:nvPr>
        </p:nvSpPr>
        <p:spPr>
          <a:xfrm>
            <a:off x="2746580" y="1929704"/>
            <a:ext cx="2090384" cy="409810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5" name="Прямоугольник 125"/>
          <p:cNvSpPr/>
          <p:nvPr>
            <p:custDataLst>
              <p:tags r:id="rId73"/>
            </p:custDataLst>
          </p:nvPr>
        </p:nvSpPr>
        <p:spPr>
          <a:xfrm>
            <a:off x="2822434" y="1955905"/>
            <a:ext cx="1966155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Анализ текущего и определение целевого, идеального состояния потоков, разработка мероприятий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16" name="Скругленный прямоугольник 135"/>
          <p:cNvSpPr/>
          <p:nvPr>
            <p:custDataLst>
              <p:tags r:id="rId74"/>
            </p:custDataLst>
          </p:nvPr>
        </p:nvSpPr>
        <p:spPr>
          <a:xfrm>
            <a:off x="7544539" y="1488298"/>
            <a:ext cx="1143877" cy="345071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7" name="Прямоугольник 133"/>
          <p:cNvSpPr/>
          <p:nvPr>
            <p:custDataLst>
              <p:tags r:id="rId75"/>
            </p:custDataLst>
          </p:nvPr>
        </p:nvSpPr>
        <p:spPr>
          <a:xfrm>
            <a:off x="7594602" y="1498855"/>
            <a:ext cx="104016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недрение взаимосвязан-ных инфоцентров предприятия, цехов, малых групп</a:t>
            </a:r>
          </a:p>
        </p:txBody>
      </p:sp>
      <p:sp>
        <p:nvSpPr>
          <p:cNvPr id="218" name="Скругленный прямоугольник 156"/>
          <p:cNvSpPr/>
          <p:nvPr>
            <p:custDataLst>
              <p:tags r:id="rId76"/>
            </p:custDataLst>
          </p:nvPr>
        </p:nvSpPr>
        <p:spPr>
          <a:xfrm>
            <a:off x="2733232" y="3831475"/>
            <a:ext cx="2134331" cy="321047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9" name="Прямоугольник 163"/>
          <p:cNvSpPr/>
          <p:nvPr>
            <p:custDataLst>
              <p:tags r:id="rId77"/>
            </p:custDataLst>
          </p:nvPr>
        </p:nvSpPr>
        <p:spPr>
          <a:xfrm>
            <a:off x="2804106" y="3861759"/>
            <a:ext cx="204350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учение руководителей предприятия и участников (членов РГ) проектов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220" name="Соединительная линия уступом 168"/>
          <p:cNvCxnSpPr>
            <a:cxnSpLocks/>
            <a:stCxn id="157" idx="3"/>
            <a:endCxn id="212" idx="1"/>
          </p:cNvCxnSpPr>
          <p:nvPr>
            <p:custDataLst>
              <p:tags r:id="rId78"/>
            </p:custDataLst>
          </p:nvPr>
        </p:nvCxnSpPr>
        <p:spPr>
          <a:xfrm flipV="1">
            <a:off x="2431825" y="2775369"/>
            <a:ext cx="321919" cy="923807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9BBB59"/>
            </a:solidFill>
            <a:prstDash val="solid"/>
            <a:tailEnd type="triangle"/>
          </a:ln>
          <a:effectLst/>
        </p:spPr>
      </p:cxnSp>
      <p:cxnSp>
        <p:nvCxnSpPr>
          <p:cNvPr id="221" name="Соединительная линия уступом 172"/>
          <p:cNvCxnSpPr>
            <a:cxnSpLocks/>
            <a:stCxn id="157" idx="3"/>
            <a:endCxn id="212" idx="1"/>
          </p:cNvCxnSpPr>
          <p:nvPr>
            <p:custDataLst>
              <p:tags r:id="rId79"/>
            </p:custDataLst>
          </p:nvPr>
        </p:nvCxnSpPr>
        <p:spPr>
          <a:xfrm flipV="1">
            <a:off x="2431825" y="2775369"/>
            <a:ext cx="321919" cy="923807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9BBB59"/>
            </a:solidFill>
            <a:prstDash val="solid"/>
            <a:tailEnd type="triangle"/>
          </a:ln>
          <a:effectLst/>
        </p:spPr>
      </p:cxnSp>
      <p:cxnSp>
        <p:nvCxnSpPr>
          <p:cNvPr id="222" name="Соединительная линия уступом 179"/>
          <p:cNvCxnSpPr>
            <a:cxnSpLocks/>
            <a:endCxn id="218" idx="1"/>
          </p:cNvCxnSpPr>
          <p:nvPr>
            <p:custDataLst>
              <p:tags r:id="rId80"/>
            </p:custDataLst>
          </p:nvPr>
        </p:nvCxnSpPr>
        <p:spPr>
          <a:xfrm>
            <a:off x="2141034" y="3881300"/>
            <a:ext cx="592198" cy="110699"/>
          </a:xfrm>
          <a:prstGeom prst="bentConnector3">
            <a:avLst>
              <a:gd name="adj1" fmla="val 65441"/>
            </a:avLst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223" name="Соединительная линия уступом 180"/>
          <p:cNvCxnSpPr>
            <a:cxnSpLocks/>
            <a:endCxn id="237" idx="1"/>
          </p:cNvCxnSpPr>
          <p:nvPr/>
        </p:nvCxnSpPr>
        <p:spPr>
          <a:xfrm flipV="1">
            <a:off x="2141029" y="3713076"/>
            <a:ext cx="593273" cy="168222"/>
          </a:xfrm>
          <a:prstGeom prst="bentConnector3">
            <a:avLst>
              <a:gd name="adj1" fmla="val 80183"/>
            </a:avLst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224" name="Прямая со стрелкой 181"/>
          <p:cNvCxnSpPr/>
          <p:nvPr>
            <p:custDataLst>
              <p:tags r:id="rId81"/>
            </p:custDataLst>
          </p:nvPr>
        </p:nvCxnSpPr>
        <p:spPr>
          <a:xfrm>
            <a:off x="1330231" y="3884651"/>
            <a:ext cx="794543" cy="0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225" name="Скругленный прямоугольник 189"/>
          <p:cNvSpPr/>
          <p:nvPr>
            <p:custDataLst>
              <p:tags r:id="rId82"/>
            </p:custDataLst>
          </p:nvPr>
        </p:nvSpPr>
        <p:spPr>
          <a:xfrm>
            <a:off x="7549589" y="3716100"/>
            <a:ext cx="1164946" cy="355366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26" name="Прямоугольник 190"/>
          <p:cNvSpPr/>
          <p:nvPr>
            <p:custDataLst>
              <p:tags r:id="rId83"/>
            </p:custDataLst>
          </p:nvPr>
        </p:nvSpPr>
        <p:spPr>
          <a:xfrm>
            <a:off x="7566640" y="3769696"/>
            <a:ext cx="112438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учение участников (членов РГ) проектов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227" name="Соединительная линия уступом 201"/>
          <p:cNvCxnSpPr>
            <a:cxnSpLocks/>
          </p:cNvCxnSpPr>
          <p:nvPr>
            <p:custDataLst>
              <p:tags r:id="rId84"/>
            </p:custDataLst>
          </p:nvPr>
        </p:nvCxnSpPr>
        <p:spPr>
          <a:xfrm rot="5400000" flipH="1" flipV="1">
            <a:off x="4763267" y="3497670"/>
            <a:ext cx="593311" cy="384719"/>
          </a:xfrm>
          <a:prstGeom prst="bentConnector3">
            <a:avLst>
              <a:gd name="adj1" fmla="val -7366"/>
            </a:avLst>
          </a:prstGeom>
          <a:noFill/>
          <a:ln w="9525" cap="flat" cmpd="sng" algn="ctr">
            <a:solidFill>
              <a:srgbClr val="9BBB59"/>
            </a:solidFill>
            <a:prstDash val="solid"/>
            <a:tailEnd type="triangle"/>
          </a:ln>
          <a:effectLst/>
        </p:spPr>
      </p:cxnSp>
      <p:sp>
        <p:nvSpPr>
          <p:cNvPr id="228" name="Скругленный прямоугольник 219"/>
          <p:cNvSpPr/>
          <p:nvPr>
            <p:custDataLst>
              <p:tags r:id="rId85"/>
            </p:custDataLst>
          </p:nvPr>
        </p:nvSpPr>
        <p:spPr>
          <a:xfrm>
            <a:off x="1481139" y="4270505"/>
            <a:ext cx="949823" cy="403348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29" name="Прямоугольник 220"/>
          <p:cNvSpPr/>
          <p:nvPr>
            <p:custDataLst>
              <p:tags r:id="rId86"/>
            </p:custDataLst>
          </p:nvPr>
        </p:nvSpPr>
        <p:spPr>
          <a:xfrm>
            <a:off x="1523191" y="4335434"/>
            <a:ext cx="87692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9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иагностика предприятия</a:t>
            </a:r>
            <a:endParaRPr lang="ru-RU" sz="9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30" name="Скругленный прямоугольник 233"/>
          <p:cNvSpPr/>
          <p:nvPr>
            <p:custDataLst>
              <p:tags r:id="rId87"/>
            </p:custDataLst>
          </p:nvPr>
        </p:nvSpPr>
        <p:spPr>
          <a:xfrm>
            <a:off x="3810432" y="4598888"/>
            <a:ext cx="3500554" cy="125919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1" name="Прямоугольник 234"/>
          <p:cNvSpPr/>
          <p:nvPr>
            <p:custDataLst>
              <p:tags r:id="rId88"/>
            </p:custDataLst>
          </p:nvPr>
        </p:nvSpPr>
        <p:spPr>
          <a:xfrm>
            <a:off x="3828921" y="4596456"/>
            <a:ext cx="2444566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еализация плана коммуникации и мотивации</a:t>
            </a:r>
          </a:p>
        </p:txBody>
      </p:sp>
      <p:sp>
        <p:nvSpPr>
          <p:cNvPr id="232" name="Скругленный прямоугольник 238"/>
          <p:cNvSpPr/>
          <p:nvPr>
            <p:custDataLst>
              <p:tags r:id="rId89"/>
            </p:custDataLst>
          </p:nvPr>
        </p:nvSpPr>
        <p:spPr>
          <a:xfrm>
            <a:off x="7549589" y="4189891"/>
            <a:ext cx="1157935" cy="297490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3" name="Прямоугольник 239"/>
          <p:cNvSpPr/>
          <p:nvPr>
            <p:custDataLst>
              <p:tags r:id="rId90"/>
            </p:custDataLst>
          </p:nvPr>
        </p:nvSpPr>
        <p:spPr>
          <a:xfrm>
            <a:off x="7592722" y="4221291"/>
            <a:ext cx="1108459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7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альнейшая реализация плана коммуникаций и мотив.</a:t>
            </a:r>
          </a:p>
        </p:txBody>
      </p:sp>
      <p:cxnSp>
        <p:nvCxnSpPr>
          <p:cNvPr id="234" name="Соединительная линия уступом 242"/>
          <p:cNvCxnSpPr>
            <a:cxnSpLocks/>
            <a:stCxn id="228" idx="3"/>
            <a:endCxn id="171" idx="1"/>
          </p:cNvCxnSpPr>
          <p:nvPr>
            <p:custDataLst>
              <p:tags r:id="rId91"/>
            </p:custDataLst>
          </p:nvPr>
        </p:nvCxnSpPr>
        <p:spPr>
          <a:xfrm flipV="1">
            <a:off x="2430962" y="4271093"/>
            <a:ext cx="302271" cy="201086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D98616"/>
            </a:solidFill>
            <a:prstDash val="solid"/>
            <a:tailEnd type="triangle"/>
          </a:ln>
          <a:effectLst/>
        </p:spPr>
      </p:cxnSp>
      <p:cxnSp>
        <p:nvCxnSpPr>
          <p:cNvPr id="235" name="Соединительная линия уступом 244"/>
          <p:cNvCxnSpPr>
            <a:cxnSpLocks/>
            <a:stCxn id="228" idx="3"/>
            <a:endCxn id="230" idx="1"/>
          </p:cNvCxnSpPr>
          <p:nvPr>
            <p:custDataLst>
              <p:tags r:id="rId92"/>
            </p:custDataLst>
          </p:nvPr>
        </p:nvCxnSpPr>
        <p:spPr>
          <a:xfrm>
            <a:off x="2430962" y="4472179"/>
            <a:ext cx="1379470" cy="189669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D98616"/>
            </a:solidFill>
            <a:prstDash val="solid"/>
            <a:tailEnd type="triangle"/>
          </a:ln>
          <a:effectLst/>
        </p:spPr>
      </p:cxnSp>
      <p:cxnSp>
        <p:nvCxnSpPr>
          <p:cNvPr id="236" name="Соединительная линия уступом 247"/>
          <p:cNvCxnSpPr>
            <a:cxnSpLocks/>
            <a:stCxn id="249" idx="3"/>
            <a:endCxn id="242" idx="2"/>
          </p:cNvCxnSpPr>
          <p:nvPr>
            <p:custDataLst>
              <p:tags r:id="rId93"/>
            </p:custDataLst>
          </p:nvPr>
        </p:nvCxnSpPr>
        <p:spPr>
          <a:xfrm flipH="1" flipV="1">
            <a:off x="5029763" y="3391854"/>
            <a:ext cx="2281223" cy="1050241"/>
          </a:xfrm>
          <a:prstGeom prst="bentConnector4">
            <a:avLst>
              <a:gd name="adj1" fmla="val -3842"/>
              <a:gd name="adj2" fmla="val 80727"/>
            </a:avLst>
          </a:prstGeom>
          <a:noFill/>
          <a:ln w="9525" cap="flat" cmpd="sng" algn="ctr">
            <a:solidFill>
              <a:srgbClr val="D98616"/>
            </a:solidFill>
            <a:prstDash val="solid"/>
            <a:tailEnd type="triangle"/>
          </a:ln>
          <a:effectLst/>
        </p:spPr>
      </p:cxnSp>
      <p:sp>
        <p:nvSpPr>
          <p:cNvPr id="237" name="Скругленный прямоугольник 34"/>
          <p:cNvSpPr/>
          <p:nvPr>
            <p:custDataLst>
              <p:tags r:id="rId94"/>
            </p:custDataLst>
          </p:nvPr>
        </p:nvSpPr>
        <p:spPr>
          <a:xfrm>
            <a:off x="2734302" y="3632028"/>
            <a:ext cx="2138472" cy="162095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solid"/>
          </a:ln>
          <a:effectLst/>
        </p:spPr>
        <p:txBody>
          <a:bodyPr lIns="0" tIns="0" rIns="0" bIns="0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8" name="Прямоугольник 35"/>
          <p:cNvSpPr/>
          <p:nvPr>
            <p:custDataLst>
              <p:tags r:id="rId95"/>
            </p:custDataLst>
          </p:nvPr>
        </p:nvSpPr>
        <p:spPr>
          <a:xfrm>
            <a:off x="3091618" y="3646383"/>
            <a:ext cx="1786797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дготовка  тренеров предприятия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239" name="Соединительная линия уступом 253"/>
          <p:cNvCxnSpPr>
            <a:cxnSpLocks/>
            <a:stCxn id="171" idx="3"/>
          </p:cNvCxnSpPr>
          <p:nvPr>
            <p:custDataLst>
              <p:tags r:id="rId96"/>
            </p:custDataLst>
          </p:nvPr>
        </p:nvCxnSpPr>
        <p:spPr>
          <a:xfrm>
            <a:off x="4558985" y="4271093"/>
            <a:ext cx="62286" cy="104704"/>
          </a:xfrm>
          <a:prstGeom prst="bentConnector2">
            <a:avLst/>
          </a:prstGeom>
          <a:noFill/>
          <a:ln w="9525" cap="flat" cmpd="sng" algn="ctr">
            <a:solidFill>
              <a:srgbClr val="D98616"/>
            </a:solidFill>
            <a:prstDash val="solid"/>
            <a:tailEnd type="triangle"/>
          </a:ln>
          <a:effectLst/>
        </p:spPr>
      </p:cxnSp>
      <p:cxnSp>
        <p:nvCxnSpPr>
          <p:cNvPr id="240" name="Соединительная линия уступом 259"/>
          <p:cNvCxnSpPr>
            <a:cxnSpLocks/>
            <a:stCxn id="242" idx="3"/>
          </p:cNvCxnSpPr>
          <p:nvPr>
            <p:custDataLst>
              <p:tags r:id="rId97"/>
            </p:custDataLst>
          </p:nvPr>
        </p:nvCxnSpPr>
        <p:spPr>
          <a:xfrm flipH="1">
            <a:off x="7158990" y="3166642"/>
            <a:ext cx="152000" cy="1445791"/>
          </a:xfrm>
          <a:prstGeom prst="bentConnector4">
            <a:avLst>
              <a:gd name="adj1" fmla="val -115303"/>
              <a:gd name="adj2" fmla="val 93628"/>
            </a:avLst>
          </a:prstGeom>
          <a:noFill/>
          <a:ln w="9525" cap="flat" cmpd="sng" algn="ctr">
            <a:solidFill>
              <a:srgbClr val="8064A2"/>
            </a:solidFill>
            <a:prstDash val="solid"/>
            <a:tailEnd type="triangle"/>
          </a:ln>
          <a:effectLst/>
        </p:spPr>
      </p:cxnSp>
      <p:cxnSp>
        <p:nvCxnSpPr>
          <p:cNvPr id="241" name="Соединительная линия уступом 272"/>
          <p:cNvCxnSpPr>
            <a:cxnSpLocks/>
            <a:stCxn id="158" idx="3"/>
          </p:cNvCxnSpPr>
          <p:nvPr>
            <p:custDataLst>
              <p:tags r:id="rId98"/>
            </p:custDataLst>
          </p:nvPr>
        </p:nvCxnSpPr>
        <p:spPr>
          <a:xfrm>
            <a:off x="4836962" y="2481554"/>
            <a:ext cx="993607" cy="1256869"/>
          </a:xfrm>
          <a:prstGeom prst="bentConnector2">
            <a:avLst/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sp>
        <p:nvSpPr>
          <p:cNvPr id="242" name="Скругленный прямоугольник 30"/>
          <p:cNvSpPr/>
          <p:nvPr>
            <p:custDataLst>
              <p:tags r:id="rId99"/>
            </p:custDataLst>
          </p:nvPr>
        </p:nvSpPr>
        <p:spPr>
          <a:xfrm>
            <a:off x="2748535" y="2941430"/>
            <a:ext cx="4562455" cy="450424"/>
          </a:xfrm>
          <a:prstGeom prst="roundRect">
            <a:avLst/>
          </a:prstGeom>
          <a:solidFill>
            <a:srgbClr val="8064A2">
              <a:lumMod val="40000"/>
              <a:lumOff val="60000"/>
            </a:srgbClr>
          </a:solidFill>
          <a:ln w="9525" cap="flat" cmpd="sng" algn="ctr">
            <a:solidFill>
              <a:srgbClr val="8064A2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43" name="Прямоугольник 31"/>
          <p:cNvSpPr/>
          <p:nvPr>
            <p:custDataLst>
              <p:tags r:id="rId100"/>
            </p:custDataLst>
          </p:nvPr>
        </p:nvSpPr>
        <p:spPr>
          <a:xfrm>
            <a:off x="2799950" y="3009168"/>
            <a:ext cx="4412894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11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ткрытие и реализация проектов по оптимизации пилотного потока и вспомогательных процессов, влияющих на пилотный поток</a:t>
            </a:r>
            <a:endParaRPr lang="ru-RU" sz="11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44" name="Равнобедренный треугольник 275"/>
          <p:cNvSpPr/>
          <p:nvPr/>
        </p:nvSpPr>
        <p:spPr>
          <a:xfrm rot="10800000">
            <a:off x="2473139" y="1014110"/>
            <a:ext cx="177442" cy="202791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81000" tIns="0" rIns="0" bIns="0" rtlCol="0" anchor="ctr"/>
          <a:lstStyle/>
          <a:p>
            <a:pPr defTabSz="699390"/>
            <a:endParaRPr lang="ru-RU" sz="900" b="1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5" name="Равнобедренный треугольник 277"/>
          <p:cNvSpPr/>
          <p:nvPr/>
        </p:nvSpPr>
        <p:spPr>
          <a:xfrm rot="10800000">
            <a:off x="1259895" y="1014110"/>
            <a:ext cx="177442" cy="202791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81000" tIns="0" rIns="0" bIns="0" rtlCol="0" anchor="ctr"/>
          <a:lstStyle/>
          <a:p>
            <a:pPr defTabSz="699390"/>
            <a:endParaRPr lang="ru-RU" sz="900" b="1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6" name="Равнобедренный треугольник 279"/>
          <p:cNvSpPr/>
          <p:nvPr/>
        </p:nvSpPr>
        <p:spPr>
          <a:xfrm rot="10800000">
            <a:off x="4836962" y="1014110"/>
            <a:ext cx="177442" cy="202791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81000" tIns="0" rIns="0" bIns="0" rtlCol="0" anchor="ctr"/>
          <a:lstStyle/>
          <a:p>
            <a:pPr defTabSz="699390"/>
            <a:endParaRPr lang="ru-RU" sz="900" b="1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7" name="Равнобедренный треугольник 281"/>
          <p:cNvSpPr/>
          <p:nvPr/>
        </p:nvSpPr>
        <p:spPr>
          <a:xfrm rot="10800000">
            <a:off x="7367100" y="1014110"/>
            <a:ext cx="177442" cy="202791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81000" tIns="0" rIns="0" bIns="0" rtlCol="0" anchor="ctr"/>
          <a:lstStyle/>
          <a:p>
            <a:pPr defTabSz="699390"/>
            <a:endParaRPr lang="ru-RU" sz="900" b="1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8" name="Равнобедренный треугольник 283"/>
          <p:cNvSpPr/>
          <p:nvPr/>
        </p:nvSpPr>
        <p:spPr>
          <a:xfrm rot="10800000">
            <a:off x="8647731" y="1014110"/>
            <a:ext cx="177442" cy="202791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81000" tIns="0" rIns="0" bIns="0" rtlCol="0" anchor="ctr"/>
          <a:lstStyle/>
          <a:p>
            <a:pPr defTabSz="699390"/>
            <a:endParaRPr lang="ru-RU" sz="900" b="1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9" name="Скругленный прямоугольник 166"/>
          <p:cNvSpPr/>
          <p:nvPr>
            <p:custDataLst>
              <p:tags r:id="rId101"/>
            </p:custDataLst>
          </p:nvPr>
        </p:nvSpPr>
        <p:spPr>
          <a:xfrm>
            <a:off x="3627777" y="4375798"/>
            <a:ext cx="3683209" cy="132593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50" name="Прямоугольник 169"/>
          <p:cNvSpPr/>
          <p:nvPr>
            <p:custDataLst>
              <p:tags r:id="rId102"/>
            </p:custDataLst>
          </p:nvPr>
        </p:nvSpPr>
        <p:spPr>
          <a:xfrm>
            <a:off x="3691243" y="4376253"/>
            <a:ext cx="2531757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сещение производства топ-менеджерами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251" name="Соединительная линия уступом 170"/>
          <p:cNvCxnSpPr>
            <a:cxnSpLocks/>
            <a:endCxn id="173" idx="1"/>
          </p:cNvCxnSpPr>
          <p:nvPr>
            <p:custDataLst>
              <p:tags r:id="rId103"/>
            </p:custDataLst>
          </p:nvPr>
        </p:nvCxnSpPr>
        <p:spPr>
          <a:xfrm flipV="1">
            <a:off x="4573443" y="4272085"/>
            <a:ext cx="263521" cy="1028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D98616"/>
            </a:solidFill>
            <a:prstDash val="solid"/>
            <a:tailEnd type="triangle"/>
          </a:ln>
          <a:effectLst/>
        </p:spPr>
      </p:cxnSp>
      <p:sp>
        <p:nvSpPr>
          <p:cNvPr id="252" name="Скругленный прямоугольник 194"/>
          <p:cNvSpPr/>
          <p:nvPr>
            <p:custDataLst>
              <p:tags r:id="rId104"/>
            </p:custDataLst>
          </p:nvPr>
        </p:nvSpPr>
        <p:spPr>
          <a:xfrm>
            <a:off x="7549292" y="4559941"/>
            <a:ext cx="1165243" cy="130578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53" name="Прямоугольник 195"/>
          <p:cNvSpPr/>
          <p:nvPr>
            <p:custDataLst>
              <p:tags r:id="rId105"/>
            </p:custDataLst>
          </p:nvPr>
        </p:nvSpPr>
        <p:spPr>
          <a:xfrm>
            <a:off x="7596543" y="4557794"/>
            <a:ext cx="1089991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ни информирования</a:t>
            </a:r>
          </a:p>
        </p:txBody>
      </p:sp>
      <p:sp>
        <p:nvSpPr>
          <p:cNvPr id="255" name="TextBox 254"/>
          <p:cNvSpPr txBox="1"/>
          <p:nvPr/>
        </p:nvSpPr>
        <p:spPr>
          <a:xfrm>
            <a:off x="2452956" y="790607"/>
            <a:ext cx="25359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>
                <a:solidFill>
                  <a:srgbClr val="D74167"/>
                </a:solidFill>
              </a:rPr>
              <a:t>0</a:t>
            </a:r>
          </a:p>
        </p:txBody>
      </p:sp>
      <p:sp>
        <p:nvSpPr>
          <p:cNvPr id="256" name="TextBox 255"/>
          <p:cNvSpPr txBox="1"/>
          <p:nvPr/>
        </p:nvSpPr>
        <p:spPr>
          <a:xfrm>
            <a:off x="1013063" y="806252"/>
            <a:ext cx="60625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>
                <a:solidFill>
                  <a:srgbClr val="D74167"/>
                </a:solidFill>
              </a:rPr>
              <a:t>- 3 мес.</a:t>
            </a:r>
          </a:p>
        </p:txBody>
      </p:sp>
      <p:sp>
        <p:nvSpPr>
          <p:cNvPr id="257" name="TextBox 256"/>
          <p:cNvSpPr txBox="1"/>
          <p:nvPr/>
        </p:nvSpPr>
        <p:spPr>
          <a:xfrm>
            <a:off x="4695983" y="806243"/>
            <a:ext cx="53412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>
                <a:solidFill>
                  <a:srgbClr val="D74167"/>
                </a:solidFill>
              </a:rPr>
              <a:t>3 мес.</a:t>
            </a:r>
          </a:p>
        </p:txBody>
      </p:sp>
      <p:sp>
        <p:nvSpPr>
          <p:cNvPr id="258" name="TextBox 257"/>
          <p:cNvSpPr txBox="1"/>
          <p:nvPr/>
        </p:nvSpPr>
        <p:spPr>
          <a:xfrm>
            <a:off x="7235329" y="806243"/>
            <a:ext cx="53412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>
                <a:solidFill>
                  <a:srgbClr val="D74167"/>
                </a:solidFill>
              </a:rPr>
              <a:t>6 мес.</a:t>
            </a:r>
          </a:p>
        </p:txBody>
      </p:sp>
      <p:sp>
        <p:nvSpPr>
          <p:cNvPr id="259" name="TextBox 258"/>
          <p:cNvSpPr txBox="1"/>
          <p:nvPr/>
        </p:nvSpPr>
        <p:spPr>
          <a:xfrm>
            <a:off x="8388254" y="806244"/>
            <a:ext cx="60305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>
                <a:solidFill>
                  <a:srgbClr val="D74167"/>
                </a:solidFill>
              </a:rPr>
              <a:t>36 мес.</a:t>
            </a:r>
          </a:p>
        </p:txBody>
      </p:sp>
      <p:sp>
        <p:nvSpPr>
          <p:cNvPr id="120" name="Rectangle 125">
            <a:extLst>
              <a:ext uri="{FF2B5EF4-FFF2-40B4-BE49-F238E27FC236}">
                <a16:creationId xmlns:a16="http://schemas.microsoft.com/office/drawing/2014/main" id="{7675B3F2-91CF-4355-BAA9-256CBC584199}"/>
              </a:ext>
            </a:extLst>
          </p:cNvPr>
          <p:cNvSpPr/>
          <p:nvPr/>
        </p:nvSpPr>
        <p:spPr>
          <a:xfrm>
            <a:off x="318828" y="870387"/>
            <a:ext cx="8623466" cy="3921879"/>
          </a:xfrm>
          <a:prstGeom prst="rect">
            <a:avLst/>
          </a:prstGeom>
          <a:solidFill>
            <a:schemeClr val="bg1">
              <a:lumMod val="85000"/>
              <a:alpha val="49000"/>
            </a:schemeClr>
          </a:solidFill>
          <a:ln w="952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27000" tIns="0" rIns="27000" bIns="0" rtlCol="0" anchor="ctr"/>
          <a:lstStyle/>
          <a:p>
            <a:pPr algn="ctr"/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121" name="Rectangular Callout 130">
            <a:extLst>
              <a:ext uri="{FF2B5EF4-FFF2-40B4-BE49-F238E27FC236}">
                <a16:creationId xmlns:a16="http://schemas.microsoft.com/office/drawing/2014/main" id="{AE7D13F8-0638-4E3B-BDD8-35F9C2442E62}"/>
              </a:ext>
            </a:extLst>
          </p:cNvPr>
          <p:cNvSpPr/>
          <p:nvPr/>
        </p:nvSpPr>
        <p:spPr>
          <a:xfrm>
            <a:off x="493231" y="1757058"/>
            <a:ext cx="2142839" cy="1434617"/>
          </a:xfrm>
          <a:prstGeom prst="wedgeRectCallout">
            <a:avLst>
              <a:gd name="adj1" fmla="val 18974"/>
              <a:gd name="adj2" fmla="val 107888"/>
            </a:avLst>
          </a:prstGeom>
          <a:solidFill>
            <a:schemeClr val="bg1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7000" rIns="27000" rtlCol="0" anchor="t"/>
          <a:lstStyle/>
          <a:p>
            <a:pPr algn="ctr"/>
            <a:r>
              <a:rPr lang="ru-RU" sz="1600" dirty="0">
                <a:solidFill>
                  <a:schemeClr val="tx1"/>
                </a:solidFill>
              </a:rPr>
              <a:t>Командировка ГД и одного ЗГД на </a:t>
            </a:r>
          </a:p>
          <a:p>
            <a:pPr algn="ctr"/>
            <a:r>
              <a:rPr lang="ru-RU" sz="1600" dirty="0">
                <a:solidFill>
                  <a:schemeClr val="tx1"/>
                </a:solidFill>
              </a:rPr>
              <a:t>2 дня на предприятие-образец в Ковров</a:t>
            </a:r>
          </a:p>
        </p:txBody>
      </p:sp>
      <p:sp>
        <p:nvSpPr>
          <p:cNvPr id="122" name="Овал 48">
            <a:extLst>
              <a:ext uri="{FF2B5EF4-FFF2-40B4-BE49-F238E27FC236}">
                <a16:creationId xmlns:a16="http://schemas.microsoft.com/office/drawing/2014/main" id="{E4ECB8BD-8388-4BB0-8221-38AAEBE06E37}"/>
              </a:ext>
            </a:extLst>
          </p:cNvPr>
          <p:cNvSpPr/>
          <p:nvPr/>
        </p:nvSpPr>
        <p:spPr>
          <a:xfrm>
            <a:off x="2484074" y="2225498"/>
            <a:ext cx="493621" cy="493621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27000" tIns="0" rIns="27000" bIns="0" rtlCol="0" anchor="ctr"/>
          <a:lstStyle/>
          <a:p>
            <a:pPr algn="ctr" defTabSz="342900"/>
            <a:r>
              <a:rPr lang="ru-RU" sz="2400" b="1" dirty="0">
                <a:solidFill>
                  <a:prstClr val="white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59316954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9466" y="381581"/>
            <a:ext cx="6251971" cy="164917"/>
          </a:xfrm>
        </p:spPr>
        <p:txBody>
          <a:bodyPr/>
          <a:lstStyle/>
          <a:p>
            <a:r>
              <a:rPr lang="ru-RU" dirty="0"/>
              <a:t>Процесс реализации программы на отдельном предприятии-участнике </a:t>
            </a:r>
          </a:p>
        </p:txBody>
      </p:sp>
      <p:sp>
        <p:nvSpPr>
          <p:cNvPr id="141" name="Прямоугольник 4"/>
          <p:cNvSpPr/>
          <p:nvPr>
            <p:custDataLst>
              <p:tags r:id="rId1"/>
            </p:custDataLst>
          </p:nvPr>
        </p:nvSpPr>
        <p:spPr>
          <a:xfrm>
            <a:off x="780495" y="4143563"/>
            <a:ext cx="8043653" cy="592521"/>
          </a:xfrm>
          <a:prstGeom prst="rect">
            <a:avLst/>
          </a:prstGeom>
          <a:solidFill>
            <a:srgbClr val="F79646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60948" tIns="30474" rIns="60948" bIns="30474" rtlCol="0" anchor="ctr"/>
          <a:lstStyle/>
          <a:p>
            <a:pPr algn="ctr"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2" name="Прямоугольник 5"/>
          <p:cNvSpPr/>
          <p:nvPr>
            <p:custDataLst>
              <p:tags r:id="rId2"/>
            </p:custDataLst>
          </p:nvPr>
        </p:nvSpPr>
        <p:spPr>
          <a:xfrm>
            <a:off x="932688" y="3487336"/>
            <a:ext cx="7891460" cy="688274"/>
          </a:xfrm>
          <a:prstGeom prst="rect">
            <a:avLst/>
          </a:prstGeom>
          <a:solidFill>
            <a:srgbClr val="9BBB59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60948" tIns="30474" rIns="60948" bIns="30474" rtlCol="0" anchor="ctr"/>
          <a:lstStyle/>
          <a:p>
            <a:pPr algn="ctr"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3" name="Прямоугольник 6"/>
          <p:cNvSpPr/>
          <p:nvPr>
            <p:custDataLst>
              <p:tags r:id="rId3"/>
            </p:custDataLst>
          </p:nvPr>
        </p:nvSpPr>
        <p:spPr>
          <a:xfrm>
            <a:off x="810768" y="1837289"/>
            <a:ext cx="8013383" cy="806898"/>
          </a:xfrm>
          <a:prstGeom prst="rect">
            <a:avLst/>
          </a:prstGeom>
          <a:solidFill>
            <a:srgbClr val="D8F2FB"/>
          </a:solidFill>
          <a:ln w="25400" cap="flat" cmpd="sng" algn="ctr">
            <a:noFill/>
            <a:prstDash val="solid"/>
          </a:ln>
          <a:effectLst/>
        </p:spPr>
        <p:txBody>
          <a:bodyPr lIns="60948" tIns="30474" rIns="60948" bIns="30474" rtlCol="0" anchor="ctr"/>
          <a:lstStyle/>
          <a:p>
            <a:pPr algn="ctr"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4" name="Прямоугольник 7"/>
          <p:cNvSpPr/>
          <p:nvPr>
            <p:custDataLst>
              <p:tags r:id="rId4"/>
            </p:custDataLst>
          </p:nvPr>
        </p:nvSpPr>
        <p:spPr>
          <a:xfrm>
            <a:off x="883920" y="2644186"/>
            <a:ext cx="7940231" cy="865001"/>
          </a:xfrm>
          <a:prstGeom prst="rect">
            <a:avLst/>
          </a:prstGeom>
          <a:solidFill>
            <a:srgbClr val="E6E0EC"/>
          </a:solidFill>
          <a:ln w="25400" cap="flat" cmpd="sng" algn="ctr">
            <a:noFill/>
            <a:prstDash val="solid"/>
          </a:ln>
          <a:effectLst/>
        </p:spPr>
        <p:txBody>
          <a:bodyPr lIns="60948" tIns="30474" rIns="60948" bIns="30474" rtlCol="0" anchor="ctr"/>
          <a:lstStyle/>
          <a:p>
            <a:pPr algn="ctr"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5" name="Прямоугольник 8"/>
          <p:cNvSpPr/>
          <p:nvPr>
            <p:custDataLst>
              <p:tags r:id="rId5"/>
            </p:custDataLst>
          </p:nvPr>
        </p:nvSpPr>
        <p:spPr>
          <a:xfrm>
            <a:off x="810768" y="1224279"/>
            <a:ext cx="8013383" cy="64906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0948" tIns="30474" rIns="60948" bIns="30474" rtlCol="0" anchor="ctr"/>
          <a:lstStyle/>
          <a:p>
            <a:pPr algn="ctr"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7" name="Пятиугольник 12"/>
          <p:cNvSpPr/>
          <p:nvPr>
            <p:custDataLst>
              <p:tags r:id="rId6"/>
            </p:custDataLst>
          </p:nvPr>
        </p:nvSpPr>
        <p:spPr>
          <a:xfrm>
            <a:off x="319849" y="1224279"/>
            <a:ext cx="815393" cy="649060"/>
          </a:xfrm>
          <a:prstGeom prst="homePlate">
            <a:avLst>
              <a:gd name="adj" fmla="val 5883"/>
            </a:avLst>
          </a:prstGeom>
          <a:solidFill>
            <a:sysClr val="window" lastClr="FFFFFF">
              <a:lumMod val="85000"/>
            </a:sys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КОМПОЗИЦИЯ</a:t>
            </a:r>
            <a:b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ЕЙ</a:t>
            </a:r>
          </a:p>
        </p:txBody>
      </p:sp>
      <p:sp>
        <p:nvSpPr>
          <p:cNvPr id="148" name="Пятиугольник 13"/>
          <p:cNvSpPr/>
          <p:nvPr>
            <p:custDataLst>
              <p:tags r:id="rId7"/>
            </p:custDataLst>
          </p:nvPr>
        </p:nvSpPr>
        <p:spPr>
          <a:xfrm>
            <a:off x="319849" y="1873341"/>
            <a:ext cx="815393" cy="770846"/>
          </a:xfrm>
          <a:prstGeom prst="homePlate">
            <a:avLst>
              <a:gd name="adj" fmla="val 5614"/>
            </a:avLst>
          </a:prstGeom>
          <a:solidFill>
            <a:srgbClr val="3BBEED">
              <a:lumMod val="40000"/>
              <a:lumOff val="60000"/>
            </a:srgb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ТИМИЗАЦИЯ ПОТОКОВ ПО ПРОИЗВОДСТВУ ПРОДУКЦИИ</a:t>
            </a:r>
          </a:p>
        </p:txBody>
      </p:sp>
      <p:sp>
        <p:nvSpPr>
          <p:cNvPr id="149" name="Пятиугольник 14"/>
          <p:cNvSpPr/>
          <p:nvPr>
            <p:custDataLst>
              <p:tags r:id="rId8"/>
            </p:custDataLst>
          </p:nvPr>
        </p:nvSpPr>
        <p:spPr>
          <a:xfrm>
            <a:off x="319849" y="3485817"/>
            <a:ext cx="815393" cy="689793"/>
          </a:xfrm>
          <a:prstGeom prst="homePlate">
            <a:avLst>
              <a:gd name="adj" fmla="val 7344"/>
            </a:avLst>
          </a:prstGeom>
          <a:solidFill>
            <a:srgbClr val="9BBB59">
              <a:lumMod val="60000"/>
              <a:lumOff val="40000"/>
            </a:srgb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УЧЕНИЕ</a:t>
            </a:r>
          </a:p>
        </p:txBody>
      </p:sp>
      <p:sp>
        <p:nvSpPr>
          <p:cNvPr id="150" name="Пятиугольник 15"/>
          <p:cNvSpPr/>
          <p:nvPr>
            <p:custDataLst>
              <p:tags r:id="rId9"/>
            </p:custDataLst>
          </p:nvPr>
        </p:nvSpPr>
        <p:spPr>
          <a:xfrm>
            <a:off x="319849" y="4162931"/>
            <a:ext cx="815393" cy="582804"/>
          </a:xfrm>
          <a:prstGeom prst="homePlate">
            <a:avLst>
              <a:gd name="adj" fmla="val 8204"/>
            </a:avLst>
          </a:prstGeom>
          <a:solidFill>
            <a:srgbClr val="F79646">
              <a:lumMod val="60000"/>
              <a:lumOff val="40000"/>
            </a:srgb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ИЗМЕНЕНИЯМИ</a:t>
            </a:r>
          </a:p>
        </p:txBody>
      </p:sp>
      <p:sp>
        <p:nvSpPr>
          <p:cNvPr id="151" name="Пятиугольник 16"/>
          <p:cNvSpPr/>
          <p:nvPr>
            <p:custDataLst>
              <p:tags r:id="rId10"/>
            </p:custDataLst>
          </p:nvPr>
        </p:nvSpPr>
        <p:spPr>
          <a:xfrm>
            <a:off x="319849" y="2644186"/>
            <a:ext cx="815393" cy="865001"/>
          </a:xfrm>
          <a:prstGeom prst="homePlate">
            <a:avLst>
              <a:gd name="adj" fmla="val 6286"/>
            </a:avLst>
          </a:prstGeom>
          <a:solidFill>
            <a:srgbClr val="8064A2">
              <a:lumMod val="40000"/>
              <a:lumOff val="60000"/>
            </a:srgb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</a:t>
            </a:r>
            <a:b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АМИ И МЕТОДОЛОГИЕЙ</a:t>
            </a:r>
          </a:p>
        </p:txBody>
      </p:sp>
      <p:sp>
        <p:nvSpPr>
          <p:cNvPr id="152" name="Скругленный прямоугольник 17"/>
          <p:cNvSpPr/>
          <p:nvPr>
            <p:custDataLst>
              <p:tags r:id="rId11"/>
            </p:custDataLst>
          </p:nvPr>
        </p:nvSpPr>
        <p:spPr>
          <a:xfrm>
            <a:off x="2765141" y="1285882"/>
            <a:ext cx="2071818" cy="229943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3" name="Скругленный прямоугольник 18"/>
          <p:cNvSpPr/>
          <p:nvPr>
            <p:custDataLst>
              <p:tags r:id="rId12"/>
            </p:custDataLst>
          </p:nvPr>
        </p:nvSpPr>
        <p:spPr>
          <a:xfrm>
            <a:off x="1479197" y="1915979"/>
            <a:ext cx="944694" cy="665248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40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4" name="Прямоугольник 19"/>
          <p:cNvSpPr/>
          <p:nvPr>
            <p:custDataLst>
              <p:tags r:id="rId13"/>
            </p:custDataLst>
          </p:nvPr>
        </p:nvSpPr>
        <p:spPr>
          <a:xfrm>
            <a:off x="1524528" y="2031338"/>
            <a:ext cx="856689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10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ыбор потоков для оптимизации </a:t>
            </a:r>
            <a:endParaRPr lang="ru-RU" sz="10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55" name="Прямоугольник 20"/>
          <p:cNvSpPr/>
          <p:nvPr>
            <p:custDataLst>
              <p:tags r:id="rId14"/>
            </p:custDataLst>
          </p:nvPr>
        </p:nvSpPr>
        <p:spPr>
          <a:xfrm>
            <a:off x="2825626" y="1334280"/>
            <a:ext cx="192949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азработка дерева целей, постановка КПЭ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56" name="Скругленный прямоугольник 21"/>
          <p:cNvSpPr/>
          <p:nvPr>
            <p:custDataLst>
              <p:tags r:id="rId15"/>
            </p:custDataLst>
          </p:nvPr>
        </p:nvSpPr>
        <p:spPr>
          <a:xfrm>
            <a:off x="1477151" y="3509467"/>
            <a:ext cx="948680" cy="352293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7" name="Прямоугольник 22"/>
          <p:cNvSpPr/>
          <p:nvPr>
            <p:custDataLst>
              <p:tags r:id="rId16"/>
            </p:custDataLst>
          </p:nvPr>
        </p:nvSpPr>
        <p:spPr>
          <a:xfrm>
            <a:off x="1486351" y="3514510"/>
            <a:ext cx="945474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учение/стажировка рабочей группы пилотного проекта по оптимизации потоков</a:t>
            </a:r>
          </a:p>
        </p:txBody>
      </p:sp>
      <p:sp>
        <p:nvSpPr>
          <p:cNvPr id="158" name="Скругленный прямоугольник 23"/>
          <p:cNvSpPr/>
          <p:nvPr>
            <p:custDataLst>
              <p:tags r:id="rId17"/>
            </p:custDataLst>
          </p:nvPr>
        </p:nvSpPr>
        <p:spPr>
          <a:xfrm>
            <a:off x="2746579" y="2366582"/>
            <a:ext cx="2090383" cy="229943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9" name="Прямоугольник 24"/>
          <p:cNvSpPr/>
          <p:nvPr>
            <p:custDataLst>
              <p:tags r:id="rId18"/>
            </p:custDataLst>
          </p:nvPr>
        </p:nvSpPr>
        <p:spPr>
          <a:xfrm>
            <a:off x="2815428" y="2397966"/>
            <a:ext cx="1900542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10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оздание участков-образцов</a:t>
            </a:r>
          </a:p>
        </p:txBody>
      </p:sp>
      <p:sp>
        <p:nvSpPr>
          <p:cNvPr id="160" name="Скругленный прямоугольник 25"/>
          <p:cNvSpPr/>
          <p:nvPr>
            <p:custDataLst>
              <p:tags r:id="rId19"/>
            </p:custDataLst>
          </p:nvPr>
        </p:nvSpPr>
        <p:spPr>
          <a:xfrm>
            <a:off x="5390485" y="1929702"/>
            <a:ext cx="1920505" cy="409809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1" name="Прямоугольник 26"/>
          <p:cNvSpPr/>
          <p:nvPr>
            <p:custDataLst>
              <p:tags r:id="rId20"/>
            </p:custDataLst>
          </p:nvPr>
        </p:nvSpPr>
        <p:spPr>
          <a:xfrm>
            <a:off x="5407710" y="1929958"/>
            <a:ext cx="1880421" cy="4154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9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еализация мероприятий по достижению целевого состояния потоков</a:t>
            </a:r>
            <a:endParaRPr lang="ru-RU" sz="9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2" name="Скругленный прямоугольник 27"/>
          <p:cNvSpPr/>
          <p:nvPr>
            <p:custDataLst>
              <p:tags r:id="rId21"/>
            </p:custDataLst>
          </p:nvPr>
        </p:nvSpPr>
        <p:spPr>
          <a:xfrm>
            <a:off x="5381496" y="1289913"/>
            <a:ext cx="1929495" cy="443391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3" name="Прямоугольник 28"/>
          <p:cNvSpPr/>
          <p:nvPr>
            <p:custDataLst>
              <p:tags r:id="rId22"/>
            </p:custDataLst>
          </p:nvPr>
        </p:nvSpPr>
        <p:spPr>
          <a:xfrm>
            <a:off x="5468667" y="1442591"/>
            <a:ext cx="1796379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9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недрение инфоцентра предприятия</a:t>
            </a:r>
            <a:endParaRPr lang="ru-RU" sz="9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4" name="Скругленный прямоугольник 29"/>
          <p:cNvSpPr/>
          <p:nvPr>
            <p:custDataLst>
              <p:tags r:id="rId23"/>
            </p:custDataLst>
          </p:nvPr>
        </p:nvSpPr>
        <p:spPr>
          <a:xfrm>
            <a:off x="2765141" y="1603244"/>
            <a:ext cx="2071818" cy="224747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/>
            <a:endParaRPr lang="ru-RU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5" name="Скругленный прямоугольник 32"/>
          <p:cNvSpPr/>
          <p:nvPr>
            <p:custDataLst>
              <p:tags r:id="rId24"/>
            </p:custDataLst>
          </p:nvPr>
        </p:nvSpPr>
        <p:spPr>
          <a:xfrm>
            <a:off x="7538720" y="3134383"/>
            <a:ext cx="1147817" cy="309983"/>
          </a:xfrm>
          <a:prstGeom prst="roundRect">
            <a:avLst/>
          </a:prstGeom>
          <a:solidFill>
            <a:srgbClr val="8064A2">
              <a:lumMod val="40000"/>
              <a:lumOff val="60000"/>
            </a:srgbClr>
          </a:solidFill>
          <a:ln w="9525" cap="flat" cmpd="sng" algn="ctr">
            <a:solidFill>
              <a:srgbClr val="8064A2"/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6" name="Прямоугольник 33"/>
          <p:cNvSpPr/>
          <p:nvPr>
            <p:custDataLst>
              <p:tags r:id="rId25"/>
            </p:custDataLst>
          </p:nvPr>
        </p:nvSpPr>
        <p:spPr>
          <a:xfrm>
            <a:off x="7566640" y="3196655"/>
            <a:ext cx="1119894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недрение системы по работе с предложениями по улучшениям</a:t>
            </a:r>
            <a:endParaRPr lang="ru-RU" sz="6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7" name="Скругленный прямоугольник 36"/>
          <p:cNvSpPr/>
          <p:nvPr>
            <p:custDataLst>
              <p:tags r:id="rId26"/>
            </p:custDataLst>
          </p:nvPr>
        </p:nvSpPr>
        <p:spPr>
          <a:xfrm>
            <a:off x="5389896" y="3751870"/>
            <a:ext cx="1921093" cy="355366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8" name="Прямоугольник 37"/>
          <p:cNvSpPr/>
          <p:nvPr>
            <p:custDataLst>
              <p:tags r:id="rId27"/>
            </p:custDataLst>
          </p:nvPr>
        </p:nvSpPr>
        <p:spPr>
          <a:xfrm>
            <a:off x="5463482" y="3791470"/>
            <a:ext cx="177184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9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учение участников (членов РГ) проектов</a:t>
            </a:r>
            <a:endParaRPr lang="ru-RU" sz="9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9" name="Скругленный прямоугольник 38"/>
          <p:cNvSpPr/>
          <p:nvPr>
            <p:custDataLst>
              <p:tags r:id="rId28"/>
            </p:custDataLst>
          </p:nvPr>
        </p:nvSpPr>
        <p:spPr>
          <a:xfrm>
            <a:off x="1475025" y="3996259"/>
            <a:ext cx="948865" cy="152522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0" name="Прямоугольник 39"/>
          <p:cNvSpPr/>
          <p:nvPr>
            <p:custDataLst>
              <p:tags r:id="rId29"/>
            </p:custDataLst>
          </p:nvPr>
        </p:nvSpPr>
        <p:spPr>
          <a:xfrm>
            <a:off x="1513328" y="4023719"/>
            <a:ext cx="858631" cy="923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учение ГД предприятия</a:t>
            </a:r>
            <a:endParaRPr lang="ru-RU" sz="6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71" name="Скругленный прямоугольник 40"/>
          <p:cNvSpPr/>
          <p:nvPr>
            <p:custDataLst>
              <p:tags r:id="rId30"/>
            </p:custDataLst>
          </p:nvPr>
        </p:nvSpPr>
        <p:spPr>
          <a:xfrm>
            <a:off x="2733233" y="4204796"/>
            <a:ext cx="1825752" cy="132593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2" name="Прямоугольник 41"/>
          <p:cNvSpPr/>
          <p:nvPr>
            <p:custDataLst>
              <p:tags r:id="rId31"/>
            </p:custDataLst>
          </p:nvPr>
        </p:nvSpPr>
        <p:spPr>
          <a:xfrm>
            <a:off x="2802114" y="4210483"/>
            <a:ext cx="170594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тартовое совещание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73" name="Скругленный прямоугольник 42"/>
          <p:cNvSpPr/>
          <p:nvPr>
            <p:custDataLst>
              <p:tags r:id="rId32"/>
            </p:custDataLst>
          </p:nvPr>
        </p:nvSpPr>
        <p:spPr>
          <a:xfrm>
            <a:off x="4836964" y="4204347"/>
            <a:ext cx="2474023" cy="135475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4" name="Прямоугольник 43"/>
          <p:cNvSpPr/>
          <p:nvPr>
            <p:custDataLst>
              <p:tags r:id="rId33"/>
            </p:custDataLst>
          </p:nvPr>
        </p:nvSpPr>
        <p:spPr>
          <a:xfrm>
            <a:off x="4867566" y="4209449"/>
            <a:ext cx="2404454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оведение Дней информирования</a:t>
            </a:r>
          </a:p>
        </p:txBody>
      </p:sp>
      <p:cxnSp>
        <p:nvCxnSpPr>
          <p:cNvPr id="175" name="Соединительная линия уступом 46"/>
          <p:cNvCxnSpPr>
            <a:cxnSpLocks/>
            <a:endCxn id="164" idx="1"/>
          </p:cNvCxnSpPr>
          <p:nvPr>
            <p:custDataLst>
              <p:tags r:id="rId34"/>
            </p:custDataLst>
          </p:nvPr>
        </p:nvCxnSpPr>
        <p:spPr>
          <a:xfrm>
            <a:off x="2121772" y="1515825"/>
            <a:ext cx="643369" cy="199793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176" name="Соединительная линия уступом 47"/>
          <p:cNvCxnSpPr>
            <a:cxnSpLocks/>
            <a:stCxn id="153" idx="3"/>
            <a:endCxn id="214" idx="1"/>
          </p:cNvCxnSpPr>
          <p:nvPr>
            <p:custDataLst>
              <p:tags r:id="rId35"/>
            </p:custDataLst>
          </p:nvPr>
        </p:nvCxnSpPr>
        <p:spPr>
          <a:xfrm flipV="1">
            <a:off x="2423891" y="2134609"/>
            <a:ext cx="322689" cy="113994"/>
          </a:xfrm>
          <a:prstGeom prst="bentConnector3">
            <a:avLst>
              <a:gd name="adj1" fmla="val 16940"/>
            </a:avLst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177" name="Соединительная линия уступом 48"/>
          <p:cNvCxnSpPr>
            <a:cxnSpLocks/>
            <a:stCxn id="153" idx="3"/>
          </p:cNvCxnSpPr>
          <p:nvPr>
            <p:custDataLst>
              <p:tags r:id="rId36"/>
            </p:custDataLst>
          </p:nvPr>
        </p:nvCxnSpPr>
        <p:spPr>
          <a:xfrm>
            <a:off x="2423891" y="2248603"/>
            <a:ext cx="316419" cy="149057"/>
          </a:xfrm>
          <a:prstGeom prst="bentConnector3">
            <a:avLst>
              <a:gd name="adj1" fmla="val 17088"/>
            </a:avLst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178" name="Соединительная линия уступом 49"/>
          <p:cNvCxnSpPr>
            <a:cxnSpLocks/>
            <a:stCxn id="214" idx="3"/>
            <a:endCxn id="160" idx="1"/>
          </p:cNvCxnSpPr>
          <p:nvPr>
            <p:custDataLst>
              <p:tags r:id="rId37"/>
            </p:custDataLst>
          </p:nvPr>
        </p:nvCxnSpPr>
        <p:spPr>
          <a:xfrm flipV="1">
            <a:off x="4836964" y="2134607"/>
            <a:ext cx="553521" cy="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179" name="Соединительная линия уступом 50"/>
          <p:cNvCxnSpPr/>
          <p:nvPr>
            <p:custDataLst>
              <p:tags r:id="rId38"/>
            </p:custDataLst>
          </p:nvPr>
        </p:nvCxnSpPr>
        <p:spPr>
          <a:xfrm>
            <a:off x="4558984" y="2757486"/>
            <a:ext cx="313973" cy="183947"/>
          </a:xfrm>
          <a:prstGeom prst="bentConnector2">
            <a:avLst/>
          </a:prstGeom>
          <a:noFill/>
          <a:ln w="9525" cap="flat" cmpd="sng" algn="ctr">
            <a:solidFill>
              <a:srgbClr val="8064A2"/>
            </a:solidFill>
            <a:prstDash val="solid"/>
            <a:tailEnd type="triangle"/>
          </a:ln>
          <a:effectLst/>
        </p:spPr>
      </p:cxnSp>
      <p:cxnSp>
        <p:nvCxnSpPr>
          <p:cNvPr id="180" name="Соединительная линия уступом 51"/>
          <p:cNvCxnSpPr>
            <a:cxnSpLocks/>
            <a:stCxn id="152" idx="3"/>
            <a:endCxn id="162" idx="1"/>
          </p:cNvCxnSpPr>
          <p:nvPr>
            <p:custDataLst>
              <p:tags r:id="rId39"/>
            </p:custDataLst>
          </p:nvPr>
        </p:nvCxnSpPr>
        <p:spPr>
          <a:xfrm>
            <a:off x="4836959" y="1400854"/>
            <a:ext cx="544537" cy="110755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tailEnd type="triangle"/>
          </a:ln>
          <a:effectLst/>
        </p:spPr>
      </p:cxnSp>
      <p:cxnSp>
        <p:nvCxnSpPr>
          <p:cNvPr id="181" name="Соединительная линия уступом 52"/>
          <p:cNvCxnSpPr>
            <a:cxnSpLocks/>
            <a:stCxn id="164" idx="3"/>
            <a:endCxn id="162" idx="1"/>
          </p:cNvCxnSpPr>
          <p:nvPr>
            <p:custDataLst>
              <p:tags r:id="rId40"/>
            </p:custDataLst>
          </p:nvPr>
        </p:nvCxnSpPr>
        <p:spPr>
          <a:xfrm flipV="1">
            <a:off x="4836959" y="1511609"/>
            <a:ext cx="544537" cy="204009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tailEnd type="triangle"/>
          </a:ln>
          <a:effectLst/>
        </p:spPr>
      </p:cxnSp>
      <p:cxnSp>
        <p:nvCxnSpPr>
          <p:cNvPr id="182" name="Прямая со стрелкой 53"/>
          <p:cNvCxnSpPr>
            <a:cxnSpLocks/>
            <a:endCxn id="228" idx="1"/>
          </p:cNvCxnSpPr>
          <p:nvPr>
            <p:custDataLst>
              <p:tags r:id="rId41"/>
            </p:custDataLst>
          </p:nvPr>
        </p:nvCxnSpPr>
        <p:spPr>
          <a:xfrm flipV="1">
            <a:off x="1330231" y="4472179"/>
            <a:ext cx="150908" cy="4970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183" name="Соединительная линия уступом 54"/>
          <p:cNvCxnSpPr>
            <a:cxnSpLocks/>
            <a:stCxn id="237" idx="3"/>
            <a:endCxn id="167" idx="1"/>
          </p:cNvCxnSpPr>
          <p:nvPr>
            <p:custDataLst>
              <p:tags r:id="rId42"/>
            </p:custDataLst>
          </p:nvPr>
        </p:nvCxnSpPr>
        <p:spPr>
          <a:xfrm>
            <a:off x="4872774" y="3713076"/>
            <a:ext cx="517122" cy="216477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9BBB59"/>
            </a:solidFill>
            <a:prstDash val="solid"/>
            <a:tailEnd type="triangle"/>
          </a:ln>
          <a:effectLst/>
        </p:spPr>
      </p:cxnSp>
      <p:cxnSp>
        <p:nvCxnSpPr>
          <p:cNvPr id="184" name="Соединительная линия уступом 58"/>
          <p:cNvCxnSpPr>
            <a:cxnSpLocks/>
            <a:stCxn id="169" idx="3"/>
          </p:cNvCxnSpPr>
          <p:nvPr>
            <p:custDataLst>
              <p:tags r:id="rId43"/>
            </p:custDataLst>
          </p:nvPr>
        </p:nvCxnSpPr>
        <p:spPr>
          <a:xfrm flipV="1">
            <a:off x="2423890" y="3406054"/>
            <a:ext cx="502141" cy="666466"/>
          </a:xfrm>
          <a:prstGeom prst="bentConnector2">
            <a:avLst/>
          </a:prstGeom>
          <a:noFill/>
          <a:ln w="9525" cap="flat" cmpd="sng" algn="ctr">
            <a:solidFill>
              <a:srgbClr val="9BBB59"/>
            </a:solidFill>
            <a:prstDash val="solid"/>
            <a:tailEnd type="triangle"/>
          </a:ln>
          <a:effectLst/>
        </p:spPr>
      </p:cxnSp>
      <p:cxnSp>
        <p:nvCxnSpPr>
          <p:cNvPr id="185" name="Соединительная линия уступом 63"/>
          <p:cNvCxnSpPr>
            <a:cxnSpLocks/>
            <a:stCxn id="162" idx="3"/>
          </p:cNvCxnSpPr>
          <p:nvPr>
            <p:custDataLst>
              <p:tags r:id="rId44"/>
            </p:custDataLst>
          </p:nvPr>
        </p:nvCxnSpPr>
        <p:spPr>
          <a:xfrm flipH="1">
            <a:off x="6131561" y="1511609"/>
            <a:ext cx="1179430" cy="1429821"/>
          </a:xfrm>
          <a:prstGeom prst="bentConnector4">
            <a:avLst>
              <a:gd name="adj1" fmla="val -12598"/>
              <a:gd name="adj2" fmla="val 70277"/>
            </a:avLst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tailEnd type="triangle"/>
          </a:ln>
          <a:effectLst/>
        </p:spPr>
      </p:cxnSp>
      <p:cxnSp>
        <p:nvCxnSpPr>
          <p:cNvPr id="186" name="Прямая соединительная линия 66"/>
          <p:cNvCxnSpPr/>
          <p:nvPr>
            <p:custDataLst>
              <p:tags r:id="rId45"/>
            </p:custDataLst>
          </p:nvPr>
        </p:nvCxnSpPr>
        <p:spPr>
          <a:xfrm>
            <a:off x="1331247" y="1446841"/>
            <a:ext cx="0" cy="3030308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</a:ln>
          <a:effectLst/>
        </p:spPr>
      </p:cxnSp>
      <p:cxnSp>
        <p:nvCxnSpPr>
          <p:cNvPr id="187" name="Прямая со стрелкой 67"/>
          <p:cNvCxnSpPr/>
          <p:nvPr>
            <p:custDataLst>
              <p:tags r:id="rId46"/>
            </p:custDataLst>
          </p:nvPr>
        </p:nvCxnSpPr>
        <p:spPr>
          <a:xfrm>
            <a:off x="1330231" y="2225770"/>
            <a:ext cx="150909" cy="1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188" name="Прямая со стрелкой 68"/>
          <p:cNvCxnSpPr>
            <a:cxnSpLocks/>
          </p:cNvCxnSpPr>
          <p:nvPr>
            <p:custDataLst>
              <p:tags r:id="rId47"/>
            </p:custDataLst>
          </p:nvPr>
        </p:nvCxnSpPr>
        <p:spPr>
          <a:xfrm>
            <a:off x="1324976" y="2860147"/>
            <a:ext cx="1421603" cy="1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sp>
        <p:nvSpPr>
          <p:cNvPr id="189" name="Пятиугольник 69"/>
          <p:cNvSpPr/>
          <p:nvPr>
            <p:custDataLst>
              <p:tags r:id="rId48"/>
            </p:custDataLst>
          </p:nvPr>
        </p:nvSpPr>
        <p:spPr>
          <a:xfrm>
            <a:off x="7401127" y="1055301"/>
            <a:ext cx="1346358" cy="183522"/>
          </a:xfrm>
          <a:prstGeom prst="homePlate">
            <a:avLst>
              <a:gd name="adj" fmla="val 10366"/>
            </a:avLst>
          </a:prstGeom>
          <a:solidFill>
            <a:schemeClr val="accent5"/>
          </a:solidFill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189000" tIns="0" rIns="0" bIns="0" rtlCol="0" anchor="ctr"/>
          <a:lstStyle/>
          <a:p>
            <a:pPr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иражирование</a:t>
            </a:r>
          </a:p>
        </p:txBody>
      </p:sp>
      <p:sp>
        <p:nvSpPr>
          <p:cNvPr id="190" name="Пятиугольник 70"/>
          <p:cNvSpPr/>
          <p:nvPr>
            <p:custDataLst>
              <p:tags r:id="rId49"/>
            </p:custDataLst>
          </p:nvPr>
        </p:nvSpPr>
        <p:spPr>
          <a:xfrm>
            <a:off x="4894681" y="1055301"/>
            <a:ext cx="2557679" cy="183522"/>
          </a:xfrm>
          <a:prstGeom prst="homePlate">
            <a:avLst>
              <a:gd name="adj" fmla="val 10366"/>
            </a:avLst>
          </a:prstGeom>
          <a:solidFill>
            <a:srgbClr val="EBE99B">
              <a:lumMod val="60000"/>
              <a:lumOff val="40000"/>
            </a:srgbClr>
          </a:solidFill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39856" tIns="0" rIns="0" bIns="0" rtlCol="0" anchor="ctr"/>
          <a:lstStyle/>
          <a:p>
            <a:pPr algn="ctr" defTabSz="683953"/>
            <a:r>
              <a:rPr lang="ru-RU" sz="675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дрение улучшений</a:t>
            </a:r>
          </a:p>
        </p:txBody>
      </p:sp>
      <p:sp>
        <p:nvSpPr>
          <p:cNvPr id="191" name="Пятиугольник 71"/>
          <p:cNvSpPr/>
          <p:nvPr>
            <p:custDataLst>
              <p:tags r:id="rId50"/>
            </p:custDataLst>
          </p:nvPr>
        </p:nvSpPr>
        <p:spPr>
          <a:xfrm>
            <a:off x="2567106" y="1055301"/>
            <a:ext cx="2385084" cy="183522"/>
          </a:xfrm>
          <a:prstGeom prst="homePlate">
            <a:avLst>
              <a:gd name="adj" fmla="val 10366"/>
            </a:avLst>
          </a:prstGeom>
          <a:solidFill>
            <a:srgbClr val="EBE99B">
              <a:lumMod val="60000"/>
              <a:lumOff val="40000"/>
            </a:srgbClr>
          </a:solidFill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39856" tIns="0" rIns="0" bIns="0" rtlCol="0" anchor="ctr"/>
          <a:lstStyle/>
          <a:p>
            <a:pPr defTabSz="683953"/>
            <a:r>
              <a:rPr lang="ru-RU" sz="675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агностика и планирование</a:t>
            </a:r>
          </a:p>
        </p:txBody>
      </p:sp>
      <p:sp>
        <p:nvSpPr>
          <p:cNvPr id="192" name="Пятиугольник 72"/>
          <p:cNvSpPr/>
          <p:nvPr>
            <p:custDataLst>
              <p:tags r:id="rId51"/>
            </p:custDataLst>
          </p:nvPr>
        </p:nvSpPr>
        <p:spPr>
          <a:xfrm>
            <a:off x="1330233" y="1055301"/>
            <a:ext cx="1230122" cy="183522"/>
          </a:xfrm>
          <a:prstGeom prst="homePlate">
            <a:avLst>
              <a:gd name="adj" fmla="val 10366"/>
            </a:avLst>
          </a:prstGeom>
          <a:solidFill>
            <a:srgbClr val="EBE99B">
              <a:lumMod val="60000"/>
              <a:lumOff val="40000"/>
            </a:srgbClr>
          </a:solidFill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39856" tIns="0" rIns="0" bIns="0" rtlCol="0" anchor="ctr"/>
          <a:lstStyle/>
          <a:p>
            <a:pPr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ка </a:t>
            </a:r>
          </a:p>
        </p:txBody>
      </p:sp>
      <p:cxnSp>
        <p:nvCxnSpPr>
          <p:cNvPr id="193" name="Прямая со стрелкой 88"/>
          <p:cNvCxnSpPr/>
          <p:nvPr>
            <p:custDataLst>
              <p:tags r:id="rId52"/>
            </p:custDataLst>
          </p:nvPr>
        </p:nvCxnSpPr>
        <p:spPr>
          <a:xfrm>
            <a:off x="1330231" y="4104578"/>
            <a:ext cx="150909" cy="1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sp>
        <p:nvSpPr>
          <p:cNvPr id="194" name="TextBox 193"/>
          <p:cNvSpPr txBox="1"/>
          <p:nvPr>
            <p:custDataLst>
              <p:tags r:id="rId53"/>
            </p:custDataLst>
          </p:nvPr>
        </p:nvSpPr>
        <p:spPr>
          <a:xfrm>
            <a:off x="1392091" y="1196350"/>
            <a:ext cx="1251191" cy="276835"/>
          </a:xfrm>
          <a:prstGeom prst="rect">
            <a:avLst/>
          </a:prstGeom>
          <a:noFill/>
        </p:spPr>
        <p:txBody>
          <a:bodyPr wrap="square" lIns="60798" tIns="30399" rIns="60798" bIns="30399" rtlCol="0" anchor="ctr">
            <a:spAutoFit/>
          </a:bodyPr>
          <a:lstStyle/>
          <a:p>
            <a:pPr defTabSz="683953"/>
            <a:r>
              <a:rPr lang="ru-RU" sz="7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бор предприятия и подписание соглашения</a:t>
            </a:r>
          </a:p>
        </p:txBody>
      </p:sp>
      <p:sp>
        <p:nvSpPr>
          <p:cNvPr id="195" name="Скругленный прямоугольник 91"/>
          <p:cNvSpPr/>
          <p:nvPr>
            <p:custDataLst>
              <p:tags r:id="rId54"/>
            </p:custDataLst>
          </p:nvPr>
        </p:nvSpPr>
        <p:spPr>
          <a:xfrm>
            <a:off x="7544542" y="1270522"/>
            <a:ext cx="1143878" cy="176318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6" name="Прямоугольник 92"/>
          <p:cNvSpPr/>
          <p:nvPr>
            <p:custDataLst>
              <p:tags r:id="rId55"/>
            </p:custDataLst>
          </p:nvPr>
        </p:nvSpPr>
        <p:spPr>
          <a:xfrm>
            <a:off x="7594601" y="1308882"/>
            <a:ext cx="1093816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7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Актуализация целей и КПЭ</a:t>
            </a:r>
          </a:p>
        </p:txBody>
      </p:sp>
      <p:sp>
        <p:nvSpPr>
          <p:cNvPr id="197" name="Скругленный прямоугольник 93"/>
          <p:cNvSpPr/>
          <p:nvPr>
            <p:custDataLst>
              <p:tags r:id="rId56"/>
            </p:custDataLst>
          </p:nvPr>
        </p:nvSpPr>
        <p:spPr>
          <a:xfrm>
            <a:off x="7544539" y="1890326"/>
            <a:ext cx="1141998" cy="229943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8" name="Прямоугольник 94"/>
          <p:cNvSpPr/>
          <p:nvPr>
            <p:custDataLst>
              <p:tags r:id="rId57"/>
            </p:custDataLst>
          </p:nvPr>
        </p:nvSpPr>
        <p:spPr>
          <a:xfrm>
            <a:off x="7594602" y="1916533"/>
            <a:ext cx="109381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7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ыбор и оптимизация новых потоков</a:t>
            </a:r>
            <a:endParaRPr lang="ru-RU" sz="7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99" name="Скругленный прямоугольник 95"/>
          <p:cNvSpPr/>
          <p:nvPr>
            <p:custDataLst>
              <p:tags r:id="rId58"/>
            </p:custDataLst>
          </p:nvPr>
        </p:nvSpPr>
        <p:spPr>
          <a:xfrm>
            <a:off x="7539336" y="2163503"/>
            <a:ext cx="1147201" cy="361395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00" name="Прямоугольник 96"/>
          <p:cNvSpPr/>
          <p:nvPr>
            <p:custDataLst>
              <p:tags r:id="rId59"/>
            </p:custDataLst>
          </p:nvPr>
        </p:nvSpPr>
        <p:spPr>
          <a:xfrm>
            <a:off x="7592722" y="2175159"/>
            <a:ext cx="1093815" cy="276999"/>
          </a:xfrm>
          <a:prstGeom prst="rect">
            <a:avLst/>
          </a:prstGeom>
          <a:ln>
            <a:noFill/>
            <a:prstDash val="lgDash"/>
          </a:ln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еализация мероприятий по достижению/приближению идеального состояния потоков</a:t>
            </a:r>
          </a:p>
        </p:txBody>
      </p:sp>
      <p:sp>
        <p:nvSpPr>
          <p:cNvPr id="201" name="Скругленный прямоугольник 97"/>
          <p:cNvSpPr/>
          <p:nvPr>
            <p:custDataLst>
              <p:tags r:id="rId60"/>
            </p:custDataLst>
          </p:nvPr>
        </p:nvSpPr>
        <p:spPr>
          <a:xfrm>
            <a:off x="7549589" y="2711494"/>
            <a:ext cx="1136947" cy="371975"/>
          </a:xfrm>
          <a:prstGeom prst="roundRect">
            <a:avLst>
              <a:gd name="adj" fmla="val 10521"/>
            </a:avLst>
          </a:prstGeom>
          <a:solidFill>
            <a:srgbClr val="8064A2">
              <a:lumMod val="40000"/>
              <a:lumOff val="60000"/>
            </a:srgbClr>
          </a:solidFill>
          <a:ln w="9525" cap="flat" cmpd="sng" algn="ctr">
            <a:solidFill>
              <a:srgbClr val="8064A2"/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02" name="Прямоугольник 98"/>
          <p:cNvSpPr/>
          <p:nvPr>
            <p:custDataLst>
              <p:tags r:id="rId61"/>
            </p:custDataLst>
          </p:nvPr>
        </p:nvSpPr>
        <p:spPr>
          <a:xfrm>
            <a:off x="7599508" y="2721649"/>
            <a:ext cx="113694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ткрытие и реализация проектов по оптимизации дополнительных потоков и процессов</a:t>
            </a:r>
            <a:endParaRPr lang="ru-RU" sz="6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03" name="Овал 105"/>
          <p:cNvSpPr/>
          <p:nvPr>
            <p:custDataLst>
              <p:tags r:id="rId62"/>
            </p:custDataLst>
          </p:nvPr>
        </p:nvSpPr>
        <p:spPr>
          <a:xfrm>
            <a:off x="1259897" y="1270524"/>
            <a:ext cx="167592" cy="181427"/>
          </a:xfrm>
          <a:prstGeom prst="ellipse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900" b="1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4" name="Прямоугольник 110"/>
          <p:cNvSpPr/>
          <p:nvPr>
            <p:custDataLst>
              <p:tags r:id="rId63"/>
            </p:custDataLst>
          </p:nvPr>
        </p:nvSpPr>
        <p:spPr>
          <a:xfrm>
            <a:off x="2851409" y="1658530"/>
            <a:ext cx="1875930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7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недрение пилотного информационного центра</a:t>
            </a:r>
            <a:endParaRPr lang="ru-RU" sz="7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205" name="Прямая со стрелкой 112"/>
          <p:cNvCxnSpPr/>
          <p:nvPr>
            <p:custDataLst>
              <p:tags r:id="rId64"/>
            </p:custDataLst>
          </p:nvPr>
        </p:nvCxnSpPr>
        <p:spPr>
          <a:xfrm>
            <a:off x="1330231" y="3668117"/>
            <a:ext cx="150909" cy="1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206" name="Соединительная линия уступом 113"/>
          <p:cNvCxnSpPr>
            <a:cxnSpLocks/>
            <a:endCxn id="152" idx="1"/>
          </p:cNvCxnSpPr>
          <p:nvPr/>
        </p:nvCxnSpPr>
        <p:spPr>
          <a:xfrm flipV="1">
            <a:off x="2121767" y="1400854"/>
            <a:ext cx="643374" cy="114968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207" name="Прямая со стрелкой 114"/>
          <p:cNvCxnSpPr/>
          <p:nvPr>
            <p:custDataLst>
              <p:tags r:id="rId65"/>
            </p:custDataLst>
          </p:nvPr>
        </p:nvCxnSpPr>
        <p:spPr>
          <a:xfrm>
            <a:off x="1330231" y="1515825"/>
            <a:ext cx="794543" cy="0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208" name="Соединительная линия уступом 116"/>
          <p:cNvCxnSpPr>
            <a:cxnSpLocks/>
            <a:stCxn id="214" idx="3"/>
            <a:endCxn id="242" idx="0"/>
          </p:cNvCxnSpPr>
          <p:nvPr>
            <p:custDataLst>
              <p:tags r:id="rId66"/>
            </p:custDataLst>
          </p:nvPr>
        </p:nvCxnSpPr>
        <p:spPr>
          <a:xfrm>
            <a:off x="4836964" y="2134609"/>
            <a:ext cx="192799" cy="806821"/>
          </a:xfrm>
          <a:prstGeom prst="bentConnector2">
            <a:avLst/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209" name="Соединительная линия уступом 117"/>
          <p:cNvCxnSpPr>
            <a:cxnSpLocks/>
            <a:stCxn id="153" idx="3"/>
            <a:endCxn id="242" idx="1"/>
          </p:cNvCxnSpPr>
          <p:nvPr>
            <p:custDataLst>
              <p:tags r:id="rId67"/>
            </p:custDataLst>
          </p:nvPr>
        </p:nvCxnSpPr>
        <p:spPr>
          <a:xfrm>
            <a:off x="2423891" y="2248603"/>
            <a:ext cx="324644" cy="918039"/>
          </a:xfrm>
          <a:prstGeom prst="bentConnector3">
            <a:avLst>
              <a:gd name="adj1" fmla="val 36699"/>
            </a:avLst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210" name="Соединительная линия уступом 120"/>
          <p:cNvCxnSpPr>
            <a:cxnSpLocks/>
            <a:stCxn id="242" idx="3"/>
            <a:endCxn id="167" idx="0"/>
          </p:cNvCxnSpPr>
          <p:nvPr>
            <p:custDataLst>
              <p:tags r:id="rId68"/>
            </p:custDataLst>
          </p:nvPr>
        </p:nvCxnSpPr>
        <p:spPr>
          <a:xfrm flipH="1">
            <a:off x="6350443" y="3166642"/>
            <a:ext cx="960547" cy="585228"/>
          </a:xfrm>
          <a:prstGeom prst="bentConnector4">
            <a:avLst>
              <a:gd name="adj1" fmla="val -5553"/>
              <a:gd name="adj2" fmla="val 61429"/>
            </a:avLst>
          </a:prstGeom>
          <a:noFill/>
          <a:ln w="9525" cap="flat" cmpd="sng" algn="ctr">
            <a:solidFill>
              <a:srgbClr val="8064A2"/>
            </a:solidFill>
            <a:prstDash val="solid"/>
            <a:tailEnd type="triangle"/>
          </a:ln>
          <a:effectLst/>
        </p:spPr>
      </p:cxnSp>
      <p:cxnSp>
        <p:nvCxnSpPr>
          <p:cNvPr id="211" name="Соединительная линия уступом 121"/>
          <p:cNvCxnSpPr>
            <a:cxnSpLocks/>
            <a:stCxn id="160" idx="3"/>
          </p:cNvCxnSpPr>
          <p:nvPr>
            <p:custDataLst>
              <p:tags r:id="rId69"/>
            </p:custDataLst>
          </p:nvPr>
        </p:nvCxnSpPr>
        <p:spPr>
          <a:xfrm flipH="1">
            <a:off x="6776720" y="2134607"/>
            <a:ext cx="534270" cy="806823"/>
          </a:xfrm>
          <a:prstGeom prst="bentConnector4">
            <a:avLst>
              <a:gd name="adj1" fmla="val -42787"/>
              <a:gd name="adj2" fmla="val 62698"/>
            </a:avLst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sp>
        <p:nvSpPr>
          <p:cNvPr id="212" name="Скругленный прямоугольник 122"/>
          <p:cNvSpPr/>
          <p:nvPr>
            <p:custDataLst>
              <p:tags r:id="rId70"/>
            </p:custDataLst>
          </p:nvPr>
        </p:nvSpPr>
        <p:spPr>
          <a:xfrm>
            <a:off x="2753744" y="2660397"/>
            <a:ext cx="2076947" cy="229943"/>
          </a:xfrm>
          <a:prstGeom prst="roundRect">
            <a:avLst/>
          </a:prstGeom>
          <a:solidFill>
            <a:srgbClr val="8064A2">
              <a:lumMod val="40000"/>
              <a:lumOff val="60000"/>
            </a:srgbClr>
          </a:solidFill>
          <a:ln w="9525" cap="flat" cmpd="sng" algn="ctr">
            <a:solidFill>
              <a:srgbClr val="8064A2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3" name="Прямоугольник 123"/>
          <p:cNvSpPr/>
          <p:nvPr>
            <p:custDataLst>
              <p:tags r:id="rId71"/>
            </p:custDataLst>
          </p:nvPr>
        </p:nvSpPr>
        <p:spPr>
          <a:xfrm>
            <a:off x="2884950" y="2687188"/>
            <a:ext cx="190059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10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Формирование проектного офиса</a:t>
            </a:r>
            <a:endParaRPr lang="ru-RU" sz="10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14" name="Скругленный прямоугольник 124"/>
          <p:cNvSpPr/>
          <p:nvPr>
            <p:custDataLst>
              <p:tags r:id="rId72"/>
            </p:custDataLst>
          </p:nvPr>
        </p:nvSpPr>
        <p:spPr>
          <a:xfrm>
            <a:off x="2746580" y="1929704"/>
            <a:ext cx="2090384" cy="409810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5" name="Прямоугольник 125"/>
          <p:cNvSpPr/>
          <p:nvPr>
            <p:custDataLst>
              <p:tags r:id="rId73"/>
            </p:custDataLst>
          </p:nvPr>
        </p:nvSpPr>
        <p:spPr>
          <a:xfrm>
            <a:off x="2822434" y="1955905"/>
            <a:ext cx="1966155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Анализ текущего и определение целевого, идеального состояния потоков, разработка мероприятий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16" name="Скругленный прямоугольник 135"/>
          <p:cNvSpPr/>
          <p:nvPr>
            <p:custDataLst>
              <p:tags r:id="rId74"/>
            </p:custDataLst>
          </p:nvPr>
        </p:nvSpPr>
        <p:spPr>
          <a:xfrm>
            <a:off x="7544539" y="1488298"/>
            <a:ext cx="1143877" cy="345071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7" name="Прямоугольник 133"/>
          <p:cNvSpPr/>
          <p:nvPr>
            <p:custDataLst>
              <p:tags r:id="rId75"/>
            </p:custDataLst>
          </p:nvPr>
        </p:nvSpPr>
        <p:spPr>
          <a:xfrm>
            <a:off x="7594602" y="1498855"/>
            <a:ext cx="104016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недрение взаимосвязан-ных инфоцентров предприятия, цехов, малых групп</a:t>
            </a:r>
          </a:p>
        </p:txBody>
      </p:sp>
      <p:sp>
        <p:nvSpPr>
          <p:cNvPr id="218" name="Скругленный прямоугольник 156"/>
          <p:cNvSpPr/>
          <p:nvPr>
            <p:custDataLst>
              <p:tags r:id="rId76"/>
            </p:custDataLst>
          </p:nvPr>
        </p:nvSpPr>
        <p:spPr>
          <a:xfrm>
            <a:off x="2733232" y="3831475"/>
            <a:ext cx="2134331" cy="321047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9" name="Прямоугольник 163"/>
          <p:cNvSpPr/>
          <p:nvPr>
            <p:custDataLst>
              <p:tags r:id="rId77"/>
            </p:custDataLst>
          </p:nvPr>
        </p:nvSpPr>
        <p:spPr>
          <a:xfrm>
            <a:off x="2804106" y="3861759"/>
            <a:ext cx="204350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учение руководителей предприятия и участников (членов РГ) проектов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220" name="Соединительная линия уступом 168"/>
          <p:cNvCxnSpPr>
            <a:cxnSpLocks/>
            <a:stCxn id="157" idx="3"/>
            <a:endCxn id="212" idx="1"/>
          </p:cNvCxnSpPr>
          <p:nvPr>
            <p:custDataLst>
              <p:tags r:id="rId78"/>
            </p:custDataLst>
          </p:nvPr>
        </p:nvCxnSpPr>
        <p:spPr>
          <a:xfrm flipV="1">
            <a:off x="2431825" y="2775369"/>
            <a:ext cx="321919" cy="923807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9BBB59"/>
            </a:solidFill>
            <a:prstDash val="solid"/>
            <a:tailEnd type="triangle"/>
          </a:ln>
          <a:effectLst/>
        </p:spPr>
      </p:cxnSp>
      <p:cxnSp>
        <p:nvCxnSpPr>
          <p:cNvPr id="221" name="Соединительная линия уступом 172"/>
          <p:cNvCxnSpPr>
            <a:cxnSpLocks/>
            <a:stCxn id="157" idx="3"/>
            <a:endCxn id="212" idx="1"/>
          </p:cNvCxnSpPr>
          <p:nvPr>
            <p:custDataLst>
              <p:tags r:id="rId79"/>
            </p:custDataLst>
          </p:nvPr>
        </p:nvCxnSpPr>
        <p:spPr>
          <a:xfrm flipV="1">
            <a:off x="2431825" y="2775369"/>
            <a:ext cx="321919" cy="923807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9BBB59"/>
            </a:solidFill>
            <a:prstDash val="solid"/>
            <a:tailEnd type="triangle"/>
          </a:ln>
          <a:effectLst/>
        </p:spPr>
      </p:cxnSp>
      <p:cxnSp>
        <p:nvCxnSpPr>
          <p:cNvPr id="222" name="Соединительная линия уступом 179"/>
          <p:cNvCxnSpPr>
            <a:cxnSpLocks/>
            <a:endCxn id="218" idx="1"/>
          </p:cNvCxnSpPr>
          <p:nvPr>
            <p:custDataLst>
              <p:tags r:id="rId80"/>
            </p:custDataLst>
          </p:nvPr>
        </p:nvCxnSpPr>
        <p:spPr>
          <a:xfrm>
            <a:off x="2141034" y="3881300"/>
            <a:ext cx="592198" cy="110699"/>
          </a:xfrm>
          <a:prstGeom prst="bentConnector3">
            <a:avLst>
              <a:gd name="adj1" fmla="val 65441"/>
            </a:avLst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223" name="Соединительная линия уступом 180"/>
          <p:cNvCxnSpPr>
            <a:cxnSpLocks/>
            <a:endCxn id="237" idx="1"/>
          </p:cNvCxnSpPr>
          <p:nvPr/>
        </p:nvCxnSpPr>
        <p:spPr>
          <a:xfrm flipV="1">
            <a:off x="2141029" y="3713076"/>
            <a:ext cx="593273" cy="168222"/>
          </a:xfrm>
          <a:prstGeom prst="bentConnector3">
            <a:avLst>
              <a:gd name="adj1" fmla="val 80183"/>
            </a:avLst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224" name="Прямая со стрелкой 181"/>
          <p:cNvCxnSpPr/>
          <p:nvPr>
            <p:custDataLst>
              <p:tags r:id="rId81"/>
            </p:custDataLst>
          </p:nvPr>
        </p:nvCxnSpPr>
        <p:spPr>
          <a:xfrm>
            <a:off x="1330231" y="3884651"/>
            <a:ext cx="794543" cy="0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225" name="Скругленный прямоугольник 189"/>
          <p:cNvSpPr/>
          <p:nvPr>
            <p:custDataLst>
              <p:tags r:id="rId82"/>
            </p:custDataLst>
          </p:nvPr>
        </p:nvSpPr>
        <p:spPr>
          <a:xfrm>
            <a:off x="7549589" y="3716100"/>
            <a:ext cx="1164946" cy="355366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26" name="Прямоугольник 190"/>
          <p:cNvSpPr/>
          <p:nvPr>
            <p:custDataLst>
              <p:tags r:id="rId83"/>
            </p:custDataLst>
          </p:nvPr>
        </p:nvSpPr>
        <p:spPr>
          <a:xfrm>
            <a:off x="7566640" y="3769696"/>
            <a:ext cx="112438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учение участников (членов РГ) проектов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227" name="Соединительная линия уступом 201"/>
          <p:cNvCxnSpPr>
            <a:cxnSpLocks/>
          </p:cNvCxnSpPr>
          <p:nvPr>
            <p:custDataLst>
              <p:tags r:id="rId84"/>
            </p:custDataLst>
          </p:nvPr>
        </p:nvCxnSpPr>
        <p:spPr>
          <a:xfrm rot="5400000" flipH="1" flipV="1">
            <a:off x="4763267" y="3497670"/>
            <a:ext cx="593311" cy="384719"/>
          </a:xfrm>
          <a:prstGeom prst="bentConnector3">
            <a:avLst>
              <a:gd name="adj1" fmla="val -7366"/>
            </a:avLst>
          </a:prstGeom>
          <a:noFill/>
          <a:ln w="9525" cap="flat" cmpd="sng" algn="ctr">
            <a:solidFill>
              <a:srgbClr val="9BBB59"/>
            </a:solidFill>
            <a:prstDash val="solid"/>
            <a:tailEnd type="triangle"/>
          </a:ln>
          <a:effectLst/>
        </p:spPr>
      </p:cxnSp>
      <p:sp>
        <p:nvSpPr>
          <p:cNvPr id="228" name="Скругленный прямоугольник 219"/>
          <p:cNvSpPr/>
          <p:nvPr>
            <p:custDataLst>
              <p:tags r:id="rId85"/>
            </p:custDataLst>
          </p:nvPr>
        </p:nvSpPr>
        <p:spPr>
          <a:xfrm>
            <a:off x="1481139" y="4270505"/>
            <a:ext cx="949823" cy="403348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29" name="Прямоугольник 220"/>
          <p:cNvSpPr/>
          <p:nvPr>
            <p:custDataLst>
              <p:tags r:id="rId86"/>
            </p:custDataLst>
          </p:nvPr>
        </p:nvSpPr>
        <p:spPr>
          <a:xfrm>
            <a:off x="1523191" y="4335434"/>
            <a:ext cx="87692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9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иагностика предприятия</a:t>
            </a:r>
            <a:endParaRPr lang="ru-RU" sz="9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30" name="Скругленный прямоугольник 233"/>
          <p:cNvSpPr/>
          <p:nvPr>
            <p:custDataLst>
              <p:tags r:id="rId87"/>
            </p:custDataLst>
          </p:nvPr>
        </p:nvSpPr>
        <p:spPr>
          <a:xfrm>
            <a:off x="3810432" y="4598888"/>
            <a:ext cx="3500554" cy="125919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1" name="Прямоугольник 234"/>
          <p:cNvSpPr/>
          <p:nvPr>
            <p:custDataLst>
              <p:tags r:id="rId88"/>
            </p:custDataLst>
          </p:nvPr>
        </p:nvSpPr>
        <p:spPr>
          <a:xfrm>
            <a:off x="3828921" y="4596456"/>
            <a:ext cx="2444566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еализация плана коммуникации и мотивации</a:t>
            </a:r>
          </a:p>
        </p:txBody>
      </p:sp>
      <p:sp>
        <p:nvSpPr>
          <p:cNvPr id="232" name="Скругленный прямоугольник 238"/>
          <p:cNvSpPr/>
          <p:nvPr>
            <p:custDataLst>
              <p:tags r:id="rId89"/>
            </p:custDataLst>
          </p:nvPr>
        </p:nvSpPr>
        <p:spPr>
          <a:xfrm>
            <a:off x="7549589" y="4189891"/>
            <a:ext cx="1157935" cy="297490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3" name="Прямоугольник 239"/>
          <p:cNvSpPr/>
          <p:nvPr>
            <p:custDataLst>
              <p:tags r:id="rId90"/>
            </p:custDataLst>
          </p:nvPr>
        </p:nvSpPr>
        <p:spPr>
          <a:xfrm>
            <a:off x="7592722" y="4221291"/>
            <a:ext cx="1108459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7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альнейшая реализация плана коммуникаций и мотив.</a:t>
            </a:r>
          </a:p>
        </p:txBody>
      </p:sp>
      <p:cxnSp>
        <p:nvCxnSpPr>
          <p:cNvPr id="234" name="Соединительная линия уступом 242"/>
          <p:cNvCxnSpPr>
            <a:cxnSpLocks/>
            <a:stCxn id="228" idx="3"/>
            <a:endCxn id="171" idx="1"/>
          </p:cNvCxnSpPr>
          <p:nvPr>
            <p:custDataLst>
              <p:tags r:id="rId91"/>
            </p:custDataLst>
          </p:nvPr>
        </p:nvCxnSpPr>
        <p:spPr>
          <a:xfrm flipV="1">
            <a:off x="2430962" y="4271093"/>
            <a:ext cx="302271" cy="201086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D98616"/>
            </a:solidFill>
            <a:prstDash val="solid"/>
            <a:tailEnd type="triangle"/>
          </a:ln>
          <a:effectLst/>
        </p:spPr>
      </p:cxnSp>
      <p:cxnSp>
        <p:nvCxnSpPr>
          <p:cNvPr id="235" name="Соединительная линия уступом 244"/>
          <p:cNvCxnSpPr>
            <a:cxnSpLocks/>
            <a:stCxn id="228" idx="3"/>
            <a:endCxn id="230" idx="1"/>
          </p:cNvCxnSpPr>
          <p:nvPr>
            <p:custDataLst>
              <p:tags r:id="rId92"/>
            </p:custDataLst>
          </p:nvPr>
        </p:nvCxnSpPr>
        <p:spPr>
          <a:xfrm>
            <a:off x="2430962" y="4472179"/>
            <a:ext cx="1379470" cy="189669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D98616"/>
            </a:solidFill>
            <a:prstDash val="solid"/>
            <a:tailEnd type="triangle"/>
          </a:ln>
          <a:effectLst/>
        </p:spPr>
      </p:cxnSp>
      <p:cxnSp>
        <p:nvCxnSpPr>
          <p:cNvPr id="236" name="Соединительная линия уступом 247"/>
          <p:cNvCxnSpPr>
            <a:cxnSpLocks/>
            <a:stCxn id="249" idx="3"/>
            <a:endCxn id="242" idx="2"/>
          </p:cNvCxnSpPr>
          <p:nvPr>
            <p:custDataLst>
              <p:tags r:id="rId93"/>
            </p:custDataLst>
          </p:nvPr>
        </p:nvCxnSpPr>
        <p:spPr>
          <a:xfrm flipH="1" flipV="1">
            <a:off x="5029763" y="3391854"/>
            <a:ext cx="2281223" cy="1050241"/>
          </a:xfrm>
          <a:prstGeom prst="bentConnector4">
            <a:avLst>
              <a:gd name="adj1" fmla="val -3842"/>
              <a:gd name="adj2" fmla="val 80727"/>
            </a:avLst>
          </a:prstGeom>
          <a:noFill/>
          <a:ln w="9525" cap="flat" cmpd="sng" algn="ctr">
            <a:solidFill>
              <a:srgbClr val="D98616"/>
            </a:solidFill>
            <a:prstDash val="solid"/>
            <a:tailEnd type="triangle"/>
          </a:ln>
          <a:effectLst/>
        </p:spPr>
      </p:cxnSp>
      <p:sp>
        <p:nvSpPr>
          <p:cNvPr id="237" name="Скругленный прямоугольник 34"/>
          <p:cNvSpPr/>
          <p:nvPr>
            <p:custDataLst>
              <p:tags r:id="rId94"/>
            </p:custDataLst>
          </p:nvPr>
        </p:nvSpPr>
        <p:spPr>
          <a:xfrm>
            <a:off x="2734302" y="3632028"/>
            <a:ext cx="2138472" cy="162095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solid"/>
          </a:ln>
          <a:effectLst/>
        </p:spPr>
        <p:txBody>
          <a:bodyPr lIns="0" tIns="0" rIns="0" bIns="0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8" name="Прямоугольник 35"/>
          <p:cNvSpPr/>
          <p:nvPr>
            <p:custDataLst>
              <p:tags r:id="rId95"/>
            </p:custDataLst>
          </p:nvPr>
        </p:nvSpPr>
        <p:spPr>
          <a:xfrm>
            <a:off x="3091618" y="3646383"/>
            <a:ext cx="1786797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дготовка  тренеров предприятия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239" name="Соединительная линия уступом 253"/>
          <p:cNvCxnSpPr>
            <a:cxnSpLocks/>
            <a:stCxn id="171" idx="3"/>
          </p:cNvCxnSpPr>
          <p:nvPr>
            <p:custDataLst>
              <p:tags r:id="rId96"/>
            </p:custDataLst>
          </p:nvPr>
        </p:nvCxnSpPr>
        <p:spPr>
          <a:xfrm>
            <a:off x="4558985" y="4271093"/>
            <a:ext cx="62286" cy="104704"/>
          </a:xfrm>
          <a:prstGeom prst="bentConnector2">
            <a:avLst/>
          </a:prstGeom>
          <a:noFill/>
          <a:ln w="9525" cap="flat" cmpd="sng" algn="ctr">
            <a:solidFill>
              <a:srgbClr val="D98616"/>
            </a:solidFill>
            <a:prstDash val="solid"/>
            <a:tailEnd type="triangle"/>
          </a:ln>
          <a:effectLst/>
        </p:spPr>
      </p:cxnSp>
      <p:cxnSp>
        <p:nvCxnSpPr>
          <p:cNvPr id="240" name="Соединительная линия уступом 259"/>
          <p:cNvCxnSpPr>
            <a:cxnSpLocks/>
            <a:stCxn id="242" idx="3"/>
          </p:cNvCxnSpPr>
          <p:nvPr>
            <p:custDataLst>
              <p:tags r:id="rId97"/>
            </p:custDataLst>
          </p:nvPr>
        </p:nvCxnSpPr>
        <p:spPr>
          <a:xfrm flipH="1">
            <a:off x="7158990" y="3166642"/>
            <a:ext cx="152000" cy="1445791"/>
          </a:xfrm>
          <a:prstGeom prst="bentConnector4">
            <a:avLst>
              <a:gd name="adj1" fmla="val -115303"/>
              <a:gd name="adj2" fmla="val 93628"/>
            </a:avLst>
          </a:prstGeom>
          <a:noFill/>
          <a:ln w="9525" cap="flat" cmpd="sng" algn="ctr">
            <a:solidFill>
              <a:srgbClr val="8064A2"/>
            </a:solidFill>
            <a:prstDash val="solid"/>
            <a:tailEnd type="triangle"/>
          </a:ln>
          <a:effectLst/>
        </p:spPr>
      </p:cxnSp>
      <p:cxnSp>
        <p:nvCxnSpPr>
          <p:cNvPr id="241" name="Соединительная линия уступом 272"/>
          <p:cNvCxnSpPr>
            <a:cxnSpLocks/>
            <a:stCxn id="158" idx="3"/>
          </p:cNvCxnSpPr>
          <p:nvPr>
            <p:custDataLst>
              <p:tags r:id="rId98"/>
            </p:custDataLst>
          </p:nvPr>
        </p:nvCxnSpPr>
        <p:spPr>
          <a:xfrm>
            <a:off x="4836962" y="2481554"/>
            <a:ext cx="993607" cy="1256869"/>
          </a:xfrm>
          <a:prstGeom prst="bentConnector2">
            <a:avLst/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sp>
        <p:nvSpPr>
          <p:cNvPr id="242" name="Скругленный прямоугольник 30"/>
          <p:cNvSpPr/>
          <p:nvPr>
            <p:custDataLst>
              <p:tags r:id="rId99"/>
            </p:custDataLst>
          </p:nvPr>
        </p:nvSpPr>
        <p:spPr>
          <a:xfrm>
            <a:off x="2748535" y="2941430"/>
            <a:ext cx="4562455" cy="450424"/>
          </a:xfrm>
          <a:prstGeom prst="roundRect">
            <a:avLst/>
          </a:prstGeom>
          <a:solidFill>
            <a:srgbClr val="8064A2">
              <a:lumMod val="40000"/>
              <a:lumOff val="60000"/>
            </a:srgbClr>
          </a:solidFill>
          <a:ln w="9525" cap="flat" cmpd="sng" algn="ctr">
            <a:solidFill>
              <a:srgbClr val="8064A2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43" name="Прямоугольник 31"/>
          <p:cNvSpPr/>
          <p:nvPr>
            <p:custDataLst>
              <p:tags r:id="rId100"/>
            </p:custDataLst>
          </p:nvPr>
        </p:nvSpPr>
        <p:spPr>
          <a:xfrm>
            <a:off x="2799950" y="3009168"/>
            <a:ext cx="4412894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11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ткрытие и реализация проектов по оптимизации пилотного потока и вспомогательных процессов, влияющих на пилотный поток</a:t>
            </a:r>
            <a:endParaRPr lang="ru-RU" sz="11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44" name="Равнобедренный треугольник 275"/>
          <p:cNvSpPr/>
          <p:nvPr/>
        </p:nvSpPr>
        <p:spPr>
          <a:xfrm rot="10800000">
            <a:off x="2473139" y="1014110"/>
            <a:ext cx="177442" cy="202791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81000" tIns="0" rIns="0" bIns="0" rtlCol="0" anchor="ctr"/>
          <a:lstStyle/>
          <a:p>
            <a:pPr defTabSz="699390"/>
            <a:endParaRPr lang="ru-RU" sz="900" b="1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5" name="Равнобедренный треугольник 277"/>
          <p:cNvSpPr/>
          <p:nvPr/>
        </p:nvSpPr>
        <p:spPr>
          <a:xfrm rot="10800000">
            <a:off x="1259895" y="1014110"/>
            <a:ext cx="177442" cy="202791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81000" tIns="0" rIns="0" bIns="0" rtlCol="0" anchor="ctr"/>
          <a:lstStyle/>
          <a:p>
            <a:pPr defTabSz="699390"/>
            <a:endParaRPr lang="ru-RU" sz="900" b="1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6" name="Равнобедренный треугольник 279"/>
          <p:cNvSpPr/>
          <p:nvPr/>
        </p:nvSpPr>
        <p:spPr>
          <a:xfrm rot="10800000">
            <a:off x="4836962" y="1014110"/>
            <a:ext cx="177442" cy="202791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81000" tIns="0" rIns="0" bIns="0" rtlCol="0" anchor="ctr"/>
          <a:lstStyle/>
          <a:p>
            <a:pPr defTabSz="699390"/>
            <a:endParaRPr lang="ru-RU" sz="900" b="1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7" name="Равнобедренный треугольник 281"/>
          <p:cNvSpPr/>
          <p:nvPr/>
        </p:nvSpPr>
        <p:spPr>
          <a:xfrm rot="10800000">
            <a:off x="7367100" y="1014110"/>
            <a:ext cx="177442" cy="202791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81000" tIns="0" rIns="0" bIns="0" rtlCol="0" anchor="ctr"/>
          <a:lstStyle/>
          <a:p>
            <a:pPr defTabSz="699390"/>
            <a:endParaRPr lang="ru-RU" sz="900" b="1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8" name="Равнобедренный треугольник 283"/>
          <p:cNvSpPr/>
          <p:nvPr/>
        </p:nvSpPr>
        <p:spPr>
          <a:xfrm rot="10800000">
            <a:off x="8647731" y="1014110"/>
            <a:ext cx="177442" cy="202791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81000" tIns="0" rIns="0" bIns="0" rtlCol="0" anchor="ctr"/>
          <a:lstStyle/>
          <a:p>
            <a:pPr defTabSz="699390"/>
            <a:endParaRPr lang="ru-RU" sz="900" b="1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9" name="Скругленный прямоугольник 166"/>
          <p:cNvSpPr/>
          <p:nvPr>
            <p:custDataLst>
              <p:tags r:id="rId101"/>
            </p:custDataLst>
          </p:nvPr>
        </p:nvSpPr>
        <p:spPr>
          <a:xfrm>
            <a:off x="3627777" y="4375798"/>
            <a:ext cx="3683209" cy="132593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50" name="Прямоугольник 169"/>
          <p:cNvSpPr/>
          <p:nvPr>
            <p:custDataLst>
              <p:tags r:id="rId102"/>
            </p:custDataLst>
          </p:nvPr>
        </p:nvSpPr>
        <p:spPr>
          <a:xfrm>
            <a:off x="3691243" y="4376253"/>
            <a:ext cx="2531757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сещение производства топ-менеджерами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251" name="Соединительная линия уступом 170"/>
          <p:cNvCxnSpPr>
            <a:cxnSpLocks/>
            <a:endCxn id="173" idx="1"/>
          </p:cNvCxnSpPr>
          <p:nvPr>
            <p:custDataLst>
              <p:tags r:id="rId103"/>
            </p:custDataLst>
          </p:nvPr>
        </p:nvCxnSpPr>
        <p:spPr>
          <a:xfrm flipV="1">
            <a:off x="4573443" y="4272085"/>
            <a:ext cx="263521" cy="1028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D98616"/>
            </a:solidFill>
            <a:prstDash val="solid"/>
            <a:tailEnd type="triangle"/>
          </a:ln>
          <a:effectLst/>
        </p:spPr>
      </p:cxnSp>
      <p:sp>
        <p:nvSpPr>
          <p:cNvPr id="252" name="Скругленный прямоугольник 194"/>
          <p:cNvSpPr/>
          <p:nvPr>
            <p:custDataLst>
              <p:tags r:id="rId104"/>
            </p:custDataLst>
          </p:nvPr>
        </p:nvSpPr>
        <p:spPr>
          <a:xfrm>
            <a:off x="7549292" y="4559941"/>
            <a:ext cx="1165243" cy="130578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53" name="Прямоугольник 195"/>
          <p:cNvSpPr/>
          <p:nvPr>
            <p:custDataLst>
              <p:tags r:id="rId105"/>
            </p:custDataLst>
          </p:nvPr>
        </p:nvSpPr>
        <p:spPr>
          <a:xfrm>
            <a:off x="7596543" y="4557794"/>
            <a:ext cx="1089991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ни информирования</a:t>
            </a:r>
          </a:p>
        </p:txBody>
      </p:sp>
      <p:sp>
        <p:nvSpPr>
          <p:cNvPr id="255" name="TextBox 254"/>
          <p:cNvSpPr txBox="1"/>
          <p:nvPr/>
        </p:nvSpPr>
        <p:spPr>
          <a:xfrm>
            <a:off x="2452956" y="790607"/>
            <a:ext cx="25359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>
                <a:solidFill>
                  <a:srgbClr val="D74167"/>
                </a:solidFill>
              </a:rPr>
              <a:t>0</a:t>
            </a:r>
          </a:p>
        </p:txBody>
      </p:sp>
      <p:sp>
        <p:nvSpPr>
          <p:cNvPr id="256" name="TextBox 255"/>
          <p:cNvSpPr txBox="1"/>
          <p:nvPr/>
        </p:nvSpPr>
        <p:spPr>
          <a:xfrm>
            <a:off x="1013063" y="806252"/>
            <a:ext cx="60625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>
                <a:solidFill>
                  <a:srgbClr val="D74167"/>
                </a:solidFill>
              </a:rPr>
              <a:t>- 3 мес.</a:t>
            </a:r>
          </a:p>
        </p:txBody>
      </p:sp>
      <p:sp>
        <p:nvSpPr>
          <p:cNvPr id="257" name="TextBox 256"/>
          <p:cNvSpPr txBox="1"/>
          <p:nvPr/>
        </p:nvSpPr>
        <p:spPr>
          <a:xfrm>
            <a:off x="4695983" y="806243"/>
            <a:ext cx="53412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>
                <a:solidFill>
                  <a:srgbClr val="D74167"/>
                </a:solidFill>
              </a:rPr>
              <a:t>3 мес.</a:t>
            </a:r>
          </a:p>
        </p:txBody>
      </p:sp>
      <p:sp>
        <p:nvSpPr>
          <p:cNvPr id="258" name="TextBox 257"/>
          <p:cNvSpPr txBox="1"/>
          <p:nvPr/>
        </p:nvSpPr>
        <p:spPr>
          <a:xfrm>
            <a:off x="7235329" y="806243"/>
            <a:ext cx="53412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>
                <a:solidFill>
                  <a:srgbClr val="D74167"/>
                </a:solidFill>
              </a:rPr>
              <a:t>6 мес.</a:t>
            </a:r>
          </a:p>
        </p:txBody>
      </p:sp>
      <p:sp>
        <p:nvSpPr>
          <p:cNvPr id="259" name="TextBox 258"/>
          <p:cNvSpPr txBox="1"/>
          <p:nvPr/>
        </p:nvSpPr>
        <p:spPr>
          <a:xfrm>
            <a:off x="8388254" y="806244"/>
            <a:ext cx="60305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>
                <a:solidFill>
                  <a:srgbClr val="D74167"/>
                </a:solidFill>
              </a:rPr>
              <a:t>36 мес.</a:t>
            </a:r>
          </a:p>
        </p:txBody>
      </p:sp>
      <p:sp>
        <p:nvSpPr>
          <p:cNvPr id="120" name="Rectangle 125">
            <a:extLst>
              <a:ext uri="{FF2B5EF4-FFF2-40B4-BE49-F238E27FC236}">
                <a16:creationId xmlns:a16="http://schemas.microsoft.com/office/drawing/2014/main" id="{7675B3F2-91CF-4355-BAA9-256CBC584199}"/>
              </a:ext>
            </a:extLst>
          </p:cNvPr>
          <p:cNvSpPr/>
          <p:nvPr/>
        </p:nvSpPr>
        <p:spPr>
          <a:xfrm>
            <a:off x="318828" y="870387"/>
            <a:ext cx="8623466" cy="3921879"/>
          </a:xfrm>
          <a:prstGeom prst="rect">
            <a:avLst/>
          </a:prstGeom>
          <a:solidFill>
            <a:schemeClr val="bg1">
              <a:lumMod val="85000"/>
              <a:alpha val="49000"/>
            </a:schemeClr>
          </a:solidFill>
          <a:ln w="952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27000" tIns="0" rIns="27000" bIns="0" rtlCol="0" anchor="ctr"/>
          <a:lstStyle/>
          <a:p>
            <a:pPr algn="ctr"/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121" name="Rectangular Callout 130">
            <a:extLst>
              <a:ext uri="{FF2B5EF4-FFF2-40B4-BE49-F238E27FC236}">
                <a16:creationId xmlns:a16="http://schemas.microsoft.com/office/drawing/2014/main" id="{AE7D13F8-0638-4E3B-BDD8-35F9C2442E62}"/>
              </a:ext>
            </a:extLst>
          </p:cNvPr>
          <p:cNvSpPr/>
          <p:nvPr/>
        </p:nvSpPr>
        <p:spPr>
          <a:xfrm>
            <a:off x="4572000" y="1345774"/>
            <a:ext cx="2585332" cy="1434617"/>
          </a:xfrm>
          <a:prstGeom prst="wedgeRectCallout">
            <a:avLst>
              <a:gd name="adj1" fmla="val 68688"/>
              <a:gd name="adj2" fmla="val 49993"/>
            </a:avLst>
          </a:prstGeom>
          <a:solidFill>
            <a:schemeClr val="bg1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7000" rIns="27000" rtlCol="0" anchor="t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Каждый руководитель ведет личный проект по улучшениям.</a:t>
            </a:r>
          </a:p>
        </p:txBody>
      </p:sp>
      <p:sp>
        <p:nvSpPr>
          <p:cNvPr id="122" name="Овал 48">
            <a:extLst>
              <a:ext uri="{FF2B5EF4-FFF2-40B4-BE49-F238E27FC236}">
                <a16:creationId xmlns:a16="http://schemas.microsoft.com/office/drawing/2014/main" id="{E4ECB8BD-8388-4BB0-8221-38AAEBE06E37}"/>
              </a:ext>
            </a:extLst>
          </p:cNvPr>
          <p:cNvSpPr/>
          <p:nvPr/>
        </p:nvSpPr>
        <p:spPr>
          <a:xfrm>
            <a:off x="4541962" y="2455236"/>
            <a:ext cx="493621" cy="493621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27000" tIns="0" rIns="27000" bIns="0" rtlCol="0" anchor="ctr"/>
          <a:lstStyle/>
          <a:p>
            <a:pPr algn="ctr" defTabSz="342900"/>
            <a:r>
              <a:rPr lang="ru-RU" sz="2400" b="1" dirty="0">
                <a:solidFill>
                  <a:prstClr val="white"/>
                </a:solidFill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74888277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9466" y="381581"/>
            <a:ext cx="6251971" cy="164917"/>
          </a:xfrm>
        </p:spPr>
        <p:txBody>
          <a:bodyPr/>
          <a:lstStyle/>
          <a:p>
            <a:r>
              <a:rPr lang="ru-RU" dirty="0"/>
              <a:t>Процесс реализации программы на отдельном предприятии-участнике </a:t>
            </a:r>
          </a:p>
        </p:txBody>
      </p:sp>
      <p:sp>
        <p:nvSpPr>
          <p:cNvPr id="141" name="Прямоугольник 4"/>
          <p:cNvSpPr/>
          <p:nvPr>
            <p:custDataLst>
              <p:tags r:id="rId1"/>
            </p:custDataLst>
          </p:nvPr>
        </p:nvSpPr>
        <p:spPr>
          <a:xfrm>
            <a:off x="780495" y="4143563"/>
            <a:ext cx="8043653" cy="592521"/>
          </a:xfrm>
          <a:prstGeom prst="rect">
            <a:avLst/>
          </a:prstGeom>
          <a:solidFill>
            <a:srgbClr val="F79646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60948" tIns="30474" rIns="60948" bIns="30474" rtlCol="0" anchor="ctr"/>
          <a:lstStyle/>
          <a:p>
            <a:pPr algn="ctr"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2" name="Прямоугольник 5"/>
          <p:cNvSpPr/>
          <p:nvPr>
            <p:custDataLst>
              <p:tags r:id="rId2"/>
            </p:custDataLst>
          </p:nvPr>
        </p:nvSpPr>
        <p:spPr>
          <a:xfrm>
            <a:off x="932688" y="3487336"/>
            <a:ext cx="7891460" cy="688274"/>
          </a:xfrm>
          <a:prstGeom prst="rect">
            <a:avLst/>
          </a:prstGeom>
          <a:solidFill>
            <a:srgbClr val="9BBB59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60948" tIns="30474" rIns="60948" bIns="30474" rtlCol="0" anchor="ctr"/>
          <a:lstStyle/>
          <a:p>
            <a:pPr algn="ctr"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3" name="Прямоугольник 6"/>
          <p:cNvSpPr/>
          <p:nvPr>
            <p:custDataLst>
              <p:tags r:id="rId3"/>
            </p:custDataLst>
          </p:nvPr>
        </p:nvSpPr>
        <p:spPr>
          <a:xfrm>
            <a:off x="810768" y="1837289"/>
            <a:ext cx="8013383" cy="806898"/>
          </a:xfrm>
          <a:prstGeom prst="rect">
            <a:avLst/>
          </a:prstGeom>
          <a:solidFill>
            <a:srgbClr val="D8F2FB"/>
          </a:solidFill>
          <a:ln w="25400" cap="flat" cmpd="sng" algn="ctr">
            <a:noFill/>
            <a:prstDash val="solid"/>
          </a:ln>
          <a:effectLst/>
        </p:spPr>
        <p:txBody>
          <a:bodyPr lIns="60948" tIns="30474" rIns="60948" bIns="30474" rtlCol="0" anchor="ctr"/>
          <a:lstStyle/>
          <a:p>
            <a:pPr algn="ctr"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4" name="Прямоугольник 7"/>
          <p:cNvSpPr/>
          <p:nvPr>
            <p:custDataLst>
              <p:tags r:id="rId4"/>
            </p:custDataLst>
          </p:nvPr>
        </p:nvSpPr>
        <p:spPr>
          <a:xfrm>
            <a:off x="883920" y="2644186"/>
            <a:ext cx="7940231" cy="865001"/>
          </a:xfrm>
          <a:prstGeom prst="rect">
            <a:avLst/>
          </a:prstGeom>
          <a:solidFill>
            <a:srgbClr val="E6E0EC"/>
          </a:solidFill>
          <a:ln w="25400" cap="flat" cmpd="sng" algn="ctr">
            <a:noFill/>
            <a:prstDash val="solid"/>
          </a:ln>
          <a:effectLst/>
        </p:spPr>
        <p:txBody>
          <a:bodyPr lIns="60948" tIns="30474" rIns="60948" bIns="30474" rtlCol="0" anchor="ctr"/>
          <a:lstStyle/>
          <a:p>
            <a:pPr algn="ctr"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5" name="Прямоугольник 8"/>
          <p:cNvSpPr/>
          <p:nvPr>
            <p:custDataLst>
              <p:tags r:id="rId5"/>
            </p:custDataLst>
          </p:nvPr>
        </p:nvSpPr>
        <p:spPr>
          <a:xfrm>
            <a:off x="810768" y="1224279"/>
            <a:ext cx="8013383" cy="64906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0948" tIns="30474" rIns="60948" bIns="30474" rtlCol="0" anchor="ctr"/>
          <a:lstStyle/>
          <a:p>
            <a:pPr algn="ctr"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7" name="Пятиугольник 12"/>
          <p:cNvSpPr/>
          <p:nvPr>
            <p:custDataLst>
              <p:tags r:id="rId6"/>
            </p:custDataLst>
          </p:nvPr>
        </p:nvSpPr>
        <p:spPr>
          <a:xfrm>
            <a:off x="319849" y="1224279"/>
            <a:ext cx="815393" cy="649060"/>
          </a:xfrm>
          <a:prstGeom prst="homePlate">
            <a:avLst>
              <a:gd name="adj" fmla="val 5883"/>
            </a:avLst>
          </a:prstGeom>
          <a:solidFill>
            <a:sysClr val="window" lastClr="FFFFFF">
              <a:lumMod val="85000"/>
            </a:sys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КОМПОЗИЦИЯ</a:t>
            </a:r>
            <a:b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ЕЙ</a:t>
            </a:r>
          </a:p>
        </p:txBody>
      </p:sp>
      <p:sp>
        <p:nvSpPr>
          <p:cNvPr id="148" name="Пятиугольник 13"/>
          <p:cNvSpPr/>
          <p:nvPr>
            <p:custDataLst>
              <p:tags r:id="rId7"/>
            </p:custDataLst>
          </p:nvPr>
        </p:nvSpPr>
        <p:spPr>
          <a:xfrm>
            <a:off x="319849" y="1873341"/>
            <a:ext cx="815393" cy="770846"/>
          </a:xfrm>
          <a:prstGeom prst="homePlate">
            <a:avLst>
              <a:gd name="adj" fmla="val 5614"/>
            </a:avLst>
          </a:prstGeom>
          <a:solidFill>
            <a:srgbClr val="3BBEED">
              <a:lumMod val="40000"/>
              <a:lumOff val="60000"/>
            </a:srgb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ТИМИЗАЦИЯ ПОТОКОВ ПО ПРОИЗВОДСТВУ ПРОДУКЦИИ</a:t>
            </a:r>
          </a:p>
        </p:txBody>
      </p:sp>
      <p:sp>
        <p:nvSpPr>
          <p:cNvPr id="149" name="Пятиугольник 14"/>
          <p:cNvSpPr/>
          <p:nvPr>
            <p:custDataLst>
              <p:tags r:id="rId8"/>
            </p:custDataLst>
          </p:nvPr>
        </p:nvSpPr>
        <p:spPr>
          <a:xfrm>
            <a:off x="319849" y="3485817"/>
            <a:ext cx="815393" cy="689793"/>
          </a:xfrm>
          <a:prstGeom prst="homePlate">
            <a:avLst>
              <a:gd name="adj" fmla="val 7344"/>
            </a:avLst>
          </a:prstGeom>
          <a:solidFill>
            <a:srgbClr val="9BBB59">
              <a:lumMod val="60000"/>
              <a:lumOff val="40000"/>
            </a:srgb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УЧЕНИЕ</a:t>
            </a:r>
          </a:p>
        </p:txBody>
      </p:sp>
      <p:sp>
        <p:nvSpPr>
          <p:cNvPr id="150" name="Пятиугольник 15"/>
          <p:cNvSpPr/>
          <p:nvPr>
            <p:custDataLst>
              <p:tags r:id="rId9"/>
            </p:custDataLst>
          </p:nvPr>
        </p:nvSpPr>
        <p:spPr>
          <a:xfrm>
            <a:off x="319849" y="4162931"/>
            <a:ext cx="815393" cy="582804"/>
          </a:xfrm>
          <a:prstGeom prst="homePlate">
            <a:avLst>
              <a:gd name="adj" fmla="val 8204"/>
            </a:avLst>
          </a:prstGeom>
          <a:solidFill>
            <a:srgbClr val="F79646">
              <a:lumMod val="60000"/>
              <a:lumOff val="40000"/>
            </a:srgb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ИЗМЕНЕНИЯМИ</a:t>
            </a:r>
          </a:p>
        </p:txBody>
      </p:sp>
      <p:sp>
        <p:nvSpPr>
          <p:cNvPr id="151" name="Пятиугольник 16"/>
          <p:cNvSpPr/>
          <p:nvPr>
            <p:custDataLst>
              <p:tags r:id="rId10"/>
            </p:custDataLst>
          </p:nvPr>
        </p:nvSpPr>
        <p:spPr>
          <a:xfrm>
            <a:off x="319849" y="2644186"/>
            <a:ext cx="815393" cy="865001"/>
          </a:xfrm>
          <a:prstGeom prst="homePlate">
            <a:avLst>
              <a:gd name="adj" fmla="val 6286"/>
            </a:avLst>
          </a:prstGeom>
          <a:solidFill>
            <a:srgbClr val="8064A2">
              <a:lumMod val="40000"/>
              <a:lumOff val="60000"/>
            </a:srgb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</a:t>
            </a:r>
            <a:b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АМИ И МЕТОДОЛОГИЕЙ</a:t>
            </a:r>
          </a:p>
        </p:txBody>
      </p:sp>
      <p:sp>
        <p:nvSpPr>
          <p:cNvPr id="152" name="Скругленный прямоугольник 17"/>
          <p:cNvSpPr/>
          <p:nvPr>
            <p:custDataLst>
              <p:tags r:id="rId11"/>
            </p:custDataLst>
          </p:nvPr>
        </p:nvSpPr>
        <p:spPr>
          <a:xfrm>
            <a:off x="2765141" y="1285882"/>
            <a:ext cx="2071818" cy="229943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3" name="Скругленный прямоугольник 18"/>
          <p:cNvSpPr/>
          <p:nvPr>
            <p:custDataLst>
              <p:tags r:id="rId12"/>
            </p:custDataLst>
          </p:nvPr>
        </p:nvSpPr>
        <p:spPr>
          <a:xfrm>
            <a:off x="1479197" y="1915979"/>
            <a:ext cx="944694" cy="665248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40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4" name="Прямоугольник 19"/>
          <p:cNvSpPr/>
          <p:nvPr>
            <p:custDataLst>
              <p:tags r:id="rId13"/>
            </p:custDataLst>
          </p:nvPr>
        </p:nvSpPr>
        <p:spPr>
          <a:xfrm>
            <a:off x="1524528" y="2031338"/>
            <a:ext cx="856689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10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ыбор потоков для оптимизации </a:t>
            </a:r>
            <a:endParaRPr lang="ru-RU" sz="10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55" name="Прямоугольник 20"/>
          <p:cNvSpPr/>
          <p:nvPr>
            <p:custDataLst>
              <p:tags r:id="rId14"/>
            </p:custDataLst>
          </p:nvPr>
        </p:nvSpPr>
        <p:spPr>
          <a:xfrm>
            <a:off x="2825626" y="1334280"/>
            <a:ext cx="192949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азработка дерева целей, постановка КПЭ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56" name="Скругленный прямоугольник 21"/>
          <p:cNvSpPr/>
          <p:nvPr>
            <p:custDataLst>
              <p:tags r:id="rId15"/>
            </p:custDataLst>
          </p:nvPr>
        </p:nvSpPr>
        <p:spPr>
          <a:xfrm>
            <a:off x="1477151" y="3509467"/>
            <a:ext cx="948680" cy="352293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7" name="Прямоугольник 22"/>
          <p:cNvSpPr/>
          <p:nvPr>
            <p:custDataLst>
              <p:tags r:id="rId16"/>
            </p:custDataLst>
          </p:nvPr>
        </p:nvSpPr>
        <p:spPr>
          <a:xfrm>
            <a:off x="1486351" y="3514510"/>
            <a:ext cx="945474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учение/стажировка рабочей группы пилотного проекта по оптимизации потоков</a:t>
            </a:r>
          </a:p>
        </p:txBody>
      </p:sp>
      <p:sp>
        <p:nvSpPr>
          <p:cNvPr id="158" name="Скругленный прямоугольник 23"/>
          <p:cNvSpPr/>
          <p:nvPr>
            <p:custDataLst>
              <p:tags r:id="rId17"/>
            </p:custDataLst>
          </p:nvPr>
        </p:nvSpPr>
        <p:spPr>
          <a:xfrm>
            <a:off x="2746579" y="2366582"/>
            <a:ext cx="2090383" cy="229943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9" name="Прямоугольник 24"/>
          <p:cNvSpPr/>
          <p:nvPr>
            <p:custDataLst>
              <p:tags r:id="rId18"/>
            </p:custDataLst>
          </p:nvPr>
        </p:nvSpPr>
        <p:spPr>
          <a:xfrm>
            <a:off x="2815428" y="2397966"/>
            <a:ext cx="1900542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10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оздание участков-образцов</a:t>
            </a:r>
          </a:p>
        </p:txBody>
      </p:sp>
      <p:sp>
        <p:nvSpPr>
          <p:cNvPr id="160" name="Скругленный прямоугольник 25"/>
          <p:cNvSpPr/>
          <p:nvPr>
            <p:custDataLst>
              <p:tags r:id="rId19"/>
            </p:custDataLst>
          </p:nvPr>
        </p:nvSpPr>
        <p:spPr>
          <a:xfrm>
            <a:off x="5390485" y="1929702"/>
            <a:ext cx="1920505" cy="409809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1" name="Прямоугольник 26"/>
          <p:cNvSpPr/>
          <p:nvPr>
            <p:custDataLst>
              <p:tags r:id="rId20"/>
            </p:custDataLst>
          </p:nvPr>
        </p:nvSpPr>
        <p:spPr>
          <a:xfrm>
            <a:off x="5407710" y="1929958"/>
            <a:ext cx="1880421" cy="4154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9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еализация мероприятий по достижению целевого состояния потоков</a:t>
            </a:r>
            <a:endParaRPr lang="ru-RU" sz="9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2" name="Скругленный прямоугольник 27"/>
          <p:cNvSpPr/>
          <p:nvPr>
            <p:custDataLst>
              <p:tags r:id="rId21"/>
            </p:custDataLst>
          </p:nvPr>
        </p:nvSpPr>
        <p:spPr>
          <a:xfrm>
            <a:off x="5381496" y="1289913"/>
            <a:ext cx="1929495" cy="443391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3" name="Прямоугольник 28"/>
          <p:cNvSpPr/>
          <p:nvPr>
            <p:custDataLst>
              <p:tags r:id="rId22"/>
            </p:custDataLst>
          </p:nvPr>
        </p:nvSpPr>
        <p:spPr>
          <a:xfrm>
            <a:off x="5468667" y="1442591"/>
            <a:ext cx="1796379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9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недрение инфоцентра предприятия</a:t>
            </a:r>
            <a:endParaRPr lang="ru-RU" sz="9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4" name="Скругленный прямоугольник 29"/>
          <p:cNvSpPr/>
          <p:nvPr>
            <p:custDataLst>
              <p:tags r:id="rId23"/>
            </p:custDataLst>
          </p:nvPr>
        </p:nvSpPr>
        <p:spPr>
          <a:xfrm>
            <a:off x="2765141" y="1603244"/>
            <a:ext cx="2071818" cy="224747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/>
            <a:endParaRPr lang="ru-RU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5" name="Скругленный прямоугольник 32"/>
          <p:cNvSpPr/>
          <p:nvPr>
            <p:custDataLst>
              <p:tags r:id="rId24"/>
            </p:custDataLst>
          </p:nvPr>
        </p:nvSpPr>
        <p:spPr>
          <a:xfrm>
            <a:off x="7538720" y="3134383"/>
            <a:ext cx="1147817" cy="309983"/>
          </a:xfrm>
          <a:prstGeom prst="roundRect">
            <a:avLst/>
          </a:prstGeom>
          <a:solidFill>
            <a:srgbClr val="8064A2">
              <a:lumMod val="40000"/>
              <a:lumOff val="60000"/>
            </a:srgbClr>
          </a:solidFill>
          <a:ln w="9525" cap="flat" cmpd="sng" algn="ctr">
            <a:solidFill>
              <a:srgbClr val="8064A2"/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6" name="Прямоугольник 33"/>
          <p:cNvSpPr/>
          <p:nvPr>
            <p:custDataLst>
              <p:tags r:id="rId25"/>
            </p:custDataLst>
          </p:nvPr>
        </p:nvSpPr>
        <p:spPr>
          <a:xfrm>
            <a:off x="7566640" y="3196655"/>
            <a:ext cx="1119894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недрение системы по работе с предложениями по улучшениям</a:t>
            </a:r>
            <a:endParaRPr lang="ru-RU" sz="6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7" name="Скругленный прямоугольник 36"/>
          <p:cNvSpPr/>
          <p:nvPr>
            <p:custDataLst>
              <p:tags r:id="rId26"/>
            </p:custDataLst>
          </p:nvPr>
        </p:nvSpPr>
        <p:spPr>
          <a:xfrm>
            <a:off x="5389896" y="3751870"/>
            <a:ext cx="1921093" cy="355366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8" name="Прямоугольник 37"/>
          <p:cNvSpPr/>
          <p:nvPr>
            <p:custDataLst>
              <p:tags r:id="rId27"/>
            </p:custDataLst>
          </p:nvPr>
        </p:nvSpPr>
        <p:spPr>
          <a:xfrm>
            <a:off x="5463482" y="3791470"/>
            <a:ext cx="177184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9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учение участников (членов РГ) проектов</a:t>
            </a:r>
            <a:endParaRPr lang="ru-RU" sz="9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9" name="Скругленный прямоугольник 38"/>
          <p:cNvSpPr/>
          <p:nvPr>
            <p:custDataLst>
              <p:tags r:id="rId28"/>
            </p:custDataLst>
          </p:nvPr>
        </p:nvSpPr>
        <p:spPr>
          <a:xfrm>
            <a:off x="1475025" y="3996259"/>
            <a:ext cx="948865" cy="152522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0" name="Прямоугольник 39"/>
          <p:cNvSpPr/>
          <p:nvPr>
            <p:custDataLst>
              <p:tags r:id="rId29"/>
            </p:custDataLst>
          </p:nvPr>
        </p:nvSpPr>
        <p:spPr>
          <a:xfrm>
            <a:off x="1513328" y="4023719"/>
            <a:ext cx="858631" cy="923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учение ГД предприятия</a:t>
            </a:r>
            <a:endParaRPr lang="ru-RU" sz="6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71" name="Скругленный прямоугольник 40"/>
          <p:cNvSpPr/>
          <p:nvPr>
            <p:custDataLst>
              <p:tags r:id="rId30"/>
            </p:custDataLst>
          </p:nvPr>
        </p:nvSpPr>
        <p:spPr>
          <a:xfrm>
            <a:off x="2733233" y="4204796"/>
            <a:ext cx="1825752" cy="132593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2" name="Прямоугольник 41"/>
          <p:cNvSpPr/>
          <p:nvPr>
            <p:custDataLst>
              <p:tags r:id="rId31"/>
            </p:custDataLst>
          </p:nvPr>
        </p:nvSpPr>
        <p:spPr>
          <a:xfrm>
            <a:off x="2802114" y="4210483"/>
            <a:ext cx="170594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тартовое совещание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73" name="Скругленный прямоугольник 42"/>
          <p:cNvSpPr/>
          <p:nvPr>
            <p:custDataLst>
              <p:tags r:id="rId32"/>
            </p:custDataLst>
          </p:nvPr>
        </p:nvSpPr>
        <p:spPr>
          <a:xfrm>
            <a:off x="4836964" y="4204347"/>
            <a:ext cx="2474023" cy="135475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4" name="Прямоугольник 43"/>
          <p:cNvSpPr/>
          <p:nvPr>
            <p:custDataLst>
              <p:tags r:id="rId33"/>
            </p:custDataLst>
          </p:nvPr>
        </p:nvSpPr>
        <p:spPr>
          <a:xfrm>
            <a:off x="4867566" y="4209449"/>
            <a:ext cx="2404454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оведение Дней информирования</a:t>
            </a:r>
          </a:p>
        </p:txBody>
      </p:sp>
      <p:cxnSp>
        <p:nvCxnSpPr>
          <p:cNvPr id="175" name="Соединительная линия уступом 46"/>
          <p:cNvCxnSpPr>
            <a:cxnSpLocks/>
            <a:endCxn id="164" idx="1"/>
          </p:cNvCxnSpPr>
          <p:nvPr>
            <p:custDataLst>
              <p:tags r:id="rId34"/>
            </p:custDataLst>
          </p:nvPr>
        </p:nvCxnSpPr>
        <p:spPr>
          <a:xfrm>
            <a:off x="2121772" y="1515825"/>
            <a:ext cx="643369" cy="199793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176" name="Соединительная линия уступом 47"/>
          <p:cNvCxnSpPr>
            <a:cxnSpLocks/>
            <a:stCxn id="153" idx="3"/>
            <a:endCxn id="214" idx="1"/>
          </p:cNvCxnSpPr>
          <p:nvPr>
            <p:custDataLst>
              <p:tags r:id="rId35"/>
            </p:custDataLst>
          </p:nvPr>
        </p:nvCxnSpPr>
        <p:spPr>
          <a:xfrm flipV="1">
            <a:off x="2423891" y="2134609"/>
            <a:ext cx="322689" cy="113994"/>
          </a:xfrm>
          <a:prstGeom prst="bentConnector3">
            <a:avLst>
              <a:gd name="adj1" fmla="val 16940"/>
            </a:avLst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177" name="Соединительная линия уступом 48"/>
          <p:cNvCxnSpPr>
            <a:cxnSpLocks/>
            <a:stCxn id="153" idx="3"/>
          </p:cNvCxnSpPr>
          <p:nvPr>
            <p:custDataLst>
              <p:tags r:id="rId36"/>
            </p:custDataLst>
          </p:nvPr>
        </p:nvCxnSpPr>
        <p:spPr>
          <a:xfrm>
            <a:off x="2423891" y="2248603"/>
            <a:ext cx="316419" cy="149057"/>
          </a:xfrm>
          <a:prstGeom prst="bentConnector3">
            <a:avLst>
              <a:gd name="adj1" fmla="val 17088"/>
            </a:avLst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178" name="Соединительная линия уступом 49"/>
          <p:cNvCxnSpPr>
            <a:cxnSpLocks/>
            <a:stCxn id="214" idx="3"/>
            <a:endCxn id="160" idx="1"/>
          </p:cNvCxnSpPr>
          <p:nvPr>
            <p:custDataLst>
              <p:tags r:id="rId37"/>
            </p:custDataLst>
          </p:nvPr>
        </p:nvCxnSpPr>
        <p:spPr>
          <a:xfrm flipV="1">
            <a:off x="4836964" y="2134607"/>
            <a:ext cx="553521" cy="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179" name="Соединительная линия уступом 50"/>
          <p:cNvCxnSpPr/>
          <p:nvPr>
            <p:custDataLst>
              <p:tags r:id="rId38"/>
            </p:custDataLst>
          </p:nvPr>
        </p:nvCxnSpPr>
        <p:spPr>
          <a:xfrm>
            <a:off x="4558984" y="2757486"/>
            <a:ext cx="313973" cy="183947"/>
          </a:xfrm>
          <a:prstGeom prst="bentConnector2">
            <a:avLst/>
          </a:prstGeom>
          <a:noFill/>
          <a:ln w="9525" cap="flat" cmpd="sng" algn="ctr">
            <a:solidFill>
              <a:srgbClr val="8064A2"/>
            </a:solidFill>
            <a:prstDash val="solid"/>
            <a:tailEnd type="triangle"/>
          </a:ln>
          <a:effectLst/>
        </p:spPr>
      </p:cxnSp>
      <p:cxnSp>
        <p:nvCxnSpPr>
          <p:cNvPr id="180" name="Соединительная линия уступом 51"/>
          <p:cNvCxnSpPr>
            <a:cxnSpLocks/>
            <a:stCxn id="152" idx="3"/>
            <a:endCxn id="162" idx="1"/>
          </p:cNvCxnSpPr>
          <p:nvPr>
            <p:custDataLst>
              <p:tags r:id="rId39"/>
            </p:custDataLst>
          </p:nvPr>
        </p:nvCxnSpPr>
        <p:spPr>
          <a:xfrm>
            <a:off x="4836959" y="1400854"/>
            <a:ext cx="544537" cy="110755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tailEnd type="triangle"/>
          </a:ln>
          <a:effectLst/>
        </p:spPr>
      </p:cxnSp>
      <p:cxnSp>
        <p:nvCxnSpPr>
          <p:cNvPr id="181" name="Соединительная линия уступом 52"/>
          <p:cNvCxnSpPr>
            <a:cxnSpLocks/>
            <a:stCxn id="164" idx="3"/>
            <a:endCxn id="162" idx="1"/>
          </p:cNvCxnSpPr>
          <p:nvPr>
            <p:custDataLst>
              <p:tags r:id="rId40"/>
            </p:custDataLst>
          </p:nvPr>
        </p:nvCxnSpPr>
        <p:spPr>
          <a:xfrm flipV="1">
            <a:off x="4836959" y="1511609"/>
            <a:ext cx="544537" cy="204009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tailEnd type="triangle"/>
          </a:ln>
          <a:effectLst/>
        </p:spPr>
      </p:cxnSp>
      <p:cxnSp>
        <p:nvCxnSpPr>
          <p:cNvPr id="182" name="Прямая со стрелкой 53"/>
          <p:cNvCxnSpPr>
            <a:cxnSpLocks/>
            <a:endCxn id="228" idx="1"/>
          </p:cNvCxnSpPr>
          <p:nvPr>
            <p:custDataLst>
              <p:tags r:id="rId41"/>
            </p:custDataLst>
          </p:nvPr>
        </p:nvCxnSpPr>
        <p:spPr>
          <a:xfrm flipV="1">
            <a:off x="1330231" y="4472179"/>
            <a:ext cx="150908" cy="4970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183" name="Соединительная линия уступом 54"/>
          <p:cNvCxnSpPr>
            <a:cxnSpLocks/>
            <a:stCxn id="237" idx="3"/>
            <a:endCxn id="167" idx="1"/>
          </p:cNvCxnSpPr>
          <p:nvPr>
            <p:custDataLst>
              <p:tags r:id="rId42"/>
            </p:custDataLst>
          </p:nvPr>
        </p:nvCxnSpPr>
        <p:spPr>
          <a:xfrm>
            <a:off x="4872774" y="3713076"/>
            <a:ext cx="517122" cy="216477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9BBB59"/>
            </a:solidFill>
            <a:prstDash val="solid"/>
            <a:tailEnd type="triangle"/>
          </a:ln>
          <a:effectLst/>
        </p:spPr>
      </p:cxnSp>
      <p:cxnSp>
        <p:nvCxnSpPr>
          <p:cNvPr id="184" name="Соединительная линия уступом 58"/>
          <p:cNvCxnSpPr>
            <a:cxnSpLocks/>
            <a:stCxn id="169" idx="3"/>
          </p:cNvCxnSpPr>
          <p:nvPr>
            <p:custDataLst>
              <p:tags r:id="rId43"/>
            </p:custDataLst>
          </p:nvPr>
        </p:nvCxnSpPr>
        <p:spPr>
          <a:xfrm flipV="1">
            <a:off x="2423890" y="3406054"/>
            <a:ext cx="502141" cy="666466"/>
          </a:xfrm>
          <a:prstGeom prst="bentConnector2">
            <a:avLst/>
          </a:prstGeom>
          <a:noFill/>
          <a:ln w="9525" cap="flat" cmpd="sng" algn="ctr">
            <a:solidFill>
              <a:srgbClr val="9BBB59"/>
            </a:solidFill>
            <a:prstDash val="solid"/>
            <a:tailEnd type="triangle"/>
          </a:ln>
          <a:effectLst/>
        </p:spPr>
      </p:cxnSp>
      <p:cxnSp>
        <p:nvCxnSpPr>
          <p:cNvPr id="185" name="Соединительная линия уступом 63"/>
          <p:cNvCxnSpPr>
            <a:cxnSpLocks/>
            <a:stCxn id="162" idx="3"/>
          </p:cNvCxnSpPr>
          <p:nvPr>
            <p:custDataLst>
              <p:tags r:id="rId44"/>
            </p:custDataLst>
          </p:nvPr>
        </p:nvCxnSpPr>
        <p:spPr>
          <a:xfrm flipH="1">
            <a:off x="6131561" y="1511609"/>
            <a:ext cx="1179430" cy="1429821"/>
          </a:xfrm>
          <a:prstGeom prst="bentConnector4">
            <a:avLst>
              <a:gd name="adj1" fmla="val -12598"/>
              <a:gd name="adj2" fmla="val 70277"/>
            </a:avLst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tailEnd type="triangle"/>
          </a:ln>
          <a:effectLst/>
        </p:spPr>
      </p:cxnSp>
      <p:cxnSp>
        <p:nvCxnSpPr>
          <p:cNvPr id="186" name="Прямая соединительная линия 66"/>
          <p:cNvCxnSpPr/>
          <p:nvPr>
            <p:custDataLst>
              <p:tags r:id="rId45"/>
            </p:custDataLst>
          </p:nvPr>
        </p:nvCxnSpPr>
        <p:spPr>
          <a:xfrm>
            <a:off x="1331247" y="1446841"/>
            <a:ext cx="0" cy="3030308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</a:ln>
          <a:effectLst/>
        </p:spPr>
      </p:cxnSp>
      <p:cxnSp>
        <p:nvCxnSpPr>
          <p:cNvPr id="187" name="Прямая со стрелкой 67"/>
          <p:cNvCxnSpPr/>
          <p:nvPr>
            <p:custDataLst>
              <p:tags r:id="rId46"/>
            </p:custDataLst>
          </p:nvPr>
        </p:nvCxnSpPr>
        <p:spPr>
          <a:xfrm>
            <a:off x="1330231" y="2225770"/>
            <a:ext cx="150909" cy="1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188" name="Прямая со стрелкой 68"/>
          <p:cNvCxnSpPr>
            <a:cxnSpLocks/>
          </p:cNvCxnSpPr>
          <p:nvPr>
            <p:custDataLst>
              <p:tags r:id="rId47"/>
            </p:custDataLst>
          </p:nvPr>
        </p:nvCxnSpPr>
        <p:spPr>
          <a:xfrm>
            <a:off x="1324976" y="2860147"/>
            <a:ext cx="1421603" cy="1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sp>
        <p:nvSpPr>
          <p:cNvPr id="189" name="Пятиугольник 69"/>
          <p:cNvSpPr/>
          <p:nvPr>
            <p:custDataLst>
              <p:tags r:id="rId48"/>
            </p:custDataLst>
          </p:nvPr>
        </p:nvSpPr>
        <p:spPr>
          <a:xfrm>
            <a:off x="7401127" y="1055301"/>
            <a:ext cx="1346358" cy="183522"/>
          </a:xfrm>
          <a:prstGeom prst="homePlate">
            <a:avLst>
              <a:gd name="adj" fmla="val 10366"/>
            </a:avLst>
          </a:prstGeom>
          <a:solidFill>
            <a:schemeClr val="accent5"/>
          </a:solidFill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189000" tIns="0" rIns="0" bIns="0" rtlCol="0" anchor="ctr"/>
          <a:lstStyle/>
          <a:p>
            <a:pPr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иражирование</a:t>
            </a:r>
          </a:p>
        </p:txBody>
      </p:sp>
      <p:sp>
        <p:nvSpPr>
          <p:cNvPr id="190" name="Пятиугольник 70"/>
          <p:cNvSpPr/>
          <p:nvPr>
            <p:custDataLst>
              <p:tags r:id="rId49"/>
            </p:custDataLst>
          </p:nvPr>
        </p:nvSpPr>
        <p:spPr>
          <a:xfrm>
            <a:off x="4894681" y="1055301"/>
            <a:ext cx="2557679" cy="183522"/>
          </a:xfrm>
          <a:prstGeom prst="homePlate">
            <a:avLst>
              <a:gd name="adj" fmla="val 10366"/>
            </a:avLst>
          </a:prstGeom>
          <a:solidFill>
            <a:srgbClr val="EBE99B">
              <a:lumMod val="60000"/>
              <a:lumOff val="40000"/>
            </a:srgbClr>
          </a:solidFill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39856" tIns="0" rIns="0" bIns="0" rtlCol="0" anchor="ctr"/>
          <a:lstStyle/>
          <a:p>
            <a:pPr algn="ctr" defTabSz="683953"/>
            <a:r>
              <a:rPr lang="ru-RU" sz="675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дрение улучшений</a:t>
            </a:r>
          </a:p>
        </p:txBody>
      </p:sp>
      <p:sp>
        <p:nvSpPr>
          <p:cNvPr id="191" name="Пятиугольник 71"/>
          <p:cNvSpPr/>
          <p:nvPr>
            <p:custDataLst>
              <p:tags r:id="rId50"/>
            </p:custDataLst>
          </p:nvPr>
        </p:nvSpPr>
        <p:spPr>
          <a:xfrm>
            <a:off x="2567106" y="1055301"/>
            <a:ext cx="2385084" cy="183522"/>
          </a:xfrm>
          <a:prstGeom prst="homePlate">
            <a:avLst>
              <a:gd name="adj" fmla="val 10366"/>
            </a:avLst>
          </a:prstGeom>
          <a:solidFill>
            <a:srgbClr val="EBE99B">
              <a:lumMod val="60000"/>
              <a:lumOff val="40000"/>
            </a:srgbClr>
          </a:solidFill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39856" tIns="0" rIns="0" bIns="0" rtlCol="0" anchor="ctr"/>
          <a:lstStyle/>
          <a:p>
            <a:pPr defTabSz="683953"/>
            <a:r>
              <a:rPr lang="ru-RU" sz="675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агностика и планирование</a:t>
            </a:r>
          </a:p>
        </p:txBody>
      </p:sp>
      <p:sp>
        <p:nvSpPr>
          <p:cNvPr id="192" name="Пятиугольник 72"/>
          <p:cNvSpPr/>
          <p:nvPr>
            <p:custDataLst>
              <p:tags r:id="rId51"/>
            </p:custDataLst>
          </p:nvPr>
        </p:nvSpPr>
        <p:spPr>
          <a:xfrm>
            <a:off x="1330233" y="1055301"/>
            <a:ext cx="1230122" cy="183522"/>
          </a:xfrm>
          <a:prstGeom prst="homePlate">
            <a:avLst>
              <a:gd name="adj" fmla="val 10366"/>
            </a:avLst>
          </a:prstGeom>
          <a:solidFill>
            <a:srgbClr val="EBE99B">
              <a:lumMod val="60000"/>
              <a:lumOff val="40000"/>
            </a:srgbClr>
          </a:solidFill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39856" tIns="0" rIns="0" bIns="0" rtlCol="0" anchor="ctr"/>
          <a:lstStyle/>
          <a:p>
            <a:pPr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ка </a:t>
            </a:r>
          </a:p>
        </p:txBody>
      </p:sp>
      <p:cxnSp>
        <p:nvCxnSpPr>
          <p:cNvPr id="193" name="Прямая со стрелкой 88"/>
          <p:cNvCxnSpPr/>
          <p:nvPr>
            <p:custDataLst>
              <p:tags r:id="rId52"/>
            </p:custDataLst>
          </p:nvPr>
        </p:nvCxnSpPr>
        <p:spPr>
          <a:xfrm>
            <a:off x="1330231" y="4104578"/>
            <a:ext cx="150909" cy="1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sp>
        <p:nvSpPr>
          <p:cNvPr id="194" name="TextBox 193"/>
          <p:cNvSpPr txBox="1"/>
          <p:nvPr>
            <p:custDataLst>
              <p:tags r:id="rId53"/>
            </p:custDataLst>
          </p:nvPr>
        </p:nvSpPr>
        <p:spPr>
          <a:xfrm>
            <a:off x="1392091" y="1196350"/>
            <a:ext cx="1251191" cy="276835"/>
          </a:xfrm>
          <a:prstGeom prst="rect">
            <a:avLst/>
          </a:prstGeom>
          <a:noFill/>
        </p:spPr>
        <p:txBody>
          <a:bodyPr wrap="square" lIns="60798" tIns="30399" rIns="60798" bIns="30399" rtlCol="0" anchor="ctr">
            <a:spAutoFit/>
          </a:bodyPr>
          <a:lstStyle/>
          <a:p>
            <a:pPr defTabSz="683953"/>
            <a:r>
              <a:rPr lang="ru-RU" sz="7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бор предприятия и подписание соглашения</a:t>
            </a:r>
          </a:p>
        </p:txBody>
      </p:sp>
      <p:sp>
        <p:nvSpPr>
          <p:cNvPr id="195" name="Скругленный прямоугольник 91"/>
          <p:cNvSpPr/>
          <p:nvPr>
            <p:custDataLst>
              <p:tags r:id="rId54"/>
            </p:custDataLst>
          </p:nvPr>
        </p:nvSpPr>
        <p:spPr>
          <a:xfrm>
            <a:off x="7544542" y="1270522"/>
            <a:ext cx="1143878" cy="176318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6" name="Прямоугольник 92"/>
          <p:cNvSpPr/>
          <p:nvPr>
            <p:custDataLst>
              <p:tags r:id="rId55"/>
            </p:custDataLst>
          </p:nvPr>
        </p:nvSpPr>
        <p:spPr>
          <a:xfrm>
            <a:off x="7594601" y="1308882"/>
            <a:ext cx="1093816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7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Актуализация целей и КПЭ</a:t>
            </a:r>
          </a:p>
        </p:txBody>
      </p:sp>
      <p:sp>
        <p:nvSpPr>
          <p:cNvPr id="197" name="Скругленный прямоугольник 93"/>
          <p:cNvSpPr/>
          <p:nvPr>
            <p:custDataLst>
              <p:tags r:id="rId56"/>
            </p:custDataLst>
          </p:nvPr>
        </p:nvSpPr>
        <p:spPr>
          <a:xfrm>
            <a:off x="7544539" y="1890326"/>
            <a:ext cx="1141998" cy="229943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8" name="Прямоугольник 94"/>
          <p:cNvSpPr/>
          <p:nvPr>
            <p:custDataLst>
              <p:tags r:id="rId57"/>
            </p:custDataLst>
          </p:nvPr>
        </p:nvSpPr>
        <p:spPr>
          <a:xfrm>
            <a:off x="7594602" y="1916533"/>
            <a:ext cx="109381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7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ыбор и оптимизация новых потоков</a:t>
            </a:r>
            <a:endParaRPr lang="ru-RU" sz="7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99" name="Скругленный прямоугольник 95"/>
          <p:cNvSpPr/>
          <p:nvPr>
            <p:custDataLst>
              <p:tags r:id="rId58"/>
            </p:custDataLst>
          </p:nvPr>
        </p:nvSpPr>
        <p:spPr>
          <a:xfrm>
            <a:off x="7539336" y="2163503"/>
            <a:ext cx="1147201" cy="361395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00" name="Прямоугольник 96"/>
          <p:cNvSpPr/>
          <p:nvPr>
            <p:custDataLst>
              <p:tags r:id="rId59"/>
            </p:custDataLst>
          </p:nvPr>
        </p:nvSpPr>
        <p:spPr>
          <a:xfrm>
            <a:off x="7592722" y="2175159"/>
            <a:ext cx="1093815" cy="276999"/>
          </a:xfrm>
          <a:prstGeom prst="rect">
            <a:avLst/>
          </a:prstGeom>
          <a:ln>
            <a:noFill/>
            <a:prstDash val="lgDash"/>
          </a:ln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еализация мероприятий по достижению/приближению идеального состояния потоков</a:t>
            </a:r>
          </a:p>
        </p:txBody>
      </p:sp>
      <p:sp>
        <p:nvSpPr>
          <p:cNvPr id="201" name="Скругленный прямоугольник 97"/>
          <p:cNvSpPr/>
          <p:nvPr>
            <p:custDataLst>
              <p:tags r:id="rId60"/>
            </p:custDataLst>
          </p:nvPr>
        </p:nvSpPr>
        <p:spPr>
          <a:xfrm>
            <a:off x="7549589" y="2711494"/>
            <a:ext cx="1136947" cy="371975"/>
          </a:xfrm>
          <a:prstGeom prst="roundRect">
            <a:avLst>
              <a:gd name="adj" fmla="val 10521"/>
            </a:avLst>
          </a:prstGeom>
          <a:solidFill>
            <a:srgbClr val="8064A2">
              <a:lumMod val="40000"/>
              <a:lumOff val="60000"/>
            </a:srgbClr>
          </a:solidFill>
          <a:ln w="9525" cap="flat" cmpd="sng" algn="ctr">
            <a:solidFill>
              <a:srgbClr val="8064A2"/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02" name="Прямоугольник 98"/>
          <p:cNvSpPr/>
          <p:nvPr>
            <p:custDataLst>
              <p:tags r:id="rId61"/>
            </p:custDataLst>
          </p:nvPr>
        </p:nvSpPr>
        <p:spPr>
          <a:xfrm>
            <a:off x="7599508" y="2721649"/>
            <a:ext cx="113694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ткрытие и реализация проектов по оптимизации дополнительных потоков и процессов</a:t>
            </a:r>
            <a:endParaRPr lang="ru-RU" sz="6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03" name="Овал 105"/>
          <p:cNvSpPr/>
          <p:nvPr>
            <p:custDataLst>
              <p:tags r:id="rId62"/>
            </p:custDataLst>
          </p:nvPr>
        </p:nvSpPr>
        <p:spPr>
          <a:xfrm>
            <a:off x="1259897" y="1270524"/>
            <a:ext cx="167592" cy="181427"/>
          </a:xfrm>
          <a:prstGeom prst="ellipse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900" b="1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4" name="Прямоугольник 110"/>
          <p:cNvSpPr/>
          <p:nvPr>
            <p:custDataLst>
              <p:tags r:id="rId63"/>
            </p:custDataLst>
          </p:nvPr>
        </p:nvSpPr>
        <p:spPr>
          <a:xfrm>
            <a:off x="2851409" y="1658530"/>
            <a:ext cx="1875930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7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недрение пилотного информационного центра</a:t>
            </a:r>
            <a:endParaRPr lang="ru-RU" sz="7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205" name="Прямая со стрелкой 112"/>
          <p:cNvCxnSpPr/>
          <p:nvPr>
            <p:custDataLst>
              <p:tags r:id="rId64"/>
            </p:custDataLst>
          </p:nvPr>
        </p:nvCxnSpPr>
        <p:spPr>
          <a:xfrm>
            <a:off x="1330231" y="3668117"/>
            <a:ext cx="150909" cy="1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206" name="Соединительная линия уступом 113"/>
          <p:cNvCxnSpPr>
            <a:cxnSpLocks/>
            <a:endCxn id="152" idx="1"/>
          </p:cNvCxnSpPr>
          <p:nvPr/>
        </p:nvCxnSpPr>
        <p:spPr>
          <a:xfrm flipV="1">
            <a:off x="2121767" y="1400854"/>
            <a:ext cx="643374" cy="114968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207" name="Прямая со стрелкой 114"/>
          <p:cNvCxnSpPr/>
          <p:nvPr>
            <p:custDataLst>
              <p:tags r:id="rId65"/>
            </p:custDataLst>
          </p:nvPr>
        </p:nvCxnSpPr>
        <p:spPr>
          <a:xfrm>
            <a:off x="1330231" y="1515825"/>
            <a:ext cx="794543" cy="0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208" name="Соединительная линия уступом 116"/>
          <p:cNvCxnSpPr>
            <a:cxnSpLocks/>
            <a:stCxn id="214" idx="3"/>
            <a:endCxn id="242" idx="0"/>
          </p:cNvCxnSpPr>
          <p:nvPr>
            <p:custDataLst>
              <p:tags r:id="rId66"/>
            </p:custDataLst>
          </p:nvPr>
        </p:nvCxnSpPr>
        <p:spPr>
          <a:xfrm>
            <a:off x="4836964" y="2134609"/>
            <a:ext cx="192799" cy="806821"/>
          </a:xfrm>
          <a:prstGeom prst="bentConnector2">
            <a:avLst/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209" name="Соединительная линия уступом 117"/>
          <p:cNvCxnSpPr>
            <a:cxnSpLocks/>
            <a:stCxn id="153" idx="3"/>
            <a:endCxn id="242" idx="1"/>
          </p:cNvCxnSpPr>
          <p:nvPr>
            <p:custDataLst>
              <p:tags r:id="rId67"/>
            </p:custDataLst>
          </p:nvPr>
        </p:nvCxnSpPr>
        <p:spPr>
          <a:xfrm>
            <a:off x="2423891" y="2248603"/>
            <a:ext cx="324644" cy="918039"/>
          </a:xfrm>
          <a:prstGeom prst="bentConnector3">
            <a:avLst>
              <a:gd name="adj1" fmla="val 36699"/>
            </a:avLst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210" name="Соединительная линия уступом 120"/>
          <p:cNvCxnSpPr>
            <a:cxnSpLocks/>
            <a:stCxn id="242" idx="3"/>
            <a:endCxn id="167" idx="0"/>
          </p:cNvCxnSpPr>
          <p:nvPr>
            <p:custDataLst>
              <p:tags r:id="rId68"/>
            </p:custDataLst>
          </p:nvPr>
        </p:nvCxnSpPr>
        <p:spPr>
          <a:xfrm flipH="1">
            <a:off x="6350443" y="3166642"/>
            <a:ext cx="960547" cy="585228"/>
          </a:xfrm>
          <a:prstGeom prst="bentConnector4">
            <a:avLst>
              <a:gd name="adj1" fmla="val -5553"/>
              <a:gd name="adj2" fmla="val 61429"/>
            </a:avLst>
          </a:prstGeom>
          <a:noFill/>
          <a:ln w="9525" cap="flat" cmpd="sng" algn="ctr">
            <a:solidFill>
              <a:srgbClr val="8064A2"/>
            </a:solidFill>
            <a:prstDash val="solid"/>
            <a:tailEnd type="triangle"/>
          </a:ln>
          <a:effectLst/>
        </p:spPr>
      </p:cxnSp>
      <p:cxnSp>
        <p:nvCxnSpPr>
          <p:cNvPr id="211" name="Соединительная линия уступом 121"/>
          <p:cNvCxnSpPr>
            <a:cxnSpLocks/>
            <a:stCxn id="160" idx="3"/>
          </p:cNvCxnSpPr>
          <p:nvPr>
            <p:custDataLst>
              <p:tags r:id="rId69"/>
            </p:custDataLst>
          </p:nvPr>
        </p:nvCxnSpPr>
        <p:spPr>
          <a:xfrm flipH="1">
            <a:off x="6776720" y="2134607"/>
            <a:ext cx="534270" cy="806823"/>
          </a:xfrm>
          <a:prstGeom prst="bentConnector4">
            <a:avLst>
              <a:gd name="adj1" fmla="val -42787"/>
              <a:gd name="adj2" fmla="val 62698"/>
            </a:avLst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sp>
        <p:nvSpPr>
          <p:cNvPr id="212" name="Скругленный прямоугольник 122"/>
          <p:cNvSpPr/>
          <p:nvPr>
            <p:custDataLst>
              <p:tags r:id="rId70"/>
            </p:custDataLst>
          </p:nvPr>
        </p:nvSpPr>
        <p:spPr>
          <a:xfrm>
            <a:off x="2753744" y="2660397"/>
            <a:ext cx="2076947" cy="229943"/>
          </a:xfrm>
          <a:prstGeom prst="roundRect">
            <a:avLst/>
          </a:prstGeom>
          <a:solidFill>
            <a:srgbClr val="8064A2">
              <a:lumMod val="40000"/>
              <a:lumOff val="60000"/>
            </a:srgbClr>
          </a:solidFill>
          <a:ln w="9525" cap="flat" cmpd="sng" algn="ctr">
            <a:solidFill>
              <a:srgbClr val="8064A2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3" name="Прямоугольник 123"/>
          <p:cNvSpPr/>
          <p:nvPr>
            <p:custDataLst>
              <p:tags r:id="rId71"/>
            </p:custDataLst>
          </p:nvPr>
        </p:nvSpPr>
        <p:spPr>
          <a:xfrm>
            <a:off x="2884950" y="2687188"/>
            <a:ext cx="190059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10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Формирование проектного офиса</a:t>
            </a:r>
            <a:endParaRPr lang="ru-RU" sz="10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14" name="Скругленный прямоугольник 124"/>
          <p:cNvSpPr/>
          <p:nvPr>
            <p:custDataLst>
              <p:tags r:id="rId72"/>
            </p:custDataLst>
          </p:nvPr>
        </p:nvSpPr>
        <p:spPr>
          <a:xfrm>
            <a:off x="2746580" y="1929704"/>
            <a:ext cx="2090384" cy="409810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5" name="Прямоугольник 125"/>
          <p:cNvSpPr/>
          <p:nvPr>
            <p:custDataLst>
              <p:tags r:id="rId73"/>
            </p:custDataLst>
          </p:nvPr>
        </p:nvSpPr>
        <p:spPr>
          <a:xfrm>
            <a:off x="2822434" y="1955905"/>
            <a:ext cx="1966155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Анализ текущего и определение целевого, идеального состояния потоков, разработка мероприятий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16" name="Скругленный прямоугольник 135"/>
          <p:cNvSpPr/>
          <p:nvPr>
            <p:custDataLst>
              <p:tags r:id="rId74"/>
            </p:custDataLst>
          </p:nvPr>
        </p:nvSpPr>
        <p:spPr>
          <a:xfrm>
            <a:off x="7544539" y="1488298"/>
            <a:ext cx="1143877" cy="345071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7" name="Прямоугольник 133"/>
          <p:cNvSpPr/>
          <p:nvPr>
            <p:custDataLst>
              <p:tags r:id="rId75"/>
            </p:custDataLst>
          </p:nvPr>
        </p:nvSpPr>
        <p:spPr>
          <a:xfrm>
            <a:off x="7594602" y="1498855"/>
            <a:ext cx="104016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недрение взаимосвязан-ных инфоцентров предприятия, цехов, малых групп</a:t>
            </a:r>
          </a:p>
        </p:txBody>
      </p:sp>
      <p:sp>
        <p:nvSpPr>
          <p:cNvPr id="218" name="Скругленный прямоугольник 156"/>
          <p:cNvSpPr/>
          <p:nvPr>
            <p:custDataLst>
              <p:tags r:id="rId76"/>
            </p:custDataLst>
          </p:nvPr>
        </p:nvSpPr>
        <p:spPr>
          <a:xfrm>
            <a:off x="2733232" y="3831475"/>
            <a:ext cx="2134331" cy="321047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9" name="Прямоугольник 163"/>
          <p:cNvSpPr/>
          <p:nvPr>
            <p:custDataLst>
              <p:tags r:id="rId77"/>
            </p:custDataLst>
          </p:nvPr>
        </p:nvSpPr>
        <p:spPr>
          <a:xfrm>
            <a:off x="2804106" y="3861759"/>
            <a:ext cx="204350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учение руководителей предприятия и участников (членов РГ) проектов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220" name="Соединительная линия уступом 168"/>
          <p:cNvCxnSpPr>
            <a:cxnSpLocks/>
            <a:stCxn id="157" idx="3"/>
            <a:endCxn id="212" idx="1"/>
          </p:cNvCxnSpPr>
          <p:nvPr>
            <p:custDataLst>
              <p:tags r:id="rId78"/>
            </p:custDataLst>
          </p:nvPr>
        </p:nvCxnSpPr>
        <p:spPr>
          <a:xfrm flipV="1">
            <a:off x="2431825" y="2775369"/>
            <a:ext cx="321919" cy="923807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9BBB59"/>
            </a:solidFill>
            <a:prstDash val="solid"/>
            <a:tailEnd type="triangle"/>
          </a:ln>
          <a:effectLst/>
        </p:spPr>
      </p:cxnSp>
      <p:cxnSp>
        <p:nvCxnSpPr>
          <p:cNvPr id="221" name="Соединительная линия уступом 172"/>
          <p:cNvCxnSpPr>
            <a:cxnSpLocks/>
            <a:stCxn id="157" idx="3"/>
            <a:endCxn id="212" idx="1"/>
          </p:cNvCxnSpPr>
          <p:nvPr>
            <p:custDataLst>
              <p:tags r:id="rId79"/>
            </p:custDataLst>
          </p:nvPr>
        </p:nvCxnSpPr>
        <p:spPr>
          <a:xfrm flipV="1">
            <a:off x="2431825" y="2775369"/>
            <a:ext cx="321919" cy="923807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9BBB59"/>
            </a:solidFill>
            <a:prstDash val="solid"/>
            <a:tailEnd type="triangle"/>
          </a:ln>
          <a:effectLst/>
        </p:spPr>
      </p:cxnSp>
      <p:cxnSp>
        <p:nvCxnSpPr>
          <p:cNvPr id="222" name="Соединительная линия уступом 179"/>
          <p:cNvCxnSpPr>
            <a:cxnSpLocks/>
            <a:endCxn id="218" idx="1"/>
          </p:cNvCxnSpPr>
          <p:nvPr>
            <p:custDataLst>
              <p:tags r:id="rId80"/>
            </p:custDataLst>
          </p:nvPr>
        </p:nvCxnSpPr>
        <p:spPr>
          <a:xfrm>
            <a:off x="2141034" y="3881300"/>
            <a:ext cx="592198" cy="110699"/>
          </a:xfrm>
          <a:prstGeom prst="bentConnector3">
            <a:avLst>
              <a:gd name="adj1" fmla="val 65441"/>
            </a:avLst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223" name="Соединительная линия уступом 180"/>
          <p:cNvCxnSpPr>
            <a:cxnSpLocks/>
            <a:endCxn id="237" idx="1"/>
          </p:cNvCxnSpPr>
          <p:nvPr/>
        </p:nvCxnSpPr>
        <p:spPr>
          <a:xfrm flipV="1">
            <a:off x="2141029" y="3713076"/>
            <a:ext cx="593273" cy="168222"/>
          </a:xfrm>
          <a:prstGeom prst="bentConnector3">
            <a:avLst>
              <a:gd name="adj1" fmla="val 80183"/>
            </a:avLst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224" name="Прямая со стрелкой 181"/>
          <p:cNvCxnSpPr/>
          <p:nvPr>
            <p:custDataLst>
              <p:tags r:id="rId81"/>
            </p:custDataLst>
          </p:nvPr>
        </p:nvCxnSpPr>
        <p:spPr>
          <a:xfrm>
            <a:off x="1330231" y="3884651"/>
            <a:ext cx="794543" cy="0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225" name="Скругленный прямоугольник 189"/>
          <p:cNvSpPr/>
          <p:nvPr>
            <p:custDataLst>
              <p:tags r:id="rId82"/>
            </p:custDataLst>
          </p:nvPr>
        </p:nvSpPr>
        <p:spPr>
          <a:xfrm>
            <a:off x="7549589" y="3716100"/>
            <a:ext cx="1164946" cy="355366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26" name="Прямоугольник 190"/>
          <p:cNvSpPr/>
          <p:nvPr>
            <p:custDataLst>
              <p:tags r:id="rId83"/>
            </p:custDataLst>
          </p:nvPr>
        </p:nvSpPr>
        <p:spPr>
          <a:xfrm>
            <a:off x="7566640" y="3769696"/>
            <a:ext cx="112438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учение участников (членов РГ) проектов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227" name="Соединительная линия уступом 201"/>
          <p:cNvCxnSpPr>
            <a:cxnSpLocks/>
          </p:cNvCxnSpPr>
          <p:nvPr>
            <p:custDataLst>
              <p:tags r:id="rId84"/>
            </p:custDataLst>
          </p:nvPr>
        </p:nvCxnSpPr>
        <p:spPr>
          <a:xfrm rot="5400000" flipH="1" flipV="1">
            <a:off x="4763267" y="3497670"/>
            <a:ext cx="593311" cy="384719"/>
          </a:xfrm>
          <a:prstGeom prst="bentConnector3">
            <a:avLst>
              <a:gd name="adj1" fmla="val -7366"/>
            </a:avLst>
          </a:prstGeom>
          <a:noFill/>
          <a:ln w="9525" cap="flat" cmpd="sng" algn="ctr">
            <a:solidFill>
              <a:srgbClr val="9BBB59"/>
            </a:solidFill>
            <a:prstDash val="solid"/>
            <a:tailEnd type="triangle"/>
          </a:ln>
          <a:effectLst/>
        </p:spPr>
      </p:cxnSp>
      <p:sp>
        <p:nvSpPr>
          <p:cNvPr id="228" name="Скругленный прямоугольник 219"/>
          <p:cNvSpPr/>
          <p:nvPr>
            <p:custDataLst>
              <p:tags r:id="rId85"/>
            </p:custDataLst>
          </p:nvPr>
        </p:nvSpPr>
        <p:spPr>
          <a:xfrm>
            <a:off x="1481139" y="4270505"/>
            <a:ext cx="949823" cy="403348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29" name="Прямоугольник 220"/>
          <p:cNvSpPr/>
          <p:nvPr>
            <p:custDataLst>
              <p:tags r:id="rId86"/>
            </p:custDataLst>
          </p:nvPr>
        </p:nvSpPr>
        <p:spPr>
          <a:xfrm>
            <a:off x="1523191" y="4335434"/>
            <a:ext cx="87692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9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иагностика предприятия</a:t>
            </a:r>
            <a:endParaRPr lang="ru-RU" sz="9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30" name="Скругленный прямоугольник 233"/>
          <p:cNvSpPr/>
          <p:nvPr>
            <p:custDataLst>
              <p:tags r:id="rId87"/>
            </p:custDataLst>
          </p:nvPr>
        </p:nvSpPr>
        <p:spPr>
          <a:xfrm>
            <a:off x="3810432" y="4598888"/>
            <a:ext cx="3500554" cy="125919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1" name="Прямоугольник 234"/>
          <p:cNvSpPr/>
          <p:nvPr>
            <p:custDataLst>
              <p:tags r:id="rId88"/>
            </p:custDataLst>
          </p:nvPr>
        </p:nvSpPr>
        <p:spPr>
          <a:xfrm>
            <a:off x="3828921" y="4596456"/>
            <a:ext cx="2444566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еализация плана коммуникации и мотивации</a:t>
            </a:r>
          </a:p>
        </p:txBody>
      </p:sp>
      <p:sp>
        <p:nvSpPr>
          <p:cNvPr id="232" name="Скругленный прямоугольник 238"/>
          <p:cNvSpPr/>
          <p:nvPr>
            <p:custDataLst>
              <p:tags r:id="rId89"/>
            </p:custDataLst>
          </p:nvPr>
        </p:nvSpPr>
        <p:spPr>
          <a:xfrm>
            <a:off x="7549589" y="4189891"/>
            <a:ext cx="1157935" cy="297490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3" name="Прямоугольник 239"/>
          <p:cNvSpPr/>
          <p:nvPr>
            <p:custDataLst>
              <p:tags r:id="rId90"/>
            </p:custDataLst>
          </p:nvPr>
        </p:nvSpPr>
        <p:spPr>
          <a:xfrm>
            <a:off x="7592722" y="4221291"/>
            <a:ext cx="1108459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7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альнейшая реализация плана коммуникаций и мотив.</a:t>
            </a:r>
          </a:p>
        </p:txBody>
      </p:sp>
      <p:cxnSp>
        <p:nvCxnSpPr>
          <p:cNvPr id="234" name="Соединительная линия уступом 242"/>
          <p:cNvCxnSpPr>
            <a:cxnSpLocks/>
            <a:stCxn id="228" idx="3"/>
            <a:endCxn id="171" idx="1"/>
          </p:cNvCxnSpPr>
          <p:nvPr>
            <p:custDataLst>
              <p:tags r:id="rId91"/>
            </p:custDataLst>
          </p:nvPr>
        </p:nvCxnSpPr>
        <p:spPr>
          <a:xfrm flipV="1">
            <a:off x="2430962" y="4271093"/>
            <a:ext cx="302271" cy="201086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D98616"/>
            </a:solidFill>
            <a:prstDash val="solid"/>
            <a:tailEnd type="triangle"/>
          </a:ln>
          <a:effectLst/>
        </p:spPr>
      </p:cxnSp>
      <p:cxnSp>
        <p:nvCxnSpPr>
          <p:cNvPr id="235" name="Соединительная линия уступом 244"/>
          <p:cNvCxnSpPr>
            <a:cxnSpLocks/>
            <a:stCxn id="228" idx="3"/>
            <a:endCxn id="230" idx="1"/>
          </p:cNvCxnSpPr>
          <p:nvPr>
            <p:custDataLst>
              <p:tags r:id="rId92"/>
            </p:custDataLst>
          </p:nvPr>
        </p:nvCxnSpPr>
        <p:spPr>
          <a:xfrm>
            <a:off x="2430962" y="4472179"/>
            <a:ext cx="1379470" cy="189669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D98616"/>
            </a:solidFill>
            <a:prstDash val="solid"/>
            <a:tailEnd type="triangle"/>
          </a:ln>
          <a:effectLst/>
        </p:spPr>
      </p:cxnSp>
      <p:cxnSp>
        <p:nvCxnSpPr>
          <p:cNvPr id="236" name="Соединительная линия уступом 247"/>
          <p:cNvCxnSpPr>
            <a:cxnSpLocks/>
            <a:stCxn id="249" idx="3"/>
            <a:endCxn id="242" idx="2"/>
          </p:cNvCxnSpPr>
          <p:nvPr>
            <p:custDataLst>
              <p:tags r:id="rId93"/>
            </p:custDataLst>
          </p:nvPr>
        </p:nvCxnSpPr>
        <p:spPr>
          <a:xfrm flipH="1" flipV="1">
            <a:off x="5029763" y="3391854"/>
            <a:ext cx="2281223" cy="1050241"/>
          </a:xfrm>
          <a:prstGeom prst="bentConnector4">
            <a:avLst>
              <a:gd name="adj1" fmla="val -3842"/>
              <a:gd name="adj2" fmla="val 80727"/>
            </a:avLst>
          </a:prstGeom>
          <a:noFill/>
          <a:ln w="9525" cap="flat" cmpd="sng" algn="ctr">
            <a:solidFill>
              <a:srgbClr val="D98616"/>
            </a:solidFill>
            <a:prstDash val="solid"/>
            <a:tailEnd type="triangle"/>
          </a:ln>
          <a:effectLst/>
        </p:spPr>
      </p:cxnSp>
      <p:sp>
        <p:nvSpPr>
          <p:cNvPr id="237" name="Скругленный прямоугольник 34"/>
          <p:cNvSpPr/>
          <p:nvPr>
            <p:custDataLst>
              <p:tags r:id="rId94"/>
            </p:custDataLst>
          </p:nvPr>
        </p:nvSpPr>
        <p:spPr>
          <a:xfrm>
            <a:off x="2734302" y="3632028"/>
            <a:ext cx="2138472" cy="162095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solid"/>
          </a:ln>
          <a:effectLst/>
        </p:spPr>
        <p:txBody>
          <a:bodyPr lIns="0" tIns="0" rIns="0" bIns="0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8" name="Прямоугольник 35"/>
          <p:cNvSpPr/>
          <p:nvPr>
            <p:custDataLst>
              <p:tags r:id="rId95"/>
            </p:custDataLst>
          </p:nvPr>
        </p:nvSpPr>
        <p:spPr>
          <a:xfrm>
            <a:off x="3091618" y="3646383"/>
            <a:ext cx="1786797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дготовка  тренеров предприятия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239" name="Соединительная линия уступом 253"/>
          <p:cNvCxnSpPr>
            <a:cxnSpLocks/>
            <a:stCxn id="171" idx="3"/>
          </p:cNvCxnSpPr>
          <p:nvPr>
            <p:custDataLst>
              <p:tags r:id="rId96"/>
            </p:custDataLst>
          </p:nvPr>
        </p:nvCxnSpPr>
        <p:spPr>
          <a:xfrm>
            <a:off x="4558985" y="4271093"/>
            <a:ext cx="62286" cy="104704"/>
          </a:xfrm>
          <a:prstGeom prst="bentConnector2">
            <a:avLst/>
          </a:prstGeom>
          <a:noFill/>
          <a:ln w="9525" cap="flat" cmpd="sng" algn="ctr">
            <a:solidFill>
              <a:srgbClr val="D98616"/>
            </a:solidFill>
            <a:prstDash val="solid"/>
            <a:tailEnd type="triangle"/>
          </a:ln>
          <a:effectLst/>
        </p:spPr>
      </p:cxnSp>
      <p:cxnSp>
        <p:nvCxnSpPr>
          <p:cNvPr id="240" name="Соединительная линия уступом 259"/>
          <p:cNvCxnSpPr>
            <a:cxnSpLocks/>
            <a:stCxn id="242" idx="3"/>
          </p:cNvCxnSpPr>
          <p:nvPr>
            <p:custDataLst>
              <p:tags r:id="rId97"/>
            </p:custDataLst>
          </p:nvPr>
        </p:nvCxnSpPr>
        <p:spPr>
          <a:xfrm flipH="1">
            <a:off x="7158990" y="3166642"/>
            <a:ext cx="152000" cy="1445791"/>
          </a:xfrm>
          <a:prstGeom prst="bentConnector4">
            <a:avLst>
              <a:gd name="adj1" fmla="val -115303"/>
              <a:gd name="adj2" fmla="val 93628"/>
            </a:avLst>
          </a:prstGeom>
          <a:noFill/>
          <a:ln w="9525" cap="flat" cmpd="sng" algn="ctr">
            <a:solidFill>
              <a:srgbClr val="8064A2"/>
            </a:solidFill>
            <a:prstDash val="solid"/>
            <a:tailEnd type="triangle"/>
          </a:ln>
          <a:effectLst/>
        </p:spPr>
      </p:cxnSp>
      <p:cxnSp>
        <p:nvCxnSpPr>
          <p:cNvPr id="241" name="Соединительная линия уступом 272"/>
          <p:cNvCxnSpPr>
            <a:cxnSpLocks/>
            <a:stCxn id="158" idx="3"/>
          </p:cNvCxnSpPr>
          <p:nvPr>
            <p:custDataLst>
              <p:tags r:id="rId98"/>
            </p:custDataLst>
          </p:nvPr>
        </p:nvCxnSpPr>
        <p:spPr>
          <a:xfrm>
            <a:off x="4836962" y="2481554"/>
            <a:ext cx="993607" cy="1256869"/>
          </a:xfrm>
          <a:prstGeom prst="bentConnector2">
            <a:avLst/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sp>
        <p:nvSpPr>
          <p:cNvPr id="242" name="Скругленный прямоугольник 30"/>
          <p:cNvSpPr/>
          <p:nvPr>
            <p:custDataLst>
              <p:tags r:id="rId99"/>
            </p:custDataLst>
          </p:nvPr>
        </p:nvSpPr>
        <p:spPr>
          <a:xfrm>
            <a:off x="2748535" y="2941430"/>
            <a:ext cx="4562455" cy="450424"/>
          </a:xfrm>
          <a:prstGeom prst="roundRect">
            <a:avLst/>
          </a:prstGeom>
          <a:solidFill>
            <a:srgbClr val="8064A2">
              <a:lumMod val="40000"/>
              <a:lumOff val="60000"/>
            </a:srgbClr>
          </a:solidFill>
          <a:ln w="9525" cap="flat" cmpd="sng" algn="ctr">
            <a:solidFill>
              <a:srgbClr val="8064A2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43" name="Прямоугольник 31"/>
          <p:cNvSpPr/>
          <p:nvPr>
            <p:custDataLst>
              <p:tags r:id="rId100"/>
            </p:custDataLst>
          </p:nvPr>
        </p:nvSpPr>
        <p:spPr>
          <a:xfrm>
            <a:off x="2799950" y="3009168"/>
            <a:ext cx="4412894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11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ткрытие и реализация проектов по оптимизации пилотного потока и вспомогательных процессов, влияющих на пилотный поток</a:t>
            </a:r>
            <a:endParaRPr lang="ru-RU" sz="11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44" name="Равнобедренный треугольник 275"/>
          <p:cNvSpPr/>
          <p:nvPr/>
        </p:nvSpPr>
        <p:spPr>
          <a:xfrm rot="10800000">
            <a:off x="2473139" y="1014110"/>
            <a:ext cx="177442" cy="202791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81000" tIns="0" rIns="0" bIns="0" rtlCol="0" anchor="ctr"/>
          <a:lstStyle/>
          <a:p>
            <a:pPr defTabSz="699390"/>
            <a:endParaRPr lang="ru-RU" sz="900" b="1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5" name="Равнобедренный треугольник 277"/>
          <p:cNvSpPr/>
          <p:nvPr/>
        </p:nvSpPr>
        <p:spPr>
          <a:xfrm rot="10800000">
            <a:off x="1259895" y="1014110"/>
            <a:ext cx="177442" cy="202791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81000" tIns="0" rIns="0" bIns="0" rtlCol="0" anchor="ctr"/>
          <a:lstStyle/>
          <a:p>
            <a:pPr defTabSz="699390"/>
            <a:endParaRPr lang="ru-RU" sz="900" b="1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6" name="Равнобедренный треугольник 279"/>
          <p:cNvSpPr/>
          <p:nvPr/>
        </p:nvSpPr>
        <p:spPr>
          <a:xfrm rot="10800000">
            <a:off x="4836962" y="1014110"/>
            <a:ext cx="177442" cy="202791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81000" tIns="0" rIns="0" bIns="0" rtlCol="0" anchor="ctr"/>
          <a:lstStyle/>
          <a:p>
            <a:pPr defTabSz="699390"/>
            <a:endParaRPr lang="ru-RU" sz="900" b="1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7" name="Равнобедренный треугольник 281"/>
          <p:cNvSpPr/>
          <p:nvPr/>
        </p:nvSpPr>
        <p:spPr>
          <a:xfrm rot="10800000">
            <a:off x="7367100" y="1014110"/>
            <a:ext cx="177442" cy="202791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81000" tIns="0" rIns="0" bIns="0" rtlCol="0" anchor="ctr"/>
          <a:lstStyle/>
          <a:p>
            <a:pPr defTabSz="699390"/>
            <a:endParaRPr lang="ru-RU" sz="900" b="1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8" name="Равнобедренный треугольник 283"/>
          <p:cNvSpPr/>
          <p:nvPr/>
        </p:nvSpPr>
        <p:spPr>
          <a:xfrm rot="10800000">
            <a:off x="8647731" y="1014110"/>
            <a:ext cx="177442" cy="202791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81000" tIns="0" rIns="0" bIns="0" rtlCol="0" anchor="ctr"/>
          <a:lstStyle/>
          <a:p>
            <a:pPr defTabSz="699390"/>
            <a:endParaRPr lang="ru-RU" sz="900" b="1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9" name="Скругленный прямоугольник 166"/>
          <p:cNvSpPr/>
          <p:nvPr>
            <p:custDataLst>
              <p:tags r:id="rId101"/>
            </p:custDataLst>
          </p:nvPr>
        </p:nvSpPr>
        <p:spPr>
          <a:xfrm>
            <a:off x="3627777" y="4375798"/>
            <a:ext cx="3683209" cy="132593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50" name="Прямоугольник 169"/>
          <p:cNvSpPr/>
          <p:nvPr>
            <p:custDataLst>
              <p:tags r:id="rId102"/>
            </p:custDataLst>
          </p:nvPr>
        </p:nvSpPr>
        <p:spPr>
          <a:xfrm>
            <a:off x="3691243" y="4376253"/>
            <a:ext cx="2531757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сещение производства топ-менеджерами</a:t>
            </a:r>
            <a:endParaRPr lang="ru-RU" sz="8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251" name="Соединительная линия уступом 170"/>
          <p:cNvCxnSpPr>
            <a:cxnSpLocks/>
            <a:endCxn id="173" idx="1"/>
          </p:cNvCxnSpPr>
          <p:nvPr>
            <p:custDataLst>
              <p:tags r:id="rId103"/>
            </p:custDataLst>
          </p:nvPr>
        </p:nvCxnSpPr>
        <p:spPr>
          <a:xfrm flipV="1">
            <a:off x="4573443" y="4272085"/>
            <a:ext cx="263521" cy="1028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D98616"/>
            </a:solidFill>
            <a:prstDash val="solid"/>
            <a:tailEnd type="triangle"/>
          </a:ln>
          <a:effectLst/>
        </p:spPr>
      </p:cxnSp>
      <p:sp>
        <p:nvSpPr>
          <p:cNvPr id="252" name="Скругленный прямоугольник 194"/>
          <p:cNvSpPr/>
          <p:nvPr>
            <p:custDataLst>
              <p:tags r:id="rId104"/>
            </p:custDataLst>
          </p:nvPr>
        </p:nvSpPr>
        <p:spPr>
          <a:xfrm>
            <a:off x="7549292" y="4559941"/>
            <a:ext cx="1165243" cy="130578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53" name="Прямоугольник 195"/>
          <p:cNvSpPr/>
          <p:nvPr>
            <p:custDataLst>
              <p:tags r:id="rId105"/>
            </p:custDataLst>
          </p:nvPr>
        </p:nvSpPr>
        <p:spPr>
          <a:xfrm>
            <a:off x="7596543" y="4557794"/>
            <a:ext cx="1089991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4021"/>
            <a:r>
              <a:rPr lang="ru-RU" sz="8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ни информирования</a:t>
            </a:r>
          </a:p>
        </p:txBody>
      </p:sp>
      <p:sp>
        <p:nvSpPr>
          <p:cNvPr id="255" name="TextBox 254"/>
          <p:cNvSpPr txBox="1"/>
          <p:nvPr/>
        </p:nvSpPr>
        <p:spPr>
          <a:xfrm>
            <a:off x="2452956" y="790607"/>
            <a:ext cx="25359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>
                <a:solidFill>
                  <a:srgbClr val="D74167"/>
                </a:solidFill>
              </a:rPr>
              <a:t>0</a:t>
            </a:r>
          </a:p>
        </p:txBody>
      </p:sp>
      <p:sp>
        <p:nvSpPr>
          <p:cNvPr id="256" name="TextBox 255"/>
          <p:cNvSpPr txBox="1"/>
          <p:nvPr/>
        </p:nvSpPr>
        <p:spPr>
          <a:xfrm>
            <a:off x="1013063" y="806252"/>
            <a:ext cx="60625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>
                <a:solidFill>
                  <a:srgbClr val="D74167"/>
                </a:solidFill>
              </a:rPr>
              <a:t>- 3 мес.</a:t>
            </a:r>
          </a:p>
        </p:txBody>
      </p:sp>
      <p:sp>
        <p:nvSpPr>
          <p:cNvPr id="257" name="TextBox 256"/>
          <p:cNvSpPr txBox="1"/>
          <p:nvPr/>
        </p:nvSpPr>
        <p:spPr>
          <a:xfrm>
            <a:off x="4695983" y="806243"/>
            <a:ext cx="53412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>
                <a:solidFill>
                  <a:srgbClr val="D74167"/>
                </a:solidFill>
              </a:rPr>
              <a:t>3 мес.</a:t>
            </a:r>
          </a:p>
        </p:txBody>
      </p:sp>
      <p:sp>
        <p:nvSpPr>
          <p:cNvPr id="258" name="TextBox 257"/>
          <p:cNvSpPr txBox="1"/>
          <p:nvPr/>
        </p:nvSpPr>
        <p:spPr>
          <a:xfrm>
            <a:off x="7235329" y="806243"/>
            <a:ext cx="53412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>
                <a:solidFill>
                  <a:srgbClr val="D74167"/>
                </a:solidFill>
              </a:rPr>
              <a:t>6 мес.</a:t>
            </a:r>
          </a:p>
        </p:txBody>
      </p:sp>
      <p:sp>
        <p:nvSpPr>
          <p:cNvPr id="259" name="TextBox 258"/>
          <p:cNvSpPr txBox="1"/>
          <p:nvPr/>
        </p:nvSpPr>
        <p:spPr>
          <a:xfrm>
            <a:off x="8388254" y="806244"/>
            <a:ext cx="60305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>
                <a:solidFill>
                  <a:srgbClr val="D74167"/>
                </a:solidFill>
              </a:rPr>
              <a:t>36 мес.</a:t>
            </a:r>
          </a:p>
        </p:txBody>
      </p:sp>
    </p:spTree>
    <p:extLst>
      <p:ext uri="{BB962C8B-B14F-4D97-AF65-F5344CB8AC3E}">
        <p14:creationId xmlns:p14="http://schemas.microsoft.com/office/powerpoint/2010/main" val="28575196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9466" y="381581"/>
            <a:ext cx="6251971" cy="164917"/>
          </a:xfrm>
        </p:spPr>
        <p:txBody>
          <a:bodyPr/>
          <a:lstStyle/>
          <a:p>
            <a:r>
              <a:rPr lang="ru-RU" dirty="0"/>
              <a:t>Процесс реализации программы на отдельном предприятии-участнике </a:t>
            </a:r>
          </a:p>
        </p:txBody>
      </p:sp>
      <p:sp>
        <p:nvSpPr>
          <p:cNvPr id="123" name="Прямоугольник 4"/>
          <p:cNvSpPr/>
          <p:nvPr>
            <p:custDataLst>
              <p:tags r:id="rId1"/>
            </p:custDataLst>
          </p:nvPr>
        </p:nvSpPr>
        <p:spPr>
          <a:xfrm>
            <a:off x="2073513" y="4141623"/>
            <a:ext cx="5457372" cy="580247"/>
          </a:xfrm>
          <a:prstGeom prst="rect">
            <a:avLst/>
          </a:prstGeom>
          <a:solidFill>
            <a:srgbClr val="F79646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60948" tIns="30474" rIns="60948" bIns="30474" rtlCol="0" anchor="ctr"/>
          <a:lstStyle/>
          <a:p>
            <a:pPr algn="ctr"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24" name="Прямоугольник 5"/>
          <p:cNvSpPr/>
          <p:nvPr>
            <p:custDataLst>
              <p:tags r:id="rId2"/>
            </p:custDataLst>
          </p:nvPr>
        </p:nvSpPr>
        <p:spPr>
          <a:xfrm>
            <a:off x="2073513" y="3476666"/>
            <a:ext cx="5457372" cy="674016"/>
          </a:xfrm>
          <a:prstGeom prst="rect">
            <a:avLst/>
          </a:prstGeom>
          <a:solidFill>
            <a:srgbClr val="9BBB59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60948" tIns="30474" rIns="60948" bIns="30474" rtlCol="0" anchor="ctr"/>
          <a:lstStyle/>
          <a:p>
            <a:pPr algn="ctr"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25" name="Прямоугольник 6"/>
          <p:cNvSpPr/>
          <p:nvPr>
            <p:custDataLst>
              <p:tags r:id="rId3"/>
            </p:custDataLst>
          </p:nvPr>
        </p:nvSpPr>
        <p:spPr>
          <a:xfrm>
            <a:off x="2073513" y="1860799"/>
            <a:ext cx="5457372" cy="790183"/>
          </a:xfrm>
          <a:prstGeom prst="rect">
            <a:avLst/>
          </a:prstGeom>
          <a:solidFill>
            <a:srgbClr val="D8F2FB"/>
          </a:solidFill>
          <a:ln w="25400" cap="flat" cmpd="sng" algn="ctr">
            <a:noFill/>
            <a:prstDash val="solid"/>
          </a:ln>
          <a:effectLst/>
        </p:spPr>
        <p:txBody>
          <a:bodyPr lIns="60948" tIns="30474" rIns="60948" bIns="30474" rtlCol="0" anchor="ctr"/>
          <a:lstStyle/>
          <a:p>
            <a:pPr algn="ctr"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26" name="Прямоугольник 7"/>
          <p:cNvSpPr/>
          <p:nvPr>
            <p:custDataLst>
              <p:tags r:id="rId4"/>
            </p:custDataLst>
          </p:nvPr>
        </p:nvSpPr>
        <p:spPr>
          <a:xfrm>
            <a:off x="2073513" y="2650981"/>
            <a:ext cx="5457372" cy="847082"/>
          </a:xfrm>
          <a:prstGeom prst="rect">
            <a:avLst/>
          </a:prstGeom>
          <a:solidFill>
            <a:srgbClr val="E6E0EC"/>
          </a:solidFill>
          <a:ln w="25400" cap="flat" cmpd="sng" algn="ctr">
            <a:noFill/>
            <a:prstDash val="solid"/>
          </a:ln>
          <a:effectLst/>
        </p:spPr>
        <p:txBody>
          <a:bodyPr lIns="60948" tIns="30474" rIns="60948" bIns="30474" rtlCol="0" anchor="ctr"/>
          <a:lstStyle/>
          <a:p>
            <a:pPr algn="ctr"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27" name="Прямоугольник 8"/>
          <p:cNvSpPr/>
          <p:nvPr>
            <p:custDataLst>
              <p:tags r:id="rId5"/>
            </p:custDataLst>
          </p:nvPr>
        </p:nvSpPr>
        <p:spPr>
          <a:xfrm>
            <a:off x="2073513" y="1260487"/>
            <a:ext cx="5457372" cy="635615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0948" tIns="30474" rIns="60948" bIns="30474" rtlCol="0" anchor="ctr"/>
          <a:lstStyle/>
          <a:p>
            <a:pPr algn="ctr"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cxnSp>
        <p:nvCxnSpPr>
          <p:cNvPr id="128" name="Прямая соединительная линия 11"/>
          <p:cNvCxnSpPr/>
          <p:nvPr>
            <p:custDataLst>
              <p:tags r:id="rId6"/>
            </p:custDataLst>
          </p:nvPr>
        </p:nvCxnSpPr>
        <p:spPr>
          <a:xfrm>
            <a:off x="6290855" y="1140498"/>
            <a:ext cx="0" cy="3649088"/>
          </a:xfrm>
          <a:prstGeom prst="line">
            <a:avLst/>
          </a:prstGeom>
          <a:noFill/>
          <a:ln w="19050" cap="flat" cmpd="sng" algn="ctr">
            <a:solidFill>
              <a:sysClr val="window" lastClr="FFFFFF"/>
            </a:solidFill>
            <a:prstDash val="solid"/>
          </a:ln>
          <a:effectLst/>
        </p:spPr>
      </p:cxnSp>
      <p:sp>
        <p:nvSpPr>
          <p:cNvPr id="129" name="Пятиугольник 12"/>
          <p:cNvSpPr/>
          <p:nvPr>
            <p:custDataLst>
              <p:tags r:id="rId7"/>
            </p:custDataLst>
          </p:nvPr>
        </p:nvSpPr>
        <p:spPr>
          <a:xfrm>
            <a:off x="1393031" y="1260487"/>
            <a:ext cx="825440" cy="635615"/>
          </a:xfrm>
          <a:prstGeom prst="homePlate">
            <a:avLst>
              <a:gd name="adj" fmla="val 5883"/>
            </a:avLst>
          </a:prstGeom>
          <a:solidFill>
            <a:sysClr val="window" lastClr="FFFFFF">
              <a:lumMod val="85000"/>
            </a:sys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КОМПОЗИЦИЯ</a:t>
            </a:r>
            <a:b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ЕЙ</a:t>
            </a:r>
          </a:p>
        </p:txBody>
      </p:sp>
      <p:sp>
        <p:nvSpPr>
          <p:cNvPr id="130" name="Пятиугольник 13"/>
          <p:cNvSpPr/>
          <p:nvPr>
            <p:custDataLst>
              <p:tags r:id="rId8"/>
            </p:custDataLst>
          </p:nvPr>
        </p:nvSpPr>
        <p:spPr>
          <a:xfrm>
            <a:off x="1393031" y="1896104"/>
            <a:ext cx="825440" cy="754878"/>
          </a:xfrm>
          <a:prstGeom prst="homePlate">
            <a:avLst>
              <a:gd name="adj" fmla="val 5614"/>
            </a:avLst>
          </a:prstGeom>
          <a:solidFill>
            <a:srgbClr val="3BBEED">
              <a:lumMod val="40000"/>
              <a:lumOff val="60000"/>
            </a:srgb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ТИМИЗАЦИЯ ПОТОКОВ ПО ПРОИЗВОДСТВУ ПРОДУКЦИИ</a:t>
            </a:r>
          </a:p>
        </p:txBody>
      </p:sp>
      <p:sp>
        <p:nvSpPr>
          <p:cNvPr id="131" name="Пятиугольник 14"/>
          <p:cNvSpPr/>
          <p:nvPr>
            <p:custDataLst>
              <p:tags r:id="rId9"/>
            </p:custDataLst>
          </p:nvPr>
        </p:nvSpPr>
        <p:spPr>
          <a:xfrm>
            <a:off x="1393031" y="3475177"/>
            <a:ext cx="825440" cy="675503"/>
          </a:xfrm>
          <a:prstGeom prst="homePlate">
            <a:avLst>
              <a:gd name="adj" fmla="val 7344"/>
            </a:avLst>
          </a:prstGeom>
          <a:solidFill>
            <a:srgbClr val="9BBB59">
              <a:lumMod val="60000"/>
              <a:lumOff val="40000"/>
            </a:srgb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УЧЕНИЕ</a:t>
            </a:r>
          </a:p>
        </p:txBody>
      </p:sp>
      <p:sp>
        <p:nvSpPr>
          <p:cNvPr id="132" name="Пятиугольник 15"/>
          <p:cNvSpPr/>
          <p:nvPr>
            <p:custDataLst>
              <p:tags r:id="rId10"/>
            </p:custDataLst>
          </p:nvPr>
        </p:nvSpPr>
        <p:spPr>
          <a:xfrm>
            <a:off x="1393031" y="4138265"/>
            <a:ext cx="825440" cy="570731"/>
          </a:xfrm>
          <a:prstGeom prst="homePlate">
            <a:avLst>
              <a:gd name="adj" fmla="val 8204"/>
            </a:avLst>
          </a:prstGeom>
          <a:solidFill>
            <a:srgbClr val="F79646">
              <a:lumMod val="60000"/>
              <a:lumOff val="40000"/>
            </a:srgb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ИЗМЕНЕНИЯМИ</a:t>
            </a:r>
          </a:p>
        </p:txBody>
      </p:sp>
      <p:sp>
        <p:nvSpPr>
          <p:cNvPr id="133" name="Пятиугольник 16"/>
          <p:cNvSpPr/>
          <p:nvPr>
            <p:custDataLst>
              <p:tags r:id="rId11"/>
            </p:custDataLst>
          </p:nvPr>
        </p:nvSpPr>
        <p:spPr>
          <a:xfrm>
            <a:off x="1393031" y="2650981"/>
            <a:ext cx="825440" cy="847082"/>
          </a:xfrm>
          <a:prstGeom prst="homePlate">
            <a:avLst>
              <a:gd name="adj" fmla="val 6286"/>
            </a:avLst>
          </a:prstGeom>
          <a:solidFill>
            <a:srgbClr val="8064A2">
              <a:lumMod val="40000"/>
              <a:lumOff val="60000"/>
            </a:srgb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</a:t>
            </a:r>
            <a:b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675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АМИ И МЕТОДОЛОГИЕЙ</a:t>
            </a:r>
          </a:p>
        </p:txBody>
      </p:sp>
      <p:sp>
        <p:nvSpPr>
          <p:cNvPr id="134" name="Скругленный прямоугольник 18"/>
          <p:cNvSpPr/>
          <p:nvPr>
            <p:custDataLst>
              <p:tags r:id="rId12"/>
            </p:custDataLst>
          </p:nvPr>
        </p:nvSpPr>
        <p:spPr>
          <a:xfrm>
            <a:off x="2528437" y="2106118"/>
            <a:ext cx="925124" cy="225179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5" name="Прямоугольник 19"/>
          <p:cNvSpPr/>
          <p:nvPr>
            <p:custDataLst>
              <p:tags r:id="rId13"/>
            </p:custDataLst>
          </p:nvPr>
        </p:nvSpPr>
        <p:spPr>
          <a:xfrm>
            <a:off x="2614616" y="2122465"/>
            <a:ext cx="838943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ыбор потоков для оптимизации </a:t>
            </a:r>
            <a:endParaRPr lang="ru-RU" sz="6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36" name="Скругленный прямоугольник 23"/>
          <p:cNvSpPr/>
          <p:nvPr>
            <p:custDataLst>
              <p:tags r:id="rId14"/>
            </p:custDataLst>
          </p:nvPr>
        </p:nvSpPr>
        <p:spPr>
          <a:xfrm>
            <a:off x="3771650" y="2379127"/>
            <a:ext cx="1009247" cy="225179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7" name="Прямоугольник 24"/>
          <p:cNvSpPr/>
          <p:nvPr>
            <p:custDataLst>
              <p:tags r:id="rId15"/>
            </p:custDataLst>
          </p:nvPr>
        </p:nvSpPr>
        <p:spPr>
          <a:xfrm>
            <a:off x="3858586" y="2409861"/>
            <a:ext cx="80382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оздание участков-образцов</a:t>
            </a:r>
          </a:p>
        </p:txBody>
      </p:sp>
      <p:sp>
        <p:nvSpPr>
          <p:cNvPr id="138" name="Скругленный прямоугольник 25"/>
          <p:cNvSpPr/>
          <p:nvPr>
            <p:custDataLst>
              <p:tags r:id="rId16"/>
            </p:custDataLst>
          </p:nvPr>
        </p:nvSpPr>
        <p:spPr>
          <a:xfrm>
            <a:off x="5322956" y="1951299"/>
            <a:ext cx="925124" cy="297667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9" name="Прямоугольник 26"/>
          <p:cNvSpPr/>
          <p:nvPr>
            <p:custDataLst>
              <p:tags r:id="rId17"/>
            </p:custDataLst>
          </p:nvPr>
        </p:nvSpPr>
        <p:spPr>
          <a:xfrm>
            <a:off x="5362209" y="1970203"/>
            <a:ext cx="88392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еализация мероприятий по достижению целевого состояния потоков</a:t>
            </a:r>
            <a:endParaRPr lang="ru-RU" sz="6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40" name="Скругленный прямоугольник 27"/>
          <p:cNvSpPr/>
          <p:nvPr>
            <p:custDataLst>
              <p:tags r:id="rId18"/>
            </p:custDataLst>
          </p:nvPr>
        </p:nvSpPr>
        <p:spPr>
          <a:xfrm>
            <a:off x="5314153" y="1493688"/>
            <a:ext cx="925304" cy="305078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54" name="Прямоугольник 28"/>
          <p:cNvSpPr/>
          <p:nvPr>
            <p:custDataLst>
              <p:tags r:id="rId19"/>
            </p:custDataLst>
          </p:nvPr>
        </p:nvSpPr>
        <p:spPr>
          <a:xfrm>
            <a:off x="5362206" y="1561336"/>
            <a:ext cx="851974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недрение инфоцентра предприятия</a:t>
            </a:r>
            <a:endParaRPr lang="ru-RU" sz="6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60" name="Скругленный прямоугольник 32"/>
          <p:cNvSpPr/>
          <p:nvPr>
            <p:custDataLst>
              <p:tags r:id="rId20"/>
            </p:custDataLst>
          </p:nvPr>
        </p:nvSpPr>
        <p:spPr>
          <a:xfrm>
            <a:off x="6559845" y="3131023"/>
            <a:ext cx="897884" cy="303562"/>
          </a:xfrm>
          <a:prstGeom prst="roundRect">
            <a:avLst/>
          </a:prstGeom>
          <a:solidFill>
            <a:srgbClr val="8064A2">
              <a:lumMod val="40000"/>
              <a:lumOff val="60000"/>
            </a:srgbClr>
          </a:solidFill>
          <a:ln w="9525" cap="flat" cmpd="sng" algn="ctr">
            <a:solidFill>
              <a:srgbClr val="8064A2"/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61" name="Прямоугольник 33"/>
          <p:cNvSpPr/>
          <p:nvPr>
            <p:custDataLst>
              <p:tags r:id="rId21"/>
            </p:custDataLst>
          </p:nvPr>
        </p:nvSpPr>
        <p:spPr>
          <a:xfrm>
            <a:off x="6595522" y="3152207"/>
            <a:ext cx="862205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недрение системы по работе с предложениями по улучшениям</a:t>
            </a:r>
            <a:endParaRPr lang="ru-RU" sz="6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62" name="Скругленный прямоугольник 36"/>
          <p:cNvSpPr/>
          <p:nvPr>
            <p:custDataLst>
              <p:tags r:id="rId22"/>
            </p:custDataLst>
          </p:nvPr>
        </p:nvSpPr>
        <p:spPr>
          <a:xfrm>
            <a:off x="5291267" y="3735718"/>
            <a:ext cx="925304" cy="348004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63" name="Прямоугольник 37"/>
          <p:cNvSpPr/>
          <p:nvPr>
            <p:custDataLst>
              <p:tags r:id="rId23"/>
            </p:custDataLst>
          </p:nvPr>
        </p:nvSpPr>
        <p:spPr>
          <a:xfrm>
            <a:off x="5394440" y="3813675"/>
            <a:ext cx="809054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учение участников (членов РГ) проектов</a:t>
            </a:r>
            <a:endParaRPr lang="ru-RU" sz="6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64" name="Скругленный прямоугольник 40"/>
          <p:cNvSpPr/>
          <p:nvPr>
            <p:custDataLst>
              <p:tags r:id="rId24"/>
            </p:custDataLst>
          </p:nvPr>
        </p:nvSpPr>
        <p:spPr>
          <a:xfrm>
            <a:off x="3770615" y="4179261"/>
            <a:ext cx="738064" cy="129847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65" name="Прямоугольник 41"/>
          <p:cNvSpPr/>
          <p:nvPr>
            <p:custDataLst>
              <p:tags r:id="rId25"/>
            </p:custDataLst>
          </p:nvPr>
        </p:nvSpPr>
        <p:spPr>
          <a:xfrm>
            <a:off x="3786409" y="4198902"/>
            <a:ext cx="713270" cy="923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тартовое совещание</a:t>
            </a:r>
            <a:endParaRPr lang="ru-RU" sz="6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66" name="Скругленный прямоугольник 42"/>
          <p:cNvSpPr/>
          <p:nvPr>
            <p:custDataLst>
              <p:tags r:id="rId26"/>
            </p:custDataLst>
          </p:nvPr>
        </p:nvSpPr>
        <p:spPr>
          <a:xfrm>
            <a:off x="4780901" y="4178823"/>
            <a:ext cx="1422593" cy="132668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67" name="Прямоугольник 43"/>
          <p:cNvSpPr/>
          <p:nvPr>
            <p:custDataLst>
              <p:tags r:id="rId27"/>
            </p:custDataLst>
          </p:nvPr>
        </p:nvSpPr>
        <p:spPr>
          <a:xfrm>
            <a:off x="4810868" y="4203718"/>
            <a:ext cx="1392626" cy="923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оведение Дней информирования</a:t>
            </a:r>
          </a:p>
        </p:txBody>
      </p:sp>
      <p:cxnSp>
        <p:nvCxnSpPr>
          <p:cNvPr id="268" name="Соединительная линия уступом 46"/>
          <p:cNvCxnSpPr/>
          <p:nvPr>
            <p:custDataLst>
              <p:tags r:id="rId28"/>
            </p:custDataLst>
          </p:nvPr>
        </p:nvCxnSpPr>
        <p:spPr>
          <a:xfrm>
            <a:off x="3160644" y="1545998"/>
            <a:ext cx="612911" cy="112580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269" name="Соединительная линия уступом 47"/>
          <p:cNvCxnSpPr>
            <a:stCxn id="134" idx="3"/>
            <a:endCxn id="303" idx="1"/>
          </p:cNvCxnSpPr>
          <p:nvPr>
            <p:custDataLst>
              <p:tags r:id="rId29"/>
            </p:custDataLst>
          </p:nvPr>
        </p:nvCxnSpPr>
        <p:spPr>
          <a:xfrm flipV="1">
            <a:off x="3453559" y="2151959"/>
            <a:ext cx="318092" cy="66750"/>
          </a:xfrm>
          <a:prstGeom prst="bentConnector3">
            <a:avLst>
              <a:gd name="adj1" fmla="val 59636"/>
            </a:avLst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270" name="Соединительная линия уступом 48"/>
          <p:cNvCxnSpPr>
            <a:stCxn id="134" idx="3"/>
            <a:endCxn id="136" idx="1"/>
          </p:cNvCxnSpPr>
          <p:nvPr>
            <p:custDataLst>
              <p:tags r:id="rId30"/>
            </p:custDataLst>
          </p:nvPr>
        </p:nvCxnSpPr>
        <p:spPr>
          <a:xfrm>
            <a:off x="3453559" y="2218709"/>
            <a:ext cx="318091" cy="273009"/>
          </a:xfrm>
          <a:prstGeom prst="bentConnector3">
            <a:avLst>
              <a:gd name="adj1" fmla="val 59635"/>
            </a:avLst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271" name="Соединительная линия уступом 49"/>
          <p:cNvCxnSpPr>
            <a:stCxn id="303" idx="3"/>
            <a:endCxn id="138" idx="1"/>
          </p:cNvCxnSpPr>
          <p:nvPr>
            <p:custDataLst>
              <p:tags r:id="rId31"/>
            </p:custDataLst>
          </p:nvPr>
        </p:nvCxnSpPr>
        <p:spPr>
          <a:xfrm flipV="1">
            <a:off x="4780898" y="2100132"/>
            <a:ext cx="542055" cy="51829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272" name="Соединительная линия уступом 50"/>
          <p:cNvCxnSpPr/>
          <p:nvPr>
            <p:custDataLst>
              <p:tags r:id="rId32"/>
            </p:custDataLst>
          </p:nvPr>
        </p:nvCxnSpPr>
        <p:spPr>
          <a:xfrm>
            <a:off x="4508678" y="2761933"/>
            <a:ext cx="307469" cy="180137"/>
          </a:xfrm>
          <a:prstGeom prst="bentConnector2">
            <a:avLst/>
          </a:prstGeom>
          <a:noFill/>
          <a:ln w="9525" cap="flat" cmpd="sng" algn="ctr">
            <a:solidFill>
              <a:srgbClr val="8064A2"/>
            </a:solidFill>
            <a:prstDash val="solid"/>
            <a:tailEnd type="triangle"/>
          </a:ln>
          <a:effectLst/>
        </p:spPr>
      </p:cxnSp>
      <p:cxnSp>
        <p:nvCxnSpPr>
          <p:cNvPr id="273" name="Соединительная линия уступом 51"/>
          <p:cNvCxnSpPr>
            <a:stCxn id="368" idx="3"/>
            <a:endCxn id="140" idx="1"/>
          </p:cNvCxnSpPr>
          <p:nvPr>
            <p:custDataLst>
              <p:tags r:id="rId33"/>
            </p:custDataLst>
          </p:nvPr>
        </p:nvCxnSpPr>
        <p:spPr>
          <a:xfrm>
            <a:off x="4700757" y="1435670"/>
            <a:ext cx="613396" cy="210557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tailEnd type="triangle"/>
          </a:ln>
          <a:effectLst/>
        </p:spPr>
      </p:cxnSp>
      <p:cxnSp>
        <p:nvCxnSpPr>
          <p:cNvPr id="274" name="Соединительная линия уступом 52"/>
          <p:cNvCxnSpPr>
            <a:stCxn id="369" idx="3"/>
          </p:cNvCxnSpPr>
          <p:nvPr>
            <p:custDataLst>
              <p:tags r:id="rId34"/>
            </p:custDataLst>
          </p:nvPr>
        </p:nvCxnSpPr>
        <p:spPr>
          <a:xfrm flipV="1">
            <a:off x="4697818" y="1699156"/>
            <a:ext cx="618419" cy="42493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tailEnd type="triangle"/>
          </a:ln>
          <a:effectLst/>
        </p:spPr>
      </p:cxnSp>
      <p:cxnSp>
        <p:nvCxnSpPr>
          <p:cNvPr id="275" name="Прямая со стрелкой 53"/>
          <p:cNvCxnSpPr>
            <a:endCxn id="317" idx="1"/>
          </p:cNvCxnSpPr>
          <p:nvPr>
            <p:custDataLst>
              <p:tags r:id="rId35"/>
            </p:custDataLst>
          </p:nvPr>
        </p:nvCxnSpPr>
        <p:spPr>
          <a:xfrm>
            <a:off x="2382556" y="4445972"/>
            <a:ext cx="147782" cy="1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276" name="Соединительная линия уступом 54"/>
          <p:cNvCxnSpPr>
            <a:stCxn id="355" idx="3"/>
            <a:endCxn id="262" idx="1"/>
          </p:cNvCxnSpPr>
          <p:nvPr>
            <p:custDataLst>
              <p:tags r:id="rId36"/>
            </p:custDataLst>
          </p:nvPr>
        </p:nvCxnSpPr>
        <p:spPr>
          <a:xfrm>
            <a:off x="5064462" y="3697729"/>
            <a:ext cx="226807" cy="211991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9BBB59"/>
            </a:solidFill>
            <a:prstDash val="solid"/>
            <a:tailEnd type="triangle"/>
          </a:ln>
          <a:effectLst/>
        </p:spPr>
      </p:cxnSp>
      <p:cxnSp>
        <p:nvCxnSpPr>
          <p:cNvPr id="277" name="Соединительная линия уступом 58"/>
          <p:cNvCxnSpPr/>
          <p:nvPr>
            <p:custDataLst>
              <p:tags r:id="rId37"/>
            </p:custDataLst>
          </p:nvPr>
        </p:nvCxnSpPr>
        <p:spPr>
          <a:xfrm flipV="1">
            <a:off x="3453559" y="3114709"/>
            <a:ext cx="317911" cy="961289"/>
          </a:xfrm>
          <a:prstGeom prst="bentConnector3">
            <a:avLst>
              <a:gd name="adj1" fmla="val 73414"/>
            </a:avLst>
          </a:prstGeom>
          <a:noFill/>
          <a:ln w="9525" cap="flat" cmpd="sng" algn="ctr">
            <a:solidFill>
              <a:srgbClr val="9BBB59"/>
            </a:solidFill>
            <a:prstDash val="solid"/>
            <a:tailEnd type="triangle"/>
          </a:ln>
          <a:effectLst/>
        </p:spPr>
      </p:cxnSp>
      <p:cxnSp>
        <p:nvCxnSpPr>
          <p:cNvPr id="278" name="Соединительная линия уступом 63"/>
          <p:cNvCxnSpPr>
            <a:stCxn id="140" idx="3"/>
          </p:cNvCxnSpPr>
          <p:nvPr>
            <p:custDataLst>
              <p:tags r:id="rId38"/>
            </p:custDataLst>
          </p:nvPr>
        </p:nvCxnSpPr>
        <p:spPr>
          <a:xfrm flipH="1">
            <a:off x="5182693" y="1646226"/>
            <a:ext cx="1056764" cy="1295843"/>
          </a:xfrm>
          <a:prstGeom prst="bentConnector4">
            <a:avLst>
              <a:gd name="adj1" fmla="val -5881"/>
              <a:gd name="adj2" fmla="val 86042"/>
            </a:avLst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tailEnd type="triangle"/>
          </a:ln>
          <a:effectLst/>
        </p:spPr>
      </p:cxnSp>
      <p:cxnSp>
        <p:nvCxnSpPr>
          <p:cNvPr id="279" name="Прямая соединительная линия 66"/>
          <p:cNvCxnSpPr/>
          <p:nvPr>
            <p:custDataLst>
              <p:tags r:id="rId39"/>
            </p:custDataLst>
          </p:nvPr>
        </p:nvCxnSpPr>
        <p:spPr>
          <a:xfrm>
            <a:off x="2382556" y="1478440"/>
            <a:ext cx="0" cy="2967533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</a:ln>
          <a:effectLst/>
        </p:spPr>
      </p:cxnSp>
      <p:cxnSp>
        <p:nvCxnSpPr>
          <p:cNvPr id="280" name="Прямая со стрелкой 67"/>
          <p:cNvCxnSpPr/>
          <p:nvPr>
            <p:custDataLst>
              <p:tags r:id="rId40"/>
            </p:custDataLst>
          </p:nvPr>
        </p:nvCxnSpPr>
        <p:spPr>
          <a:xfrm>
            <a:off x="2382556" y="2241233"/>
            <a:ext cx="147782" cy="1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sp>
        <p:nvSpPr>
          <p:cNvPr id="281" name="Пятиугольник 69"/>
          <p:cNvSpPr/>
          <p:nvPr>
            <p:custDataLst>
              <p:tags r:id="rId41"/>
            </p:custDataLst>
          </p:nvPr>
        </p:nvSpPr>
        <p:spPr>
          <a:xfrm>
            <a:off x="6212421" y="1095011"/>
            <a:ext cx="1318467" cy="179720"/>
          </a:xfrm>
          <a:prstGeom prst="homePlate">
            <a:avLst>
              <a:gd name="adj" fmla="val 10366"/>
            </a:avLst>
          </a:prstGeom>
          <a:solidFill>
            <a:schemeClr val="accent5"/>
          </a:solidFill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189000" tIns="0" rIns="0" bIns="0" rtlCol="0" anchor="ctr"/>
          <a:lstStyle/>
          <a:p>
            <a:pPr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иражирование</a:t>
            </a:r>
          </a:p>
        </p:txBody>
      </p:sp>
      <p:sp>
        <p:nvSpPr>
          <p:cNvPr id="282" name="Пятиугольник 70"/>
          <p:cNvSpPr/>
          <p:nvPr>
            <p:custDataLst>
              <p:tags r:id="rId42"/>
            </p:custDataLst>
          </p:nvPr>
        </p:nvSpPr>
        <p:spPr>
          <a:xfrm>
            <a:off x="4837421" y="1095011"/>
            <a:ext cx="1474397" cy="179720"/>
          </a:xfrm>
          <a:prstGeom prst="homePlate">
            <a:avLst>
              <a:gd name="adj" fmla="val 10366"/>
            </a:avLst>
          </a:prstGeom>
          <a:solidFill>
            <a:srgbClr val="EBE99B">
              <a:lumMod val="60000"/>
              <a:lumOff val="40000"/>
            </a:srgbClr>
          </a:solidFill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39856" tIns="0" rIns="0" bIns="0" rtlCol="0" anchor="ctr"/>
          <a:lstStyle/>
          <a:p>
            <a:pPr defTabSz="683953"/>
            <a:r>
              <a:rPr lang="ru-RU" sz="675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дрение улучшений</a:t>
            </a:r>
          </a:p>
        </p:txBody>
      </p:sp>
      <p:sp>
        <p:nvSpPr>
          <p:cNvPr id="283" name="Пятиугольник 71"/>
          <p:cNvSpPr/>
          <p:nvPr>
            <p:custDataLst>
              <p:tags r:id="rId43"/>
            </p:custDataLst>
          </p:nvPr>
        </p:nvSpPr>
        <p:spPr>
          <a:xfrm>
            <a:off x="3532836" y="1095011"/>
            <a:ext cx="1360903" cy="179720"/>
          </a:xfrm>
          <a:prstGeom prst="homePlate">
            <a:avLst>
              <a:gd name="adj" fmla="val 10366"/>
            </a:avLst>
          </a:prstGeom>
          <a:solidFill>
            <a:srgbClr val="EBE99B">
              <a:lumMod val="60000"/>
              <a:lumOff val="40000"/>
            </a:srgbClr>
          </a:solidFill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39856" tIns="0" rIns="0" bIns="0" rtlCol="0" anchor="ctr"/>
          <a:lstStyle/>
          <a:p>
            <a:pPr defTabSz="683953"/>
            <a:r>
              <a:rPr lang="ru-RU" sz="675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агностика и планирование</a:t>
            </a:r>
          </a:p>
        </p:txBody>
      </p:sp>
      <p:sp>
        <p:nvSpPr>
          <p:cNvPr id="284" name="Пятиугольник 72"/>
          <p:cNvSpPr/>
          <p:nvPr>
            <p:custDataLst>
              <p:tags r:id="rId44"/>
            </p:custDataLst>
          </p:nvPr>
        </p:nvSpPr>
        <p:spPr>
          <a:xfrm>
            <a:off x="2382558" y="1095011"/>
            <a:ext cx="1204640" cy="179720"/>
          </a:xfrm>
          <a:prstGeom prst="homePlate">
            <a:avLst>
              <a:gd name="adj" fmla="val 10366"/>
            </a:avLst>
          </a:prstGeom>
          <a:solidFill>
            <a:srgbClr val="EBE99B">
              <a:lumMod val="60000"/>
              <a:lumOff val="40000"/>
            </a:srgbClr>
          </a:solidFill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39856" tIns="0" rIns="0" bIns="0" rtlCol="0" anchor="ctr"/>
          <a:lstStyle/>
          <a:p>
            <a:pPr defTabSz="68395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75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ка </a:t>
            </a:r>
          </a:p>
        </p:txBody>
      </p:sp>
      <p:cxnSp>
        <p:nvCxnSpPr>
          <p:cNvPr id="285" name="Прямая со стрелкой 88"/>
          <p:cNvCxnSpPr/>
          <p:nvPr>
            <p:custDataLst>
              <p:tags r:id="rId45"/>
            </p:custDataLst>
          </p:nvPr>
        </p:nvCxnSpPr>
        <p:spPr>
          <a:xfrm>
            <a:off x="2382556" y="4081120"/>
            <a:ext cx="147782" cy="1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sp>
        <p:nvSpPr>
          <p:cNvPr id="286" name="TextBox 285"/>
          <p:cNvSpPr txBox="1"/>
          <p:nvPr>
            <p:custDataLst>
              <p:tags r:id="rId46"/>
            </p:custDataLst>
          </p:nvPr>
        </p:nvSpPr>
        <p:spPr>
          <a:xfrm>
            <a:off x="2443136" y="1245657"/>
            <a:ext cx="1076389" cy="246058"/>
          </a:xfrm>
          <a:prstGeom prst="rect">
            <a:avLst/>
          </a:prstGeom>
          <a:noFill/>
        </p:spPr>
        <p:txBody>
          <a:bodyPr wrap="square" lIns="60798" tIns="30399" rIns="60798" bIns="30399" rtlCol="0" anchor="ctr">
            <a:spAutoFit/>
          </a:bodyPr>
          <a:lstStyle/>
          <a:p>
            <a:pPr defTabSz="683953"/>
            <a:r>
              <a:rPr lang="ru-RU" sz="6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бор предприятия и подписание соглашения</a:t>
            </a:r>
          </a:p>
        </p:txBody>
      </p:sp>
      <p:sp>
        <p:nvSpPr>
          <p:cNvPr id="287" name="Скругленный прямоугольник 91"/>
          <p:cNvSpPr/>
          <p:nvPr>
            <p:custDataLst>
              <p:tags r:id="rId47"/>
            </p:custDataLst>
          </p:nvPr>
        </p:nvSpPr>
        <p:spPr>
          <a:xfrm>
            <a:off x="6559845" y="1305773"/>
            <a:ext cx="899727" cy="172665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88" name="Прямоугольник 92"/>
          <p:cNvSpPr/>
          <p:nvPr>
            <p:custDataLst>
              <p:tags r:id="rId48"/>
            </p:custDataLst>
          </p:nvPr>
        </p:nvSpPr>
        <p:spPr>
          <a:xfrm>
            <a:off x="6595521" y="1343338"/>
            <a:ext cx="864049" cy="923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Актуализация целей и КПЭ</a:t>
            </a:r>
          </a:p>
        </p:txBody>
      </p:sp>
      <p:sp>
        <p:nvSpPr>
          <p:cNvPr id="289" name="Скругленный прямоугольник 93"/>
          <p:cNvSpPr/>
          <p:nvPr>
            <p:custDataLst>
              <p:tags r:id="rId49"/>
            </p:custDataLst>
          </p:nvPr>
        </p:nvSpPr>
        <p:spPr>
          <a:xfrm>
            <a:off x="6559845" y="1912738"/>
            <a:ext cx="897884" cy="225179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90" name="Прямоугольник 94"/>
          <p:cNvSpPr/>
          <p:nvPr>
            <p:custDataLst>
              <p:tags r:id="rId50"/>
            </p:custDataLst>
          </p:nvPr>
        </p:nvSpPr>
        <p:spPr>
          <a:xfrm>
            <a:off x="6595521" y="1938401"/>
            <a:ext cx="864049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ыбор и оптимизация новых потоков</a:t>
            </a:r>
            <a:endParaRPr lang="ru-RU" sz="6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91" name="Скругленный прямоугольник 95"/>
          <p:cNvSpPr/>
          <p:nvPr>
            <p:custDataLst>
              <p:tags r:id="rId51"/>
            </p:custDataLst>
          </p:nvPr>
        </p:nvSpPr>
        <p:spPr>
          <a:xfrm>
            <a:off x="6559845" y="2180256"/>
            <a:ext cx="897884" cy="353909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92" name="Прямоугольник 96"/>
          <p:cNvSpPr/>
          <p:nvPr>
            <p:custDataLst>
              <p:tags r:id="rId52"/>
            </p:custDataLst>
          </p:nvPr>
        </p:nvSpPr>
        <p:spPr>
          <a:xfrm>
            <a:off x="6595523" y="2191670"/>
            <a:ext cx="862206" cy="461665"/>
          </a:xfrm>
          <a:prstGeom prst="rect">
            <a:avLst/>
          </a:prstGeom>
          <a:ln>
            <a:noFill/>
            <a:prstDash val="lgDash"/>
          </a:ln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еализация мероприятий по достижению/приближению идеального состояния потоков</a:t>
            </a:r>
          </a:p>
        </p:txBody>
      </p:sp>
      <p:sp>
        <p:nvSpPr>
          <p:cNvPr id="293" name="Скругленный прямоугольник 97"/>
          <p:cNvSpPr/>
          <p:nvPr>
            <p:custDataLst>
              <p:tags r:id="rId53"/>
            </p:custDataLst>
          </p:nvPr>
        </p:nvSpPr>
        <p:spPr>
          <a:xfrm>
            <a:off x="6559842" y="2716895"/>
            <a:ext cx="897885" cy="364270"/>
          </a:xfrm>
          <a:prstGeom prst="roundRect">
            <a:avLst>
              <a:gd name="adj" fmla="val 10521"/>
            </a:avLst>
          </a:prstGeom>
          <a:solidFill>
            <a:srgbClr val="8064A2">
              <a:lumMod val="40000"/>
              <a:lumOff val="60000"/>
            </a:srgbClr>
          </a:solidFill>
          <a:ln w="9525" cap="flat" cmpd="sng" algn="ctr">
            <a:solidFill>
              <a:srgbClr val="8064A2"/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94" name="Прямоугольник 98"/>
          <p:cNvSpPr/>
          <p:nvPr>
            <p:custDataLst>
              <p:tags r:id="rId54"/>
            </p:custDataLst>
          </p:nvPr>
        </p:nvSpPr>
        <p:spPr>
          <a:xfrm>
            <a:off x="6595522" y="2726839"/>
            <a:ext cx="91109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ткрытие и реализация проектов по оптимизации дополнительных потоков и процессов</a:t>
            </a:r>
            <a:endParaRPr lang="ru-RU" sz="6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95" name="Овал 105"/>
          <p:cNvSpPr/>
          <p:nvPr>
            <p:custDataLst>
              <p:tags r:id="rId55"/>
            </p:custDataLst>
          </p:nvPr>
        </p:nvSpPr>
        <p:spPr>
          <a:xfrm>
            <a:off x="2312686" y="1305774"/>
            <a:ext cx="164120" cy="177669"/>
          </a:xfrm>
          <a:prstGeom prst="ellipse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900" b="1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96" name="Прямая со стрелкой 112"/>
          <p:cNvCxnSpPr/>
          <p:nvPr>
            <p:custDataLst>
              <p:tags r:id="rId56"/>
            </p:custDataLst>
          </p:nvPr>
        </p:nvCxnSpPr>
        <p:spPr>
          <a:xfrm>
            <a:off x="2382556" y="3653700"/>
            <a:ext cx="147782" cy="1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297" name="Соединительная линия уступом 113"/>
          <p:cNvCxnSpPr/>
          <p:nvPr/>
        </p:nvCxnSpPr>
        <p:spPr>
          <a:xfrm flipV="1">
            <a:off x="3160640" y="1432167"/>
            <a:ext cx="614994" cy="113827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298" name="Прямая со стрелкой 114"/>
          <p:cNvCxnSpPr/>
          <p:nvPr>
            <p:custDataLst>
              <p:tags r:id="rId57"/>
            </p:custDataLst>
          </p:nvPr>
        </p:nvCxnSpPr>
        <p:spPr>
          <a:xfrm>
            <a:off x="2382556" y="1545995"/>
            <a:ext cx="778083" cy="0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299" name="Соединительная линия уступом 116"/>
          <p:cNvCxnSpPr/>
          <p:nvPr>
            <p:custDataLst>
              <p:tags r:id="rId58"/>
            </p:custDataLst>
          </p:nvPr>
        </p:nvCxnSpPr>
        <p:spPr>
          <a:xfrm>
            <a:off x="4522834" y="2151959"/>
            <a:ext cx="398948" cy="790111"/>
          </a:xfrm>
          <a:prstGeom prst="bentConnector2">
            <a:avLst/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300" name="Соединительная линия уступом 117"/>
          <p:cNvCxnSpPr>
            <a:stCxn id="134" idx="3"/>
          </p:cNvCxnSpPr>
          <p:nvPr>
            <p:custDataLst>
              <p:tags r:id="rId59"/>
            </p:custDataLst>
          </p:nvPr>
        </p:nvCxnSpPr>
        <p:spPr>
          <a:xfrm>
            <a:off x="3453563" y="2218711"/>
            <a:ext cx="319992" cy="828539"/>
          </a:xfrm>
          <a:prstGeom prst="bentConnector3">
            <a:avLst>
              <a:gd name="adj1" fmla="val 59712"/>
            </a:avLst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301" name="Соединительная линия уступом 120"/>
          <p:cNvCxnSpPr>
            <a:stCxn id="331" idx="3"/>
          </p:cNvCxnSpPr>
          <p:nvPr>
            <p:custDataLst>
              <p:tags r:id="rId60"/>
            </p:custDataLst>
          </p:nvPr>
        </p:nvCxnSpPr>
        <p:spPr>
          <a:xfrm flipH="1">
            <a:off x="5557056" y="3052308"/>
            <a:ext cx="678249" cy="670241"/>
          </a:xfrm>
          <a:prstGeom prst="bentConnector4">
            <a:avLst>
              <a:gd name="adj1" fmla="val -8909"/>
              <a:gd name="adj2" fmla="val 57818"/>
            </a:avLst>
          </a:prstGeom>
          <a:noFill/>
          <a:ln w="9525" cap="flat" cmpd="sng" algn="ctr">
            <a:solidFill>
              <a:srgbClr val="8064A2"/>
            </a:solidFill>
            <a:prstDash val="solid"/>
            <a:tailEnd type="triangle"/>
          </a:ln>
          <a:effectLst/>
        </p:spPr>
      </p:cxnSp>
      <p:cxnSp>
        <p:nvCxnSpPr>
          <p:cNvPr id="302" name="Соединительная линия уступом 121"/>
          <p:cNvCxnSpPr>
            <a:stCxn id="138" idx="3"/>
            <a:endCxn id="331" idx="0"/>
          </p:cNvCxnSpPr>
          <p:nvPr>
            <p:custDataLst>
              <p:tags r:id="rId61"/>
            </p:custDataLst>
          </p:nvPr>
        </p:nvCxnSpPr>
        <p:spPr>
          <a:xfrm flipH="1">
            <a:off x="5003388" y="2100133"/>
            <a:ext cx="1244689" cy="841937"/>
          </a:xfrm>
          <a:prstGeom prst="bentConnector4">
            <a:avLst>
              <a:gd name="adj1" fmla="val -5910"/>
              <a:gd name="adj2" fmla="val 58839"/>
            </a:avLst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sp>
        <p:nvSpPr>
          <p:cNvPr id="303" name="Скругленный прямоугольник 124"/>
          <p:cNvSpPr/>
          <p:nvPr>
            <p:custDataLst>
              <p:tags r:id="rId62"/>
            </p:custDataLst>
          </p:nvPr>
        </p:nvSpPr>
        <p:spPr>
          <a:xfrm>
            <a:off x="3771651" y="1951299"/>
            <a:ext cx="1009247" cy="401321"/>
          </a:xfrm>
          <a:prstGeom prst="roundRect">
            <a:avLst/>
          </a:prstGeom>
          <a:solidFill>
            <a:srgbClr val="3BBEED">
              <a:lumMod val="40000"/>
              <a:lumOff val="60000"/>
            </a:srgbClr>
          </a:solidFill>
          <a:ln w="9525" cap="flat" cmpd="sng" algn="ctr">
            <a:solidFill>
              <a:srgbClr val="3BBEED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04" name="Прямоугольник 125"/>
          <p:cNvSpPr/>
          <p:nvPr>
            <p:custDataLst>
              <p:tags r:id="rId63"/>
            </p:custDataLst>
          </p:nvPr>
        </p:nvSpPr>
        <p:spPr>
          <a:xfrm>
            <a:off x="3809567" y="1976958"/>
            <a:ext cx="971333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Анализ текущего и определение целевого, идеального состояния потоков, разработка мероприятий</a:t>
            </a:r>
            <a:endParaRPr lang="ru-RU" sz="6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305" name="Скругленный прямоугольник 135"/>
          <p:cNvSpPr/>
          <p:nvPr>
            <p:custDataLst>
              <p:tags r:id="rId64"/>
            </p:custDataLst>
          </p:nvPr>
        </p:nvSpPr>
        <p:spPr>
          <a:xfrm>
            <a:off x="6559842" y="1519038"/>
            <a:ext cx="899728" cy="337922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06" name="Прямоугольник 133"/>
          <p:cNvSpPr/>
          <p:nvPr>
            <p:custDataLst>
              <p:tags r:id="rId65"/>
            </p:custDataLst>
          </p:nvPr>
        </p:nvSpPr>
        <p:spPr>
          <a:xfrm>
            <a:off x="6595523" y="1529376"/>
            <a:ext cx="811506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недрение взаимосвязан-ных инфоцентров предприятия, цехов, малых групп</a:t>
            </a:r>
          </a:p>
        </p:txBody>
      </p:sp>
      <p:sp>
        <p:nvSpPr>
          <p:cNvPr id="307" name="Скругленный прямоугольник 156"/>
          <p:cNvSpPr/>
          <p:nvPr>
            <p:custDataLst>
              <p:tags r:id="rId66"/>
            </p:custDataLst>
          </p:nvPr>
        </p:nvSpPr>
        <p:spPr>
          <a:xfrm>
            <a:off x="3775634" y="3813676"/>
            <a:ext cx="1035232" cy="314396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08" name="Прямоугольник 163"/>
          <p:cNvSpPr/>
          <p:nvPr>
            <p:custDataLst>
              <p:tags r:id="rId67"/>
            </p:custDataLst>
          </p:nvPr>
        </p:nvSpPr>
        <p:spPr>
          <a:xfrm>
            <a:off x="3858588" y="3843331"/>
            <a:ext cx="93274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учение руководителей предприятия и участников (членов РГ) проектов</a:t>
            </a:r>
            <a:endParaRPr lang="ru-RU" sz="6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309" name="Соединительная линия уступом 168"/>
          <p:cNvCxnSpPr/>
          <p:nvPr>
            <p:custDataLst>
              <p:tags r:id="rId68"/>
            </p:custDataLst>
          </p:nvPr>
        </p:nvCxnSpPr>
        <p:spPr>
          <a:xfrm flipV="1">
            <a:off x="3455460" y="2548640"/>
            <a:ext cx="316190" cy="1141892"/>
          </a:xfrm>
          <a:prstGeom prst="bentConnector3">
            <a:avLst>
              <a:gd name="adj1" fmla="val 23689"/>
            </a:avLst>
          </a:prstGeom>
          <a:noFill/>
          <a:ln w="9525" cap="flat" cmpd="sng" algn="ctr">
            <a:solidFill>
              <a:srgbClr val="9BBB59"/>
            </a:solidFill>
            <a:prstDash val="solid"/>
            <a:tailEnd type="triangle"/>
          </a:ln>
          <a:effectLst/>
        </p:spPr>
      </p:cxnSp>
      <p:cxnSp>
        <p:nvCxnSpPr>
          <p:cNvPr id="310" name="Соединительная линия уступом 172"/>
          <p:cNvCxnSpPr/>
          <p:nvPr>
            <p:custDataLst>
              <p:tags r:id="rId69"/>
            </p:custDataLst>
          </p:nvPr>
        </p:nvCxnSpPr>
        <p:spPr>
          <a:xfrm flipV="1">
            <a:off x="3452575" y="2779447"/>
            <a:ext cx="309284" cy="948518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9BBB59"/>
            </a:solidFill>
            <a:prstDash val="solid"/>
            <a:tailEnd type="triangle"/>
          </a:ln>
          <a:effectLst/>
        </p:spPr>
      </p:cxnSp>
      <p:cxnSp>
        <p:nvCxnSpPr>
          <p:cNvPr id="311" name="Соединительная линия уступом 179"/>
          <p:cNvCxnSpPr/>
          <p:nvPr>
            <p:custDataLst>
              <p:tags r:id="rId70"/>
            </p:custDataLst>
          </p:nvPr>
        </p:nvCxnSpPr>
        <p:spPr>
          <a:xfrm>
            <a:off x="3160644" y="3862467"/>
            <a:ext cx="612911" cy="112580"/>
          </a:xfrm>
          <a:prstGeom prst="bentConnector3">
            <a:avLst>
              <a:gd name="adj1" fmla="val 57858"/>
            </a:avLst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312" name="Соединительная линия уступом 180"/>
          <p:cNvCxnSpPr/>
          <p:nvPr/>
        </p:nvCxnSpPr>
        <p:spPr>
          <a:xfrm flipV="1">
            <a:off x="3160640" y="3748637"/>
            <a:ext cx="614994" cy="113827"/>
          </a:xfrm>
          <a:prstGeom prst="bentConnector3">
            <a:avLst>
              <a:gd name="adj1" fmla="val 57476"/>
            </a:avLst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313" name="Прямая со стрелкой 181"/>
          <p:cNvCxnSpPr/>
          <p:nvPr>
            <p:custDataLst>
              <p:tags r:id="rId71"/>
            </p:custDataLst>
          </p:nvPr>
        </p:nvCxnSpPr>
        <p:spPr>
          <a:xfrm>
            <a:off x="2382556" y="3865749"/>
            <a:ext cx="778083" cy="0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314" name="Скругленный прямоугольник 189"/>
          <p:cNvSpPr/>
          <p:nvPr>
            <p:custDataLst>
              <p:tags r:id="rId72"/>
            </p:custDataLst>
          </p:nvPr>
        </p:nvSpPr>
        <p:spPr>
          <a:xfrm>
            <a:off x="6559843" y="3700689"/>
            <a:ext cx="925304" cy="348004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15" name="Прямоугольник 190"/>
          <p:cNvSpPr/>
          <p:nvPr>
            <p:custDataLst>
              <p:tags r:id="rId73"/>
            </p:custDataLst>
          </p:nvPr>
        </p:nvSpPr>
        <p:spPr>
          <a:xfrm>
            <a:off x="6663016" y="3783024"/>
            <a:ext cx="809054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учение участников (членов РГ) проектов</a:t>
            </a:r>
            <a:endParaRPr lang="ru-RU" sz="6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316" name="Соединительная линия уступом 201"/>
          <p:cNvCxnSpPr/>
          <p:nvPr>
            <p:custDataLst>
              <p:tags r:id="rId74"/>
            </p:custDataLst>
          </p:nvPr>
        </p:nvCxnSpPr>
        <p:spPr>
          <a:xfrm flipV="1">
            <a:off x="4810865" y="3171307"/>
            <a:ext cx="322709" cy="794360"/>
          </a:xfrm>
          <a:prstGeom prst="bentConnector2">
            <a:avLst/>
          </a:prstGeom>
          <a:noFill/>
          <a:ln w="9525" cap="flat" cmpd="sng" algn="ctr">
            <a:solidFill>
              <a:srgbClr val="9BBB59"/>
            </a:solidFill>
            <a:prstDash val="solid"/>
            <a:tailEnd type="triangle"/>
          </a:ln>
          <a:effectLst/>
        </p:spPr>
      </p:cxnSp>
      <p:sp>
        <p:nvSpPr>
          <p:cNvPr id="317" name="Скругленный прямоугольник 219"/>
          <p:cNvSpPr/>
          <p:nvPr>
            <p:custDataLst>
              <p:tags r:id="rId75"/>
            </p:custDataLst>
          </p:nvPr>
        </p:nvSpPr>
        <p:spPr>
          <a:xfrm>
            <a:off x="2530339" y="4326753"/>
            <a:ext cx="930146" cy="238438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18" name="Прямоугольник 220"/>
          <p:cNvSpPr/>
          <p:nvPr>
            <p:custDataLst>
              <p:tags r:id="rId76"/>
            </p:custDataLst>
          </p:nvPr>
        </p:nvSpPr>
        <p:spPr>
          <a:xfrm>
            <a:off x="2614620" y="4394019"/>
            <a:ext cx="812237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иагностика предприятия</a:t>
            </a:r>
            <a:endParaRPr lang="ru-RU" sz="6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319" name="Скругленный прямоугольник 233"/>
          <p:cNvSpPr/>
          <p:nvPr>
            <p:custDataLst>
              <p:tags r:id="rId77"/>
            </p:custDataLst>
          </p:nvPr>
        </p:nvSpPr>
        <p:spPr>
          <a:xfrm>
            <a:off x="3775634" y="4565189"/>
            <a:ext cx="2440937" cy="123311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20" name="Прямоугольник 234"/>
          <p:cNvSpPr/>
          <p:nvPr>
            <p:custDataLst>
              <p:tags r:id="rId78"/>
            </p:custDataLst>
          </p:nvPr>
        </p:nvSpPr>
        <p:spPr>
          <a:xfrm>
            <a:off x="3816126" y="4582707"/>
            <a:ext cx="2393926" cy="923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еализация плана коммуникации и мотивации</a:t>
            </a:r>
          </a:p>
        </p:txBody>
      </p:sp>
      <p:sp>
        <p:nvSpPr>
          <p:cNvPr id="321" name="Скругленный прямоугольник 238"/>
          <p:cNvSpPr/>
          <p:nvPr>
            <p:custDataLst>
              <p:tags r:id="rId79"/>
            </p:custDataLst>
          </p:nvPr>
        </p:nvSpPr>
        <p:spPr>
          <a:xfrm>
            <a:off x="6559845" y="4164666"/>
            <a:ext cx="918436" cy="192429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22" name="Прямоугольник 239"/>
          <p:cNvSpPr/>
          <p:nvPr>
            <p:custDataLst>
              <p:tags r:id="rId80"/>
            </p:custDataLst>
          </p:nvPr>
        </p:nvSpPr>
        <p:spPr>
          <a:xfrm>
            <a:off x="6595523" y="4170541"/>
            <a:ext cx="876546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альнейшая реализация плана коммуникаций и мотив.</a:t>
            </a:r>
          </a:p>
        </p:txBody>
      </p:sp>
      <p:sp>
        <p:nvSpPr>
          <p:cNvPr id="323" name="Скругленный прямоугольник 240"/>
          <p:cNvSpPr/>
          <p:nvPr>
            <p:custDataLst>
              <p:tags r:id="rId81"/>
            </p:custDataLst>
          </p:nvPr>
        </p:nvSpPr>
        <p:spPr>
          <a:xfrm>
            <a:off x="6559845" y="4382035"/>
            <a:ext cx="918436" cy="127874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24" name="Прямоугольник 241"/>
          <p:cNvSpPr/>
          <p:nvPr>
            <p:custDataLst>
              <p:tags r:id="rId82"/>
            </p:custDataLst>
          </p:nvPr>
        </p:nvSpPr>
        <p:spPr>
          <a:xfrm>
            <a:off x="6595521" y="4396453"/>
            <a:ext cx="1210341" cy="923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абочие партнерские визиты</a:t>
            </a:r>
          </a:p>
        </p:txBody>
      </p:sp>
      <p:cxnSp>
        <p:nvCxnSpPr>
          <p:cNvPr id="325" name="Соединительная линия уступом 242"/>
          <p:cNvCxnSpPr>
            <a:endCxn id="264" idx="1"/>
          </p:cNvCxnSpPr>
          <p:nvPr>
            <p:custDataLst>
              <p:tags r:id="rId83"/>
            </p:custDataLst>
          </p:nvPr>
        </p:nvCxnSpPr>
        <p:spPr>
          <a:xfrm flipV="1">
            <a:off x="3462718" y="4244184"/>
            <a:ext cx="307895" cy="194714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D98616"/>
            </a:solidFill>
            <a:prstDash val="solid"/>
            <a:tailEnd type="triangle"/>
          </a:ln>
          <a:effectLst/>
        </p:spPr>
      </p:cxnSp>
      <p:cxnSp>
        <p:nvCxnSpPr>
          <p:cNvPr id="326" name="Соединительная линия уступом 244"/>
          <p:cNvCxnSpPr>
            <a:stCxn id="317" idx="3"/>
            <a:endCxn id="319" idx="1"/>
          </p:cNvCxnSpPr>
          <p:nvPr>
            <p:custDataLst>
              <p:tags r:id="rId84"/>
            </p:custDataLst>
          </p:nvPr>
        </p:nvCxnSpPr>
        <p:spPr>
          <a:xfrm>
            <a:off x="3460485" y="4445973"/>
            <a:ext cx="315149" cy="180874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D98616"/>
            </a:solidFill>
            <a:prstDash val="solid"/>
            <a:tailEnd type="triangle"/>
          </a:ln>
          <a:effectLst/>
        </p:spPr>
      </p:cxnSp>
      <p:cxnSp>
        <p:nvCxnSpPr>
          <p:cNvPr id="327" name="Соединительная линия уступом 247"/>
          <p:cNvCxnSpPr>
            <a:stCxn id="344" idx="3"/>
            <a:endCxn id="331" idx="2"/>
          </p:cNvCxnSpPr>
          <p:nvPr>
            <p:custDataLst>
              <p:tags r:id="rId85"/>
            </p:custDataLst>
          </p:nvPr>
        </p:nvCxnSpPr>
        <p:spPr>
          <a:xfrm flipH="1" flipV="1">
            <a:off x="5003390" y="3162548"/>
            <a:ext cx="1200101" cy="1253172"/>
          </a:xfrm>
          <a:prstGeom prst="bentConnector4">
            <a:avLst>
              <a:gd name="adj1" fmla="val -19048"/>
              <a:gd name="adj2" fmla="val 51842"/>
            </a:avLst>
          </a:prstGeom>
          <a:noFill/>
          <a:ln w="9525" cap="flat" cmpd="sng" algn="ctr">
            <a:solidFill>
              <a:srgbClr val="D98616"/>
            </a:solidFill>
            <a:prstDash val="solid"/>
            <a:tailEnd type="triangle"/>
          </a:ln>
          <a:effectLst/>
        </p:spPr>
      </p:cxnSp>
      <p:cxnSp>
        <p:nvCxnSpPr>
          <p:cNvPr id="328" name="Соединительная линия уступом 253"/>
          <p:cNvCxnSpPr>
            <a:stCxn id="264" idx="3"/>
          </p:cNvCxnSpPr>
          <p:nvPr>
            <p:custDataLst>
              <p:tags r:id="rId86"/>
            </p:custDataLst>
          </p:nvPr>
        </p:nvCxnSpPr>
        <p:spPr>
          <a:xfrm>
            <a:off x="4508676" y="4244185"/>
            <a:ext cx="60999" cy="102536"/>
          </a:xfrm>
          <a:prstGeom prst="bentConnector2">
            <a:avLst/>
          </a:prstGeom>
          <a:noFill/>
          <a:ln w="9525" cap="flat" cmpd="sng" algn="ctr">
            <a:solidFill>
              <a:srgbClr val="D98616"/>
            </a:solidFill>
            <a:prstDash val="solid"/>
            <a:tailEnd type="triangle"/>
          </a:ln>
          <a:effectLst/>
        </p:spPr>
      </p:cxnSp>
      <p:cxnSp>
        <p:nvCxnSpPr>
          <p:cNvPr id="329" name="Соединительная линия уступом 259"/>
          <p:cNvCxnSpPr>
            <a:stCxn id="331" idx="3"/>
            <a:endCxn id="319" idx="0"/>
          </p:cNvCxnSpPr>
          <p:nvPr>
            <p:custDataLst>
              <p:tags r:id="rId87"/>
            </p:custDataLst>
          </p:nvPr>
        </p:nvCxnSpPr>
        <p:spPr>
          <a:xfrm flipH="1">
            <a:off x="4996102" y="3052308"/>
            <a:ext cx="1239203" cy="1512882"/>
          </a:xfrm>
          <a:prstGeom prst="bentConnector4">
            <a:avLst>
              <a:gd name="adj1" fmla="val -12367"/>
              <a:gd name="adj2" fmla="val 96478"/>
            </a:avLst>
          </a:prstGeom>
          <a:noFill/>
          <a:ln w="9525" cap="flat" cmpd="sng" algn="ctr">
            <a:solidFill>
              <a:srgbClr val="8064A2"/>
            </a:solidFill>
            <a:prstDash val="solid"/>
            <a:tailEnd type="triangle"/>
          </a:ln>
          <a:effectLst/>
        </p:spPr>
      </p:cxnSp>
      <p:cxnSp>
        <p:nvCxnSpPr>
          <p:cNvPr id="330" name="Соединительная линия уступом 272"/>
          <p:cNvCxnSpPr>
            <a:stCxn id="136" idx="3"/>
          </p:cNvCxnSpPr>
          <p:nvPr>
            <p:custDataLst>
              <p:tags r:id="rId88"/>
            </p:custDataLst>
          </p:nvPr>
        </p:nvCxnSpPr>
        <p:spPr>
          <a:xfrm>
            <a:off x="4780900" y="2491719"/>
            <a:ext cx="973022" cy="1230831"/>
          </a:xfrm>
          <a:prstGeom prst="bentConnector2">
            <a:avLst/>
          </a:prstGeom>
          <a:noFill/>
          <a:ln w="9525" cap="flat" cmpd="sng" algn="ctr">
            <a:solidFill>
              <a:srgbClr val="3BBEE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sp>
        <p:nvSpPr>
          <p:cNvPr id="331" name="Скругленный прямоугольник 30"/>
          <p:cNvSpPr/>
          <p:nvPr>
            <p:custDataLst>
              <p:tags r:id="rId89"/>
            </p:custDataLst>
          </p:nvPr>
        </p:nvSpPr>
        <p:spPr>
          <a:xfrm>
            <a:off x="3771472" y="2942067"/>
            <a:ext cx="2463836" cy="220481"/>
          </a:xfrm>
          <a:prstGeom prst="roundRect">
            <a:avLst/>
          </a:prstGeom>
          <a:solidFill>
            <a:srgbClr val="8064A2">
              <a:lumMod val="40000"/>
              <a:lumOff val="60000"/>
            </a:srgbClr>
          </a:solidFill>
          <a:ln w="9525" cap="flat" cmpd="sng" algn="ctr">
            <a:solidFill>
              <a:srgbClr val="8064A2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32" name="Прямоугольник 31"/>
          <p:cNvSpPr/>
          <p:nvPr>
            <p:custDataLst>
              <p:tags r:id="rId90"/>
            </p:custDataLst>
          </p:nvPr>
        </p:nvSpPr>
        <p:spPr>
          <a:xfrm>
            <a:off x="3858589" y="2967556"/>
            <a:ext cx="2221103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ткрытие и реализация проектов по оптимизации пилотного потока и вспомогательных процессов, влияющих на пилотный поток</a:t>
            </a:r>
            <a:endParaRPr lang="ru-RU" sz="6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333" name="Равнобедренный треугольник 275"/>
          <p:cNvSpPr/>
          <p:nvPr/>
        </p:nvSpPr>
        <p:spPr>
          <a:xfrm rot="10800000">
            <a:off x="3486863" y="1054672"/>
            <a:ext cx="173766" cy="198590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81000" tIns="0" rIns="0" bIns="0" rtlCol="0" anchor="ctr"/>
          <a:lstStyle/>
          <a:p>
            <a:pPr defTabSz="699390"/>
            <a:endParaRPr lang="ru-RU" sz="900" b="1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4" name="TextBox 333"/>
          <p:cNvSpPr txBox="1"/>
          <p:nvPr/>
        </p:nvSpPr>
        <p:spPr>
          <a:xfrm>
            <a:off x="3475813" y="882785"/>
            <a:ext cx="25359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>
                <a:solidFill>
                  <a:srgbClr val="D74167"/>
                </a:solidFill>
              </a:rPr>
              <a:t>0</a:t>
            </a:r>
          </a:p>
        </p:txBody>
      </p:sp>
      <p:sp>
        <p:nvSpPr>
          <p:cNvPr id="335" name="Равнобедренный треугольник 277"/>
          <p:cNvSpPr/>
          <p:nvPr/>
        </p:nvSpPr>
        <p:spPr>
          <a:xfrm rot="10800000">
            <a:off x="2312682" y="1054672"/>
            <a:ext cx="173766" cy="198590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81000" tIns="0" rIns="0" bIns="0" rtlCol="0" anchor="ctr"/>
          <a:lstStyle/>
          <a:p>
            <a:pPr defTabSz="699390"/>
            <a:endParaRPr lang="ru-RU" sz="900" b="1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6" name="TextBox 335"/>
          <p:cNvSpPr txBox="1"/>
          <p:nvPr/>
        </p:nvSpPr>
        <p:spPr>
          <a:xfrm>
            <a:off x="2159597" y="882785"/>
            <a:ext cx="60625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>
                <a:solidFill>
                  <a:srgbClr val="D74167"/>
                </a:solidFill>
              </a:rPr>
              <a:t>- 3 мес.</a:t>
            </a:r>
          </a:p>
        </p:txBody>
      </p:sp>
      <p:sp>
        <p:nvSpPr>
          <p:cNvPr id="337" name="Равнобедренный треугольник 279"/>
          <p:cNvSpPr/>
          <p:nvPr/>
        </p:nvSpPr>
        <p:spPr>
          <a:xfrm rot="10800000">
            <a:off x="4780898" y="1054672"/>
            <a:ext cx="173766" cy="198590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81000" tIns="0" rIns="0" bIns="0" rtlCol="0" anchor="ctr"/>
          <a:lstStyle/>
          <a:p>
            <a:pPr defTabSz="699390"/>
            <a:endParaRPr lang="ru-RU" sz="900" b="1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8" name="TextBox 337"/>
          <p:cNvSpPr txBox="1"/>
          <p:nvPr/>
        </p:nvSpPr>
        <p:spPr>
          <a:xfrm>
            <a:off x="4627810" y="882785"/>
            <a:ext cx="53412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>
                <a:solidFill>
                  <a:srgbClr val="D74167"/>
                </a:solidFill>
              </a:rPr>
              <a:t>3 мес.</a:t>
            </a:r>
          </a:p>
        </p:txBody>
      </p:sp>
      <p:sp>
        <p:nvSpPr>
          <p:cNvPr id="339" name="Равнобедренный треугольник 281"/>
          <p:cNvSpPr/>
          <p:nvPr/>
        </p:nvSpPr>
        <p:spPr>
          <a:xfrm rot="10800000">
            <a:off x="6203972" y="1054672"/>
            <a:ext cx="173766" cy="198590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81000" tIns="0" rIns="0" bIns="0" rtlCol="0" anchor="ctr"/>
          <a:lstStyle/>
          <a:p>
            <a:pPr defTabSz="699390"/>
            <a:endParaRPr lang="ru-RU" sz="900" b="1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0" name="TextBox 339"/>
          <p:cNvSpPr txBox="1"/>
          <p:nvPr/>
        </p:nvSpPr>
        <p:spPr>
          <a:xfrm>
            <a:off x="6050884" y="882785"/>
            <a:ext cx="53412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>
                <a:solidFill>
                  <a:srgbClr val="D74167"/>
                </a:solidFill>
              </a:rPr>
              <a:t>6 мес.</a:t>
            </a:r>
          </a:p>
        </p:txBody>
      </p:sp>
      <p:sp>
        <p:nvSpPr>
          <p:cNvPr id="341" name="Равнобедренный треугольник 283"/>
          <p:cNvSpPr/>
          <p:nvPr/>
        </p:nvSpPr>
        <p:spPr>
          <a:xfrm rot="10800000">
            <a:off x="7419726" y="1054672"/>
            <a:ext cx="173766" cy="198590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81000" tIns="0" rIns="0" bIns="0" rtlCol="0" anchor="ctr"/>
          <a:lstStyle/>
          <a:p>
            <a:pPr defTabSz="699390"/>
            <a:endParaRPr lang="ru-RU" sz="900" b="1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2" name="TextBox 341"/>
          <p:cNvSpPr txBox="1"/>
          <p:nvPr/>
        </p:nvSpPr>
        <p:spPr>
          <a:xfrm>
            <a:off x="7156302" y="882785"/>
            <a:ext cx="60305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>
                <a:solidFill>
                  <a:srgbClr val="D74167"/>
                </a:solidFill>
              </a:rPr>
              <a:t>36 мес.</a:t>
            </a:r>
          </a:p>
        </p:txBody>
      </p:sp>
      <p:sp>
        <p:nvSpPr>
          <p:cNvPr id="343" name="Скругленный прямоугольник 166"/>
          <p:cNvSpPr/>
          <p:nvPr>
            <p:custDataLst>
              <p:tags r:id="rId91"/>
            </p:custDataLst>
          </p:nvPr>
        </p:nvSpPr>
        <p:spPr>
          <a:xfrm>
            <a:off x="4104596" y="4346721"/>
            <a:ext cx="2098895" cy="129847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44" name="Прямоугольник 169"/>
          <p:cNvSpPr/>
          <p:nvPr>
            <p:custDataLst>
              <p:tags r:id="rId92"/>
            </p:custDataLst>
          </p:nvPr>
        </p:nvSpPr>
        <p:spPr>
          <a:xfrm>
            <a:off x="4140823" y="4369553"/>
            <a:ext cx="2062668" cy="923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сещение производства топ-менеджерами</a:t>
            </a:r>
            <a:endParaRPr lang="ru-RU" sz="6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345" name="Соединительная линия уступом 170"/>
          <p:cNvCxnSpPr>
            <a:endCxn id="266" idx="1"/>
          </p:cNvCxnSpPr>
          <p:nvPr>
            <p:custDataLst>
              <p:tags r:id="rId93"/>
            </p:custDataLst>
          </p:nvPr>
        </p:nvCxnSpPr>
        <p:spPr>
          <a:xfrm flipV="1">
            <a:off x="4522838" y="4245156"/>
            <a:ext cx="258062" cy="1007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D98616"/>
            </a:solidFill>
            <a:prstDash val="solid"/>
            <a:tailEnd type="triangle"/>
          </a:ln>
          <a:effectLst/>
        </p:spPr>
      </p:cxnSp>
      <p:sp>
        <p:nvSpPr>
          <p:cNvPr id="346" name="Скругленный прямоугольник 194"/>
          <p:cNvSpPr/>
          <p:nvPr>
            <p:custDataLst>
              <p:tags r:id="rId94"/>
            </p:custDataLst>
          </p:nvPr>
        </p:nvSpPr>
        <p:spPr>
          <a:xfrm>
            <a:off x="6559845" y="4539724"/>
            <a:ext cx="918436" cy="127874"/>
          </a:xfrm>
          <a:prstGeom prst="roundRect">
            <a:avLst/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solidFill>
              <a:srgbClr val="F79646">
                <a:lumMod val="75000"/>
              </a:srgbClr>
            </a:solidFill>
            <a:prstDash val="lgDash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47" name="Прямоугольник 195"/>
          <p:cNvSpPr/>
          <p:nvPr>
            <p:custDataLst>
              <p:tags r:id="rId95"/>
            </p:custDataLst>
          </p:nvPr>
        </p:nvSpPr>
        <p:spPr>
          <a:xfrm>
            <a:off x="6595521" y="4554142"/>
            <a:ext cx="1210341" cy="923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ни информирования</a:t>
            </a:r>
          </a:p>
        </p:txBody>
      </p:sp>
      <p:sp>
        <p:nvSpPr>
          <p:cNvPr id="348" name="Rectangle 125"/>
          <p:cNvSpPr/>
          <p:nvPr/>
        </p:nvSpPr>
        <p:spPr>
          <a:xfrm>
            <a:off x="1393032" y="911736"/>
            <a:ext cx="6311745" cy="3880530"/>
          </a:xfrm>
          <a:prstGeom prst="rect">
            <a:avLst/>
          </a:prstGeom>
          <a:solidFill>
            <a:schemeClr val="bg1">
              <a:lumMod val="85000"/>
              <a:alpha val="49000"/>
            </a:schemeClr>
          </a:solidFill>
          <a:ln w="952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27000" tIns="0" rIns="27000" bIns="0" rtlCol="0" anchor="ctr"/>
          <a:lstStyle/>
          <a:p>
            <a:pPr algn="ctr"/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349" name="Rectangular Callout 126"/>
          <p:cNvSpPr/>
          <p:nvPr/>
        </p:nvSpPr>
        <p:spPr>
          <a:xfrm>
            <a:off x="2463667" y="4263792"/>
            <a:ext cx="1104308" cy="458080"/>
          </a:xfrm>
          <a:prstGeom prst="wedgeRectCallout">
            <a:avLst>
              <a:gd name="adj1" fmla="val -8582"/>
              <a:gd name="adj2" fmla="val -76917"/>
            </a:avLst>
          </a:prstGeom>
          <a:solidFill>
            <a:schemeClr val="bg1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7000" rIns="27000" rtlCol="0" anchor="t"/>
          <a:lstStyle/>
          <a:p>
            <a:r>
              <a:rPr lang="ru-RU" sz="600" dirty="0">
                <a:solidFill>
                  <a:schemeClr val="tx1"/>
                </a:solidFill>
              </a:rPr>
              <a:t>Командировка ГД и одного ЗГД на 2 дня на предприятие-образец в Ковров</a:t>
            </a:r>
          </a:p>
        </p:txBody>
      </p:sp>
      <p:sp>
        <p:nvSpPr>
          <p:cNvPr id="350" name="Скругленный прямоугольник 21"/>
          <p:cNvSpPr/>
          <p:nvPr>
            <p:custDataLst>
              <p:tags r:id="rId96"/>
            </p:custDataLst>
          </p:nvPr>
        </p:nvSpPr>
        <p:spPr>
          <a:xfrm>
            <a:off x="2526432" y="3498337"/>
            <a:ext cx="929028" cy="344996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51" name="Прямоугольник 22"/>
          <p:cNvSpPr/>
          <p:nvPr>
            <p:custDataLst>
              <p:tags r:id="rId97"/>
            </p:custDataLst>
          </p:nvPr>
        </p:nvSpPr>
        <p:spPr>
          <a:xfrm>
            <a:off x="2614617" y="3503275"/>
            <a:ext cx="846713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учение/стажировка рабочей группы пилотного проекта по оптимизации потоков</a:t>
            </a:r>
          </a:p>
        </p:txBody>
      </p:sp>
      <p:sp>
        <p:nvSpPr>
          <p:cNvPr id="352" name="Скругленный прямоугольник 38"/>
          <p:cNvSpPr/>
          <p:nvPr>
            <p:custDataLst>
              <p:tags r:id="rId98"/>
            </p:custDataLst>
          </p:nvPr>
        </p:nvSpPr>
        <p:spPr>
          <a:xfrm>
            <a:off x="2524351" y="3975046"/>
            <a:ext cx="929209" cy="149362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53" name="Прямоугольник 39"/>
          <p:cNvSpPr/>
          <p:nvPr>
            <p:custDataLst>
              <p:tags r:id="rId99"/>
            </p:custDataLst>
          </p:nvPr>
        </p:nvSpPr>
        <p:spPr>
          <a:xfrm>
            <a:off x="2614619" y="4006680"/>
            <a:ext cx="840844" cy="923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учение ГД предприятия</a:t>
            </a:r>
            <a:endParaRPr lang="ru-RU" sz="6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354" name="Rectangular Callout 128"/>
          <p:cNvSpPr/>
          <p:nvPr/>
        </p:nvSpPr>
        <p:spPr>
          <a:xfrm>
            <a:off x="3747668" y="3253705"/>
            <a:ext cx="1519740" cy="302309"/>
          </a:xfrm>
          <a:prstGeom prst="wedgeRectCallout">
            <a:avLst>
              <a:gd name="adj1" fmla="val -15714"/>
              <a:gd name="adj2" fmla="val 60232"/>
            </a:avLst>
          </a:prstGeom>
          <a:solidFill>
            <a:schemeClr val="bg1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7000" rIns="27000" rtlCol="0" anchor="t"/>
          <a:lstStyle/>
          <a:p>
            <a:r>
              <a:rPr lang="ru-RU" sz="600" dirty="0">
                <a:solidFill>
                  <a:schemeClr val="tx1"/>
                </a:solidFill>
              </a:rPr>
              <a:t>Выделение 2 внутр. тренеров, 2 командировки в Москву на неделю</a:t>
            </a:r>
          </a:p>
        </p:txBody>
      </p:sp>
      <p:sp>
        <p:nvSpPr>
          <p:cNvPr id="355" name="Скругленный прямоугольник 34"/>
          <p:cNvSpPr/>
          <p:nvPr>
            <p:custDataLst>
              <p:tags r:id="rId100"/>
            </p:custDataLst>
          </p:nvPr>
        </p:nvSpPr>
        <p:spPr>
          <a:xfrm>
            <a:off x="3770613" y="3618358"/>
            <a:ext cx="1293847" cy="158738"/>
          </a:xfrm>
          <a:prstGeom prst="roundRect">
            <a:avLst/>
          </a:prstGeom>
          <a:solidFill>
            <a:srgbClr val="9BBB59">
              <a:lumMod val="40000"/>
              <a:lumOff val="60000"/>
            </a:srgbClr>
          </a:solidFill>
          <a:ln w="9525" cap="flat" cmpd="sng" algn="ctr">
            <a:solidFill>
              <a:srgbClr val="9BBB59"/>
            </a:solidFill>
            <a:prstDash val="solid"/>
          </a:ln>
          <a:effectLst/>
        </p:spPr>
        <p:txBody>
          <a:bodyPr lIns="0" tIns="0" rIns="0" bIns="0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56" name="Прямоугольник 35"/>
          <p:cNvSpPr/>
          <p:nvPr>
            <p:custDataLst>
              <p:tags r:id="rId101"/>
            </p:custDataLst>
          </p:nvPr>
        </p:nvSpPr>
        <p:spPr>
          <a:xfrm>
            <a:off x="3809565" y="3646215"/>
            <a:ext cx="1317154" cy="923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дготовка  тренеров предприятия</a:t>
            </a:r>
            <a:endParaRPr lang="ru-RU" sz="6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357" name="Прямая со стрелкой 68"/>
          <p:cNvCxnSpPr/>
          <p:nvPr>
            <p:custDataLst>
              <p:tags r:id="rId102"/>
            </p:custDataLst>
          </p:nvPr>
        </p:nvCxnSpPr>
        <p:spPr>
          <a:xfrm>
            <a:off x="2382556" y="2716894"/>
            <a:ext cx="1388056" cy="0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sp>
        <p:nvSpPr>
          <p:cNvPr id="358" name="Скругленный прямоугольник 122"/>
          <p:cNvSpPr/>
          <p:nvPr>
            <p:custDataLst>
              <p:tags r:id="rId103"/>
            </p:custDataLst>
          </p:nvPr>
        </p:nvSpPr>
        <p:spPr>
          <a:xfrm>
            <a:off x="3770614" y="2666856"/>
            <a:ext cx="925304" cy="225179"/>
          </a:xfrm>
          <a:prstGeom prst="roundRect">
            <a:avLst/>
          </a:prstGeom>
          <a:solidFill>
            <a:srgbClr val="8064A2">
              <a:lumMod val="40000"/>
              <a:lumOff val="60000"/>
            </a:srgbClr>
          </a:solidFill>
          <a:ln w="9525" cap="flat" cmpd="sng" algn="ctr">
            <a:solidFill>
              <a:srgbClr val="8064A2"/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59" name="Прямоугольник 123"/>
          <p:cNvSpPr/>
          <p:nvPr>
            <p:custDataLst>
              <p:tags r:id="rId104"/>
            </p:custDataLst>
          </p:nvPr>
        </p:nvSpPr>
        <p:spPr>
          <a:xfrm>
            <a:off x="3858588" y="2675313"/>
            <a:ext cx="81386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Формирование проектного офиса</a:t>
            </a:r>
            <a:endParaRPr lang="ru-RU" sz="6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360" name="Rectangular Callout 129"/>
          <p:cNvSpPr/>
          <p:nvPr/>
        </p:nvSpPr>
        <p:spPr>
          <a:xfrm>
            <a:off x="2463667" y="1970204"/>
            <a:ext cx="1110080" cy="662775"/>
          </a:xfrm>
          <a:prstGeom prst="wedgeRectCallout">
            <a:avLst>
              <a:gd name="adj1" fmla="val 64384"/>
              <a:gd name="adj2" fmla="val 60087"/>
            </a:avLst>
          </a:prstGeom>
          <a:solidFill>
            <a:schemeClr val="bg1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7000" rIns="27000" rtlCol="0" anchor="t"/>
          <a:lstStyle/>
          <a:p>
            <a:r>
              <a:rPr lang="ru-RU" sz="600" dirty="0">
                <a:solidFill>
                  <a:schemeClr val="tx1"/>
                </a:solidFill>
              </a:rPr>
              <a:t>Выделение сотрудников (1 на 500 чел. численности) для 100% занятости в проектном офисе после 3 мес. проекта</a:t>
            </a:r>
          </a:p>
        </p:txBody>
      </p:sp>
      <p:sp>
        <p:nvSpPr>
          <p:cNvPr id="361" name="Rectangular Callout 130"/>
          <p:cNvSpPr/>
          <p:nvPr/>
        </p:nvSpPr>
        <p:spPr>
          <a:xfrm>
            <a:off x="2463669" y="1529375"/>
            <a:ext cx="1143548" cy="383364"/>
          </a:xfrm>
          <a:prstGeom prst="wedgeRectCallout">
            <a:avLst>
              <a:gd name="adj1" fmla="val 62275"/>
              <a:gd name="adj2" fmla="val -35844"/>
            </a:avLst>
          </a:prstGeom>
          <a:solidFill>
            <a:schemeClr val="bg1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7000" rIns="27000" rtlCol="0" anchor="t"/>
          <a:lstStyle/>
          <a:p>
            <a:r>
              <a:rPr lang="ru-RU" sz="600" dirty="0">
                <a:solidFill>
                  <a:schemeClr val="tx1"/>
                </a:solidFill>
              </a:rPr>
              <a:t>Командировка ГД и одного ЗГД на 1-2 дня в Москву на обучение</a:t>
            </a:r>
          </a:p>
        </p:txBody>
      </p:sp>
      <p:sp>
        <p:nvSpPr>
          <p:cNvPr id="362" name="Овал 48"/>
          <p:cNvSpPr/>
          <p:nvPr/>
        </p:nvSpPr>
        <p:spPr>
          <a:xfrm>
            <a:off x="2294047" y="1631604"/>
            <a:ext cx="162403" cy="162403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27000" tIns="0" rIns="27000" bIns="0" rtlCol="0" anchor="ctr"/>
          <a:lstStyle/>
          <a:p>
            <a:pPr algn="ctr" defTabSz="342900"/>
            <a:r>
              <a:rPr lang="ru-RU" sz="900" b="1" dirty="0">
                <a:solidFill>
                  <a:prstClr val="white"/>
                </a:solidFill>
              </a:rPr>
              <a:t>1</a:t>
            </a:r>
          </a:p>
        </p:txBody>
      </p:sp>
      <p:sp>
        <p:nvSpPr>
          <p:cNvPr id="363" name="Овал 48"/>
          <p:cNvSpPr/>
          <p:nvPr/>
        </p:nvSpPr>
        <p:spPr>
          <a:xfrm>
            <a:off x="2294047" y="2194936"/>
            <a:ext cx="162403" cy="162403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27000" tIns="0" rIns="27000" bIns="0" rtlCol="0" anchor="ctr"/>
          <a:lstStyle/>
          <a:p>
            <a:pPr algn="ctr" defTabSz="342900"/>
            <a:r>
              <a:rPr lang="ru-RU" sz="900" b="1" dirty="0">
                <a:solidFill>
                  <a:prstClr val="white"/>
                </a:solidFill>
              </a:rPr>
              <a:t>2</a:t>
            </a:r>
          </a:p>
        </p:txBody>
      </p:sp>
      <p:sp>
        <p:nvSpPr>
          <p:cNvPr id="364" name="Овал 48"/>
          <p:cNvSpPr/>
          <p:nvPr/>
        </p:nvSpPr>
        <p:spPr>
          <a:xfrm>
            <a:off x="2294047" y="2961583"/>
            <a:ext cx="162403" cy="162403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27000" tIns="0" rIns="27000" bIns="0" rtlCol="0" anchor="ctr"/>
          <a:lstStyle/>
          <a:p>
            <a:pPr algn="ctr" defTabSz="342900"/>
            <a:r>
              <a:rPr lang="ru-RU" sz="900" b="1" dirty="0">
                <a:solidFill>
                  <a:prstClr val="white"/>
                </a:solidFill>
              </a:rPr>
              <a:t>3</a:t>
            </a:r>
          </a:p>
        </p:txBody>
      </p:sp>
      <p:sp>
        <p:nvSpPr>
          <p:cNvPr id="365" name="Овал 48"/>
          <p:cNvSpPr/>
          <p:nvPr/>
        </p:nvSpPr>
        <p:spPr>
          <a:xfrm>
            <a:off x="2294047" y="4405289"/>
            <a:ext cx="162403" cy="162403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27000" tIns="0" rIns="27000" bIns="0" rtlCol="0" anchor="ctr"/>
          <a:lstStyle/>
          <a:p>
            <a:pPr algn="ctr" defTabSz="342900"/>
            <a:r>
              <a:rPr lang="ru-RU" sz="900" b="1" dirty="0">
                <a:solidFill>
                  <a:prstClr val="white"/>
                </a:solidFill>
              </a:rPr>
              <a:t>4</a:t>
            </a:r>
          </a:p>
        </p:txBody>
      </p:sp>
      <p:sp>
        <p:nvSpPr>
          <p:cNvPr id="366" name="Овал 48"/>
          <p:cNvSpPr/>
          <p:nvPr/>
        </p:nvSpPr>
        <p:spPr>
          <a:xfrm>
            <a:off x="3580631" y="3323658"/>
            <a:ext cx="167037" cy="162403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27000" tIns="0" rIns="27000" bIns="0" rtlCol="0" anchor="ctr"/>
          <a:lstStyle/>
          <a:p>
            <a:pPr algn="ctr" defTabSz="342900"/>
            <a:r>
              <a:rPr lang="ru-RU" sz="900" b="1" dirty="0">
                <a:solidFill>
                  <a:prstClr val="white"/>
                </a:solidFill>
              </a:rPr>
              <a:t>5</a:t>
            </a:r>
          </a:p>
        </p:txBody>
      </p:sp>
      <p:sp>
        <p:nvSpPr>
          <p:cNvPr id="367" name="Скругленный прямоугольник 17"/>
          <p:cNvSpPr/>
          <p:nvPr>
            <p:custDataLst>
              <p:tags r:id="rId105"/>
            </p:custDataLst>
          </p:nvPr>
        </p:nvSpPr>
        <p:spPr>
          <a:xfrm>
            <a:off x="3773551" y="1320815"/>
            <a:ext cx="925304" cy="225179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68" name="Прямоугольник 20"/>
          <p:cNvSpPr/>
          <p:nvPr>
            <p:custDataLst>
              <p:tags r:id="rId106"/>
            </p:custDataLst>
          </p:nvPr>
        </p:nvSpPr>
        <p:spPr>
          <a:xfrm>
            <a:off x="3858586" y="1343337"/>
            <a:ext cx="84217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азработка дерева целей, постановка КПЭ</a:t>
            </a:r>
            <a:endParaRPr lang="ru-RU" sz="6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369" name="Скругленный прямоугольник 29"/>
          <p:cNvSpPr/>
          <p:nvPr>
            <p:custDataLst>
              <p:tags r:id="rId107"/>
            </p:custDataLst>
          </p:nvPr>
        </p:nvSpPr>
        <p:spPr>
          <a:xfrm>
            <a:off x="3773551" y="1631602"/>
            <a:ext cx="924268" cy="220091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lIns="60930" tIns="30465" rIns="60930" bIns="30465" spcCol="0" rtlCol="0" anchor="ctr"/>
          <a:lstStyle/>
          <a:p>
            <a:pPr algn="ctr" defTabSz="684021"/>
            <a:endParaRPr lang="ru-RU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70" name="Прямоугольник 110"/>
          <p:cNvSpPr/>
          <p:nvPr>
            <p:custDataLst>
              <p:tags r:id="rId108"/>
            </p:custDataLst>
          </p:nvPr>
        </p:nvSpPr>
        <p:spPr>
          <a:xfrm>
            <a:off x="3858585" y="1650920"/>
            <a:ext cx="844809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4021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недрение пилотного информационного центра</a:t>
            </a:r>
            <a:endParaRPr lang="ru-RU" sz="600" b="1" baseline="30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371" name="Rectangular Callout 127"/>
          <p:cNvSpPr/>
          <p:nvPr/>
        </p:nvSpPr>
        <p:spPr>
          <a:xfrm>
            <a:off x="2463667" y="2650981"/>
            <a:ext cx="1104308" cy="783605"/>
          </a:xfrm>
          <a:prstGeom prst="wedgeRectCallout">
            <a:avLst>
              <a:gd name="adj1" fmla="val -13963"/>
              <a:gd name="adj2" fmla="val 57723"/>
            </a:avLst>
          </a:prstGeom>
          <a:solidFill>
            <a:schemeClr val="bg1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7000" rIns="27000" rtlCol="0" anchor="t"/>
          <a:lstStyle/>
          <a:p>
            <a:r>
              <a:rPr lang="ru-RU" sz="600" dirty="0">
                <a:solidFill>
                  <a:schemeClr val="tx1"/>
                </a:solidFill>
              </a:rPr>
              <a:t>Обучение рабочей группы из 5-8 чел. (2 дня на территории предприятия), которые будут вовлечены в Проект на 80-100% в течение 3 мес.</a:t>
            </a:r>
          </a:p>
        </p:txBody>
      </p:sp>
      <p:sp>
        <p:nvSpPr>
          <p:cNvPr id="373" name="Прямоугольная выноска 372"/>
          <p:cNvSpPr/>
          <p:nvPr/>
        </p:nvSpPr>
        <p:spPr>
          <a:xfrm>
            <a:off x="6143429" y="2181358"/>
            <a:ext cx="1149815" cy="462359"/>
          </a:xfrm>
          <a:prstGeom prst="wedgeRectCallout">
            <a:avLst/>
          </a:prstGeom>
          <a:ln w="9525">
            <a:solidFill>
              <a:schemeClr val="tx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27000" tIns="0" rIns="27000" bIns="0" rtlCol="0" anchor="ctr"/>
          <a:lstStyle/>
          <a:p>
            <a:pPr algn="ctr"/>
            <a:r>
              <a:rPr lang="ru-RU" sz="600" dirty="0"/>
              <a:t>Каждый руководитель ведет личный проект по улучшениям.</a:t>
            </a:r>
          </a:p>
        </p:txBody>
      </p:sp>
      <p:sp>
        <p:nvSpPr>
          <p:cNvPr id="141" name="Овал 48"/>
          <p:cNvSpPr/>
          <p:nvPr/>
        </p:nvSpPr>
        <p:spPr>
          <a:xfrm>
            <a:off x="5967365" y="2332349"/>
            <a:ext cx="167037" cy="162403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27000" tIns="0" rIns="27000" bIns="0" rtlCol="0" anchor="ctr"/>
          <a:lstStyle/>
          <a:p>
            <a:pPr algn="ctr" defTabSz="342900"/>
            <a:r>
              <a:rPr lang="ru-RU" sz="900" b="1" dirty="0">
                <a:solidFill>
                  <a:prstClr val="white"/>
                </a:solidFill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33245141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0029" y="167641"/>
            <a:ext cx="8335961" cy="432197"/>
          </a:xfrm>
        </p:spPr>
        <p:txBody>
          <a:bodyPr/>
          <a:lstStyle/>
          <a:p>
            <a:r>
              <a:rPr lang="ru-RU" dirty="0"/>
              <a:t>Ключевые вехи проекта в первые 3 месяца программы</a:t>
            </a:r>
          </a:p>
        </p:txBody>
      </p:sp>
      <p:sp>
        <p:nvSpPr>
          <p:cNvPr id="7" name="Пятиугольник 71"/>
          <p:cNvSpPr/>
          <p:nvPr>
            <p:custDataLst>
              <p:tags r:id="rId1"/>
            </p:custDataLst>
          </p:nvPr>
        </p:nvSpPr>
        <p:spPr>
          <a:xfrm>
            <a:off x="2267273" y="795267"/>
            <a:ext cx="5415765" cy="183522"/>
          </a:xfrm>
          <a:prstGeom prst="homePlate">
            <a:avLst>
              <a:gd name="adj" fmla="val 10366"/>
            </a:avLst>
          </a:prstGeom>
          <a:solidFill>
            <a:srgbClr val="EBE99B">
              <a:lumMod val="60000"/>
              <a:lumOff val="40000"/>
            </a:srgbClr>
          </a:solidFill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39856" tIns="0" rIns="0" bIns="0" rtlCol="0" anchor="ctr"/>
          <a:lstStyle/>
          <a:p>
            <a:pPr defTabSz="683953"/>
            <a:r>
              <a:rPr lang="ru-RU" sz="12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агностика и планирование</a:t>
            </a:r>
          </a:p>
        </p:txBody>
      </p:sp>
      <p:sp>
        <p:nvSpPr>
          <p:cNvPr id="9" name="Равнобедренный треугольник 275"/>
          <p:cNvSpPr/>
          <p:nvPr/>
        </p:nvSpPr>
        <p:spPr>
          <a:xfrm rot="10800000">
            <a:off x="2220330" y="754076"/>
            <a:ext cx="177442" cy="202791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81000" tIns="0" rIns="0" bIns="0" rtlCol="0" anchor="ctr"/>
          <a:lstStyle/>
          <a:p>
            <a:pPr defTabSz="699390"/>
            <a:endParaRPr lang="ru-RU" sz="900" b="1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Равнобедренный треугольник 279"/>
          <p:cNvSpPr/>
          <p:nvPr/>
        </p:nvSpPr>
        <p:spPr>
          <a:xfrm rot="10800000">
            <a:off x="7594317" y="754076"/>
            <a:ext cx="177442" cy="202791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81000" tIns="0" rIns="0" bIns="0" rtlCol="0" anchor="ctr"/>
          <a:lstStyle/>
          <a:p>
            <a:pPr defTabSz="699390"/>
            <a:endParaRPr lang="ru-RU" sz="900" b="1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453338" y="546209"/>
            <a:ext cx="53412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>
                <a:solidFill>
                  <a:srgbClr val="D74167"/>
                </a:solidFill>
              </a:rPr>
              <a:t>3 мес.</a:t>
            </a:r>
          </a:p>
        </p:txBody>
      </p:sp>
      <p:sp>
        <p:nvSpPr>
          <p:cNvPr id="18" name="Пятиугольник 12"/>
          <p:cNvSpPr/>
          <p:nvPr>
            <p:custDataLst>
              <p:tags r:id="rId2"/>
            </p:custDataLst>
          </p:nvPr>
        </p:nvSpPr>
        <p:spPr>
          <a:xfrm>
            <a:off x="155257" y="964245"/>
            <a:ext cx="1010599" cy="502128"/>
          </a:xfrm>
          <a:prstGeom prst="homePlate">
            <a:avLst>
              <a:gd name="adj" fmla="val 5883"/>
            </a:avLst>
          </a:prstGeom>
          <a:solidFill>
            <a:sysClr val="window" lastClr="FFFFFF">
              <a:lumMod val="85000"/>
            </a:sys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КОМПОЗИЦИЯ</a:t>
            </a:r>
            <a:br>
              <a:rPr lang="ru-RU" sz="800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800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ЕЙ</a:t>
            </a:r>
          </a:p>
        </p:txBody>
      </p:sp>
      <p:sp>
        <p:nvSpPr>
          <p:cNvPr id="19" name="Пятиугольник 13"/>
          <p:cNvSpPr/>
          <p:nvPr>
            <p:custDataLst>
              <p:tags r:id="rId3"/>
            </p:custDataLst>
          </p:nvPr>
        </p:nvSpPr>
        <p:spPr>
          <a:xfrm>
            <a:off x="155257" y="1466374"/>
            <a:ext cx="1010599" cy="1395284"/>
          </a:xfrm>
          <a:prstGeom prst="homePlate">
            <a:avLst>
              <a:gd name="adj" fmla="val 3862"/>
            </a:avLst>
          </a:prstGeom>
          <a:solidFill>
            <a:srgbClr val="3BBEED">
              <a:lumMod val="40000"/>
              <a:lumOff val="60000"/>
            </a:srgb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ТИМИЗАЦИЯ ПОТОКОВ ПО ПРОИЗВОДСТВУ ПРОДУКЦИИ</a:t>
            </a:r>
          </a:p>
        </p:txBody>
      </p:sp>
      <p:sp>
        <p:nvSpPr>
          <p:cNvPr id="20" name="Пятиугольник 14"/>
          <p:cNvSpPr/>
          <p:nvPr>
            <p:custDataLst>
              <p:tags r:id="rId4"/>
            </p:custDataLst>
          </p:nvPr>
        </p:nvSpPr>
        <p:spPr>
          <a:xfrm>
            <a:off x="155257" y="3368472"/>
            <a:ext cx="1010598" cy="1001945"/>
          </a:xfrm>
          <a:prstGeom prst="homePlate">
            <a:avLst>
              <a:gd name="adj" fmla="val 3840"/>
            </a:avLst>
          </a:prstGeom>
          <a:solidFill>
            <a:srgbClr val="9BBB59">
              <a:lumMod val="60000"/>
              <a:lumOff val="40000"/>
            </a:srgb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УЧЕНИЕ</a:t>
            </a:r>
          </a:p>
        </p:txBody>
      </p:sp>
      <p:sp>
        <p:nvSpPr>
          <p:cNvPr id="21" name="Пятиугольник 15"/>
          <p:cNvSpPr/>
          <p:nvPr>
            <p:custDataLst>
              <p:tags r:id="rId5"/>
            </p:custDataLst>
          </p:nvPr>
        </p:nvSpPr>
        <p:spPr>
          <a:xfrm>
            <a:off x="155256" y="4370416"/>
            <a:ext cx="1010597" cy="481619"/>
          </a:xfrm>
          <a:prstGeom prst="homePlate">
            <a:avLst>
              <a:gd name="adj" fmla="val 7092"/>
            </a:avLst>
          </a:prstGeom>
          <a:solidFill>
            <a:srgbClr val="F79646">
              <a:lumMod val="60000"/>
              <a:lumOff val="40000"/>
            </a:srgb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ИЗМЕНЕНИЯМИ</a:t>
            </a:r>
          </a:p>
        </p:txBody>
      </p:sp>
      <p:sp>
        <p:nvSpPr>
          <p:cNvPr id="22" name="Пятиугольник 16"/>
          <p:cNvSpPr/>
          <p:nvPr>
            <p:custDataLst>
              <p:tags r:id="rId6"/>
            </p:custDataLst>
          </p:nvPr>
        </p:nvSpPr>
        <p:spPr>
          <a:xfrm>
            <a:off x="155257" y="2880514"/>
            <a:ext cx="1010599" cy="487958"/>
          </a:xfrm>
          <a:prstGeom prst="homePlate">
            <a:avLst>
              <a:gd name="adj" fmla="val 6286"/>
            </a:avLst>
          </a:prstGeom>
          <a:solidFill>
            <a:srgbClr val="8064A2">
              <a:lumMod val="40000"/>
              <a:lumOff val="60000"/>
            </a:srgb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</a:t>
            </a:r>
            <a:br>
              <a:rPr lang="ru-RU" sz="800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800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АМИ И МЕТОДОЛОГИЕЙ</a:t>
            </a:r>
          </a:p>
        </p:txBody>
      </p:sp>
      <p:graphicFrame>
        <p:nvGraphicFramePr>
          <p:cNvPr id="23" name="Table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2413113"/>
              </p:ext>
            </p:extLst>
          </p:nvPr>
        </p:nvGraphicFramePr>
        <p:xfrm>
          <a:off x="1165859" y="978789"/>
          <a:ext cx="7734297" cy="4800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73429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80060">
                <a:tc>
                  <a:txBody>
                    <a:bodyPr/>
                    <a:lstStyle/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ru-RU" sz="900" dirty="0" err="1"/>
                        <a:t>Инфоцентр</a:t>
                      </a:r>
                      <a:r>
                        <a:rPr lang="ru-RU" sz="900" dirty="0"/>
                        <a:t> предприятия создан, генеральным директором утвержден регламент работы инфоцентра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ru-RU" sz="900" dirty="0"/>
                        <a:t>Дерево целей согласовано экспертом  по декомпозиции целей и утверждено генеральным директором предприятия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ru-RU" sz="900" dirty="0"/>
                        <a:t>Разработаны и утверждены индивидуальные показатели эффективности (карты КПЭ)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4" name="Table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1454501"/>
              </p:ext>
            </p:extLst>
          </p:nvPr>
        </p:nvGraphicFramePr>
        <p:xfrm>
          <a:off x="1165859" y="1466374"/>
          <a:ext cx="7734300" cy="14097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8671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671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330164">
                <a:tc>
                  <a:txBody>
                    <a:bodyPr/>
                    <a:lstStyle/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ru-RU" sz="800" dirty="0"/>
                        <a:t>Проанализированы фактические пути перемещения продукции/людей внутри потока (диаграмма «Спагетти»)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ru-RU" sz="800" dirty="0"/>
                        <a:t>Сформирована текущая карта потока создания ценности, определены узкие места потока.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ru-RU" sz="800" dirty="0"/>
                        <a:t>Внедрен производственный анализ (план-факт</a:t>
                      </a:r>
                      <a:r>
                        <a:rPr lang="ru-RU" sz="800" baseline="0" dirty="0"/>
                        <a:t> производства с указанием причин отклонений и мероприятий для их устранения)</a:t>
                      </a:r>
                      <a:r>
                        <a:rPr lang="ru-RU" sz="800" dirty="0"/>
                        <a:t> на узких местах работы потока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ru-RU" sz="800" dirty="0"/>
                        <a:t>Определен участок для создания эталонного участка бережливого производства (обязательные инструменты: 5С,</a:t>
                      </a:r>
                      <a:r>
                        <a:rPr lang="ru-RU" sz="800" baseline="0" dirty="0"/>
                        <a:t> производственный анализ, стандартизированная работа)</a:t>
                      </a:r>
                      <a:r>
                        <a:rPr lang="ru-RU" sz="800" dirty="0"/>
                        <a:t>, определены сроки и состав мероприятий.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228600" indent="-228600">
                        <a:buFont typeface="+mj-lt"/>
                        <a:buAutoNum type="arabicPeriod" startAt="5"/>
                      </a:pPr>
                      <a:endParaRPr lang="ru-RU" sz="800" dirty="0"/>
                    </a:p>
                    <a:p>
                      <a:pPr marL="228600" indent="-228600">
                        <a:buFont typeface="+mj-lt"/>
                        <a:buAutoNum type="arabicPeriod" startAt="5"/>
                      </a:pPr>
                      <a:r>
                        <a:rPr lang="ru-RU" sz="800" dirty="0"/>
                        <a:t>Разработана карта идеального состояния, определен перечень проблем.</a:t>
                      </a:r>
                    </a:p>
                    <a:p>
                      <a:pPr marL="228600" indent="-228600">
                        <a:buFont typeface="+mj-lt"/>
                        <a:buAutoNum type="arabicPeriod" startAt="5"/>
                      </a:pPr>
                      <a:r>
                        <a:rPr lang="ru-RU" sz="800" dirty="0"/>
                        <a:t>Разработана целевое состояние путей перемещения продукции/людей внутри потока (диаграмма «Спагетти») и карта потока целевого состояния</a:t>
                      </a:r>
                    </a:p>
                    <a:p>
                      <a:pPr marL="228600" indent="-228600">
                        <a:buFont typeface="+mj-lt"/>
                        <a:buAutoNum type="arabicPeriod" startAt="5"/>
                      </a:pPr>
                      <a:r>
                        <a:rPr lang="ru-RU" sz="800" dirty="0"/>
                        <a:t>Утвержден итоговый план-график мероприятий по достижению целей (целевого состояния) пилотного потока.</a:t>
                      </a:r>
                    </a:p>
                    <a:p>
                      <a:pPr marL="228600" indent="-228600">
                        <a:buFont typeface="+mj-lt"/>
                        <a:buAutoNum type="arabicPeriod" startAt="5"/>
                      </a:pPr>
                      <a:r>
                        <a:rPr lang="ru-RU" sz="800" dirty="0"/>
                        <a:t>Реализованы мероприятия по созданию эталонного участка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5" name="Table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9814006"/>
              </p:ext>
            </p:extLst>
          </p:nvPr>
        </p:nvGraphicFramePr>
        <p:xfrm>
          <a:off x="1165859" y="2880515"/>
          <a:ext cx="7734301" cy="4953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7343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80060">
                <a:tc>
                  <a:txBody>
                    <a:bodyPr/>
                    <a:lstStyle/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ru-RU" sz="700" dirty="0"/>
                        <a:t>Подготовлена и утверждена карточка проекта по оптимизации пилотного потока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ru-RU" sz="700" dirty="0"/>
                        <a:t>Карточка «О предприятии в цифрах» направлена в ФЦК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ru-RU" sz="700" dirty="0"/>
                        <a:t>Карточка «О проекте в цифрах» направлена в ФЦК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ru-RU" sz="700" dirty="0"/>
                        <a:t>Инициированы дополнительные проекты в потоках по производству продукции и обеспечивающих процессах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7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469099"/>
              </p:ext>
            </p:extLst>
          </p:nvPr>
        </p:nvGraphicFramePr>
        <p:xfrm>
          <a:off x="1165858" y="3368472"/>
          <a:ext cx="7734302" cy="99441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8671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671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994410">
                <a:tc>
                  <a:txBody>
                    <a:bodyPr/>
                    <a:lstStyle/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ru-RU" sz="800" dirty="0"/>
                        <a:t>Организовано посещение предприятия стажерами с предприятий «последующих волн»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ru-RU" sz="800" dirty="0"/>
                        <a:t>Проведено обучение руководителей предприятия инструментам декомпозиции целей</a:t>
                      </a:r>
                      <a:r>
                        <a:rPr lang="ru-RU" sz="800" baseline="0" dirty="0"/>
                        <a:t> и </a:t>
                      </a:r>
                      <a:r>
                        <a:rPr lang="ru-RU" sz="800" dirty="0"/>
                        <a:t>эффективной визуализации данных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ru-RU" sz="800" dirty="0"/>
                        <a:t>Проведено обучение рабочей группы проекта по оптимизации пилотного потока по темам «Быстрая переналадка SMED» и/или «Стандартизированная работа» (по запросу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228600" indent="-228600">
                        <a:buFont typeface="+mj-lt"/>
                        <a:buAutoNum type="arabicPeriod" startAt="4"/>
                      </a:pPr>
                      <a:r>
                        <a:rPr lang="ru-RU" sz="800" dirty="0"/>
                        <a:t>Определены кандидаты на внутренних тренеров предприятия, заполнены и направлены анкеты</a:t>
                      </a:r>
                    </a:p>
                    <a:p>
                      <a:pPr marL="228600" indent="-228600">
                        <a:buFont typeface="+mj-lt"/>
                        <a:buAutoNum type="arabicPeriod" startAt="4"/>
                      </a:pPr>
                      <a:r>
                        <a:rPr lang="ru-RU" sz="800" dirty="0"/>
                        <a:t>Проведен очный этап отбора кандидатов на внутренних тренеров предприятия (Сканирование)</a:t>
                      </a:r>
                    </a:p>
                    <a:p>
                      <a:pPr marL="228600" indent="-228600">
                        <a:buFont typeface="+mj-lt"/>
                        <a:buAutoNum type="arabicPeriod" startAt="4"/>
                      </a:pPr>
                      <a:r>
                        <a:rPr lang="ru-RU" sz="800" dirty="0"/>
                        <a:t>Проведен специализированный тренинг тренеров силами ФЦК, проведена передача программ обучения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8" name="Table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0171485"/>
              </p:ext>
            </p:extLst>
          </p:nvPr>
        </p:nvGraphicFramePr>
        <p:xfrm>
          <a:off x="1165857" y="4370417"/>
          <a:ext cx="7734300" cy="5562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7343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80060">
                <a:tc>
                  <a:txBody>
                    <a:bodyPr/>
                    <a:lstStyle/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ru-RU" sz="800" dirty="0"/>
                        <a:t>Проведено стартовое совещание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ru-RU" sz="800" dirty="0"/>
                        <a:t>Проведен сбор фото и видео-материалов потока до изменений, создана база данных для накопления  результатов реализации мероприятий 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ru-RU" sz="800" dirty="0"/>
                        <a:t>Утвержден план коммуникации и мотивации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cxnSp>
        <p:nvCxnSpPr>
          <p:cNvPr id="29" name="Straight Connector 18"/>
          <p:cNvCxnSpPr/>
          <p:nvPr/>
        </p:nvCxnSpPr>
        <p:spPr>
          <a:xfrm flipH="1">
            <a:off x="1404938" y="1466374"/>
            <a:ext cx="6281737" cy="0"/>
          </a:xfrm>
          <a:prstGeom prst="line">
            <a:avLst/>
          </a:prstGeom>
          <a:ln w="9525">
            <a:solidFill>
              <a:schemeClr val="tx2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18"/>
          <p:cNvCxnSpPr/>
          <p:nvPr/>
        </p:nvCxnSpPr>
        <p:spPr>
          <a:xfrm flipH="1">
            <a:off x="1404938" y="2871086"/>
            <a:ext cx="6281737" cy="0"/>
          </a:xfrm>
          <a:prstGeom prst="line">
            <a:avLst/>
          </a:prstGeom>
          <a:ln w="9525">
            <a:solidFill>
              <a:schemeClr val="tx2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Connector 18"/>
          <p:cNvCxnSpPr/>
          <p:nvPr/>
        </p:nvCxnSpPr>
        <p:spPr>
          <a:xfrm flipH="1">
            <a:off x="1404938" y="3368472"/>
            <a:ext cx="6281737" cy="0"/>
          </a:xfrm>
          <a:prstGeom prst="line">
            <a:avLst/>
          </a:prstGeom>
          <a:ln w="9525">
            <a:solidFill>
              <a:schemeClr val="tx2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18"/>
          <p:cNvCxnSpPr/>
          <p:nvPr/>
        </p:nvCxnSpPr>
        <p:spPr>
          <a:xfrm flipH="1">
            <a:off x="1404938" y="4370417"/>
            <a:ext cx="6281737" cy="0"/>
          </a:xfrm>
          <a:prstGeom prst="line">
            <a:avLst/>
          </a:prstGeom>
          <a:ln w="9525">
            <a:solidFill>
              <a:schemeClr val="tx2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2205536" y="546209"/>
            <a:ext cx="25359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>
                <a:solidFill>
                  <a:srgbClr val="D74167"/>
                </a:solidFill>
              </a:rPr>
              <a:t>0</a:t>
            </a:r>
            <a:endParaRPr lang="ru-RU" sz="1050" dirty="0">
              <a:solidFill>
                <a:srgbClr val="D741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639945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161" y="114301"/>
            <a:ext cx="8853645" cy="584655"/>
          </a:xfrm>
        </p:spPr>
        <p:txBody>
          <a:bodyPr/>
          <a:lstStyle/>
          <a:p>
            <a:r>
              <a:rPr lang="ru-RU" dirty="0"/>
              <a:t>Ключевые вехи проекта во вторые 3 месяца программы</a:t>
            </a:r>
          </a:p>
        </p:txBody>
      </p:sp>
      <p:sp>
        <p:nvSpPr>
          <p:cNvPr id="7" name="Пятиугольник 71"/>
          <p:cNvSpPr/>
          <p:nvPr>
            <p:custDataLst>
              <p:tags r:id="rId1"/>
            </p:custDataLst>
          </p:nvPr>
        </p:nvSpPr>
        <p:spPr>
          <a:xfrm>
            <a:off x="2267273" y="970084"/>
            <a:ext cx="5415765" cy="183522"/>
          </a:xfrm>
          <a:prstGeom prst="homePlate">
            <a:avLst>
              <a:gd name="adj" fmla="val 10366"/>
            </a:avLst>
          </a:prstGeom>
          <a:solidFill>
            <a:srgbClr val="EBE99B">
              <a:lumMod val="60000"/>
              <a:lumOff val="40000"/>
            </a:srgbClr>
          </a:solidFill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39856" tIns="0" rIns="0" bIns="0" rtlCol="0" anchor="ctr"/>
          <a:lstStyle/>
          <a:p>
            <a:pPr defTabSz="683953"/>
            <a:r>
              <a:rPr lang="ru-RU" sz="12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дрение улучшений</a:t>
            </a:r>
          </a:p>
        </p:txBody>
      </p:sp>
      <p:sp>
        <p:nvSpPr>
          <p:cNvPr id="9" name="Равнобедренный треугольник 275"/>
          <p:cNvSpPr/>
          <p:nvPr/>
        </p:nvSpPr>
        <p:spPr>
          <a:xfrm rot="10800000">
            <a:off x="2220330" y="928893"/>
            <a:ext cx="177442" cy="202791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81000" tIns="0" rIns="0" bIns="0" rtlCol="0" anchor="ctr"/>
          <a:lstStyle/>
          <a:p>
            <a:pPr defTabSz="699390"/>
            <a:endParaRPr lang="ru-RU" sz="900" b="1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Равнобедренный треугольник 279"/>
          <p:cNvSpPr/>
          <p:nvPr/>
        </p:nvSpPr>
        <p:spPr>
          <a:xfrm rot="10800000">
            <a:off x="7594317" y="928893"/>
            <a:ext cx="177442" cy="202791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81000" tIns="0" rIns="0" bIns="0" rtlCol="0" anchor="ctr"/>
          <a:lstStyle/>
          <a:p>
            <a:pPr defTabSz="699390"/>
            <a:endParaRPr lang="ru-RU" sz="900" b="1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453338" y="673961"/>
            <a:ext cx="53412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>
                <a:solidFill>
                  <a:srgbClr val="D74167"/>
                </a:solidFill>
              </a:rPr>
              <a:t>6 </a:t>
            </a:r>
            <a:r>
              <a:rPr lang="ru-RU" sz="1050" dirty="0">
                <a:solidFill>
                  <a:srgbClr val="D74167"/>
                </a:solidFill>
              </a:rPr>
              <a:t>мес.</a:t>
            </a:r>
          </a:p>
        </p:txBody>
      </p:sp>
      <p:sp>
        <p:nvSpPr>
          <p:cNvPr id="19" name="Пятиугольник 13"/>
          <p:cNvSpPr/>
          <p:nvPr>
            <p:custDataLst>
              <p:tags r:id="rId2"/>
            </p:custDataLst>
          </p:nvPr>
        </p:nvSpPr>
        <p:spPr>
          <a:xfrm>
            <a:off x="149161" y="1213240"/>
            <a:ext cx="966945" cy="624165"/>
          </a:xfrm>
          <a:prstGeom prst="homePlate">
            <a:avLst>
              <a:gd name="adj" fmla="val 10790"/>
            </a:avLst>
          </a:prstGeom>
          <a:solidFill>
            <a:srgbClr val="3BBEED">
              <a:lumMod val="40000"/>
              <a:lumOff val="60000"/>
            </a:srgb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ТИМИЗАЦИЯ ПОТОКОВ ПО ПРОИЗВОДСТВУ ПРОДУКЦИИ</a:t>
            </a:r>
          </a:p>
        </p:txBody>
      </p:sp>
      <p:sp>
        <p:nvSpPr>
          <p:cNvPr id="20" name="Пятиугольник 14"/>
          <p:cNvSpPr/>
          <p:nvPr>
            <p:custDataLst>
              <p:tags r:id="rId3"/>
            </p:custDataLst>
          </p:nvPr>
        </p:nvSpPr>
        <p:spPr>
          <a:xfrm>
            <a:off x="149161" y="2972802"/>
            <a:ext cx="966944" cy="566457"/>
          </a:xfrm>
          <a:prstGeom prst="homePlate">
            <a:avLst>
              <a:gd name="adj" fmla="val 8412"/>
            </a:avLst>
          </a:prstGeom>
          <a:solidFill>
            <a:srgbClr val="9BBB59">
              <a:lumMod val="60000"/>
              <a:lumOff val="40000"/>
            </a:srgb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УЧЕНИЕ</a:t>
            </a:r>
          </a:p>
        </p:txBody>
      </p:sp>
      <p:sp>
        <p:nvSpPr>
          <p:cNvPr id="21" name="Пятиугольник 15"/>
          <p:cNvSpPr/>
          <p:nvPr>
            <p:custDataLst>
              <p:tags r:id="rId4"/>
            </p:custDataLst>
          </p:nvPr>
        </p:nvSpPr>
        <p:spPr>
          <a:xfrm>
            <a:off x="149161" y="3597860"/>
            <a:ext cx="966944" cy="481619"/>
          </a:xfrm>
          <a:prstGeom prst="homePlate">
            <a:avLst>
              <a:gd name="adj" fmla="val 7834"/>
            </a:avLst>
          </a:prstGeom>
          <a:solidFill>
            <a:srgbClr val="F79646">
              <a:lumMod val="60000"/>
              <a:lumOff val="40000"/>
            </a:srgb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ИЗМЕНЕНИЯМИ</a:t>
            </a:r>
          </a:p>
        </p:txBody>
      </p:sp>
      <p:sp>
        <p:nvSpPr>
          <p:cNvPr id="22" name="Пятиугольник 16"/>
          <p:cNvSpPr/>
          <p:nvPr>
            <p:custDataLst>
              <p:tags r:id="rId5"/>
            </p:custDataLst>
          </p:nvPr>
        </p:nvSpPr>
        <p:spPr>
          <a:xfrm>
            <a:off x="149162" y="1877013"/>
            <a:ext cx="966944" cy="1037187"/>
          </a:xfrm>
          <a:prstGeom prst="homePlate">
            <a:avLst>
              <a:gd name="adj" fmla="val 6286"/>
            </a:avLst>
          </a:prstGeom>
          <a:solidFill>
            <a:srgbClr val="8064A2">
              <a:lumMod val="40000"/>
              <a:lumOff val="60000"/>
            </a:srgb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27000" tIns="0" rIns="0" bIns="0" rtlCol="0" anchor="ctr"/>
          <a:lstStyle/>
          <a:p>
            <a:pPr defTabSz="6840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</a:t>
            </a:r>
            <a:br>
              <a:rPr lang="ru-RU" sz="800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800" b="1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АМИ И МЕТОДОЛОГИЕЙ</a:t>
            </a:r>
          </a:p>
        </p:txBody>
      </p:sp>
      <p:graphicFrame>
        <p:nvGraphicFramePr>
          <p:cNvPr id="25" name="Table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3890203"/>
              </p:ext>
            </p:extLst>
          </p:nvPr>
        </p:nvGraphicFramePr>
        <p:xfrm>
          <a:off x="1404938" y="1912331"/>
          <a:ext cx="7326312" cy="9829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3263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891540">
                <a:tc>
                  <a:txBody>
                    <a:bodyPr/>
                    <a:lstStyle/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ru-RU" sz="1000" dirty="0"/>
                        <a:t>Укомплектован проектный офис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ru-RU" sz="1000" dirty="0"/>
                        <a:t>Проведена защита результатов проекта по оптимизации пилотного</a:t>
                      </a:r>
                      <a:r>
                        <a:rPr lang="ru-RU" sz="1000" baseline="0" dirty="0"/>
                        <a:t> потока</a:t>
                      </a:r>
                      <a:r>
                        <a:rPr lang="ru-RU" sz="1000" dirty="0"/>
                        <a:t>. Сформированный отчет утвержден у ГД</a:t>
                      </a:r>
                      <a:endParaRPr lang="en-US" sz="1000" dirty="0"/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ru-RU" sz="1000" dirty="0"/>
                        <a:t>Инициированы дополнительные проекты в потоках по производству продукции и обеспечивающих процессах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ru-RU" sz="1000" dirty="0"/>
                        <a:t>Подписан протокол о выполненных мероприятиях  на предприятии-участнике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8" name="Table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6382835"/>
              </p:ext>
            </p:extLst>
          </p:nvPr>
        </p:nvGraphicFramePr>
        <p:xfrm>
          <a:off x="1404938" y="3597860"/>
          <a:ext cx="7326312" cy="5257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3263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80060">
                <a:tc>
                  <a:txBody>
                    <a:bodyPr/>
                    <a:lstStyle/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ru-RU" sz="1000" dirty="0"/>
                        <a:t>Проведен день информирования о планах на 3 месяца и результатах диагностики.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ru-RU" sz="1000" dirty="0"/>
                        <a:t>Проведен день информирования о результатах проекта по оптимизации пилотного потока и дальнейших планах тиражирования на остальные потоки предприятия.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cxnSp>
        <p:nvCxnSpPr>
          <p:cNvPr id="31" name="Straight Connector 18"/>
          <p:cNvCxnSpPr/>
          <p:nvPr/>
        </p:nvCxnSpPr>
        <p:spPr>
          <a:xfrm flipH="1">
            <a:off x="1404938" y="1857210"/>
            <a:ext cx="6281737" cy="0"/>
          </a:xfrm>
          <a:prstGeom prst="line">
            <a:avLst/>
          </a:prstGeom>
          <a:ln w="9525">
            <a:solidFill>
              <a:schemeClr val="tx2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Connector 18"/>
          <p:cNvCxnSpPr/>
          <p:nvPr/>
        </p:nvCxnSpPr>
        <p:spPr>
          <a:xfrm flipH="1">
            <a:off x="1404938" y="2945619"/>
            <a:ext cx="6281737" cy="0"/>
          </a:xfrm>
          <a:prstGeom prst="line">
            <a:avLst/>
          </a:prstGeom>
          <a:ln w="9525">
            <a:solidFill>
              <a:schemeClr val="tx2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18"/>
          <p:cNvCxnSpPr/>
          <p:nvPr/>
        </p:nvCxnSpPr>
        <p:spPr>
          <a:xfrm flipH="1">
            <a:off x="1404938" y="3568560"/>
            <a:ext cx="6281737" cy="0"/>
          </a:xfrm>
          <a:prstGeom prst="line">
            <a:avLst/>
          </a:prstGeom>
          <a:ln w="9525">
            <a:solidFill>
              <a:schemeClr val="tx2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2048042" y="673961"/>
            <a:ext cx="53412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>
                <a:solidFill>
                  <a:srgbClr val="D74167"/>
                </a:solidFill>
              </a:rPr>
              <a:t>3 мес.</a:t>
            </a:r>
          </a:p>
        </p:txBody>
      </p:sp>
      <p:graphicFrame>
        <p:nvGraphicFramePr>
          <p:cNvPr id="30" name="Table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5574493"/>
              </p:ext>
            </p:extLst>
          </p:nvPr>
        </p:nvGraphicFramePr>
        <p:xfrm>
          <a:off x="1404938" y="1213240"/>
          <a:ext cx="7326312" cy="6172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3263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17220">
                <a:tc>
                  <a:txBody>
                    <a:bodyPr/>
                    <a:lstStyle/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ru-RU" sz="1000" dirty="0"/>
                        <a:t>Рабочей группой предприятия реализованы мероприятия по достижению целей (целевого состояния) пилотного потока</a:t>
                      </a:r>
                      <a:endParaRPr lang="en-US" sz="1000" dirty="0"/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ru-RU" sz="1000" dirty="0"/>
                        <a:t>Разработан и утвержден план по вовлечению в Программу всех потоков предприятия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4" name="Table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8371403"/>
              </p:ext>
            </p:extLst>
          </p:nvPr>
        </p:nvGraphicFramePr>
        <p:xfrm>
          <a:off x="1404938" y="3038861"/>
          <a:ext cx="7326312" cy="4800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3263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80060">
                <a:tc>
                  <a:txBody>
                    <a:bodyPr/>
                    <a:lstStyle/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ru-RU" sz="1000" dirty="0"/>
                        <a:t>Проведена сертификация внутренних тренеров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ru-RU" sz="1000" dirty="0"/>
                        <a:t>Проведено обучение руководителей и специалистов рабочих групп (силами локальных тренеров)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6660855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Прямоугольник 60"/>
          <p:cNvSpPr/>
          <p:nvPr/>
        </p:nvSpPr>
        <p:spPr>
          <a:xfrm>
            <a:off x="4784643" y="987530"/>
            <a:ext cx="4251977" cy="8111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65B8"/>
              </a:solidFill>
              <a:latin typeface="+mj-lt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467430" y="987530"/>
            <a:ext cx="3528490" cy="8111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65B8"/>
              </a:solidFill>
              <a:latin typeface="+mj-lt"/>
            </a:endParaRPr>
          </a:p>
        </p:txBody>
      </p:sp>
      <p:pic>
        <p:nvPicPr>
          <p:cNvPr id="3" name="Picture 3" descr="C:\Users\User\Desktop\Отдел УИ\Книги\iDD3KZSIH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8493" t="-3967" r="-9955" b="43479"/>
          <a:stretch/>
        </p:blipFill>
        <p:spPr bwMode="auto">
          <a:xfrm>
            <a:off x="2956880" y="3534001"/>
            <a:ext cx="3151736" cy="1609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9" name="Picture 3" descr="C:\Users\User\Desktop\преза Агишев\955_original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b="36104"/>
          <a:stretch/>
        </p:blipFill>
        <p:spPr bwMode="auto">
          <a:xfrm>
            <a:off x="4260180" y="4558158"/>
            <a:ext cx="524463" cy="478329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Заголовок 1"/>
          <p:cNvSpPr txBox="1">
            <a:spLocks/>
          </p:cNvSpPr>
          <p:nvPr/>
        </p:nvSpPr>
        <p:spPr bwMode="auto">
          <a:xfrm>
            <a:off x="101599" y="195184"/>
            <a:ext cx="9144001" cy="2427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eaLnBrk="1" hangingPunct="1">
              <a:lnSpc>
                <a:spcPct val="90000"/>
              </a:lnSpc>
              <a:defRPr sz="2000" b="1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eaLnBrk="1" hangingPunct="1">
              <a:lnSpc>
                <a:spcPct val="90000"/>
              </a:lnSpc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eaLnBrk="1" hangingPunct="1">
              <a:lnSpc>
                <a:spcPct val="90000"/>
              </a:lnSpc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eaLnBrk="1" hangingPunct="1">
              <a:lnSpc>
                <a:spcPct val="90000"/>
              </a:lnSpc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eaLnBrk="1" hangingPunct="1">
              <a:lnSpc>
                <a:spcPct val="90000"/>
              </a:lnSpc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429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685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10287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r>
              <a:rPr lang="ru-RU" dirty="0"/>
              <a:t> Индикаторы эффективности коммуникаций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67430" y="2520406"/>
            <a:ext cx="3002228" cy="18004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ea typeface="Verdana" panose="020B0604030504040204" pitchFamily="34" charset="0"/>
              </a:rPr>
              <a:t>следуют принципам культуры </a:t>
            </a:r>
            <a:br>
              <a:rPr lang="ru-RU" sz="1200" dirty="0">
                <a:latin typeface="+mj-lt"/>
                <a:ea typeface="Verdana" panose="020B0604030504040204" pitchFamily="34" charset="0"/>
              </a:rPr>
            </a:br>
            <a:r>
              <a:rPr lang="ru-RU" sz="1200" dirty="0">
                <a:latin typeface="+mj-lt"/>
                <a:ea typeface="Verdana" panose="020B0604030504040204" pitchFamily="34" charset="0"/>
              </a:rPr>
              <a:t>бережливого производства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ea typeface="Verdana" panose="020B0604030504040204" pitchFamily="34" charset="0"/>
              </a:rPr>
              <a:t>используют новые инструменты в работе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ea typeface="Verdana" panose="020B0604030504040204" pitchFamily="34" charset="0"/>
              </a:rPr>
              <a:t>выражают поддержку </a:t>
            </a:r>
            <a:br>
              <a:rPr lang="ru-RU" sz="1200" dirty="0">
                <a:latin typeface="+mj-lt"/>
                <a:ea typeface="Verdana" panose="020B0604030504040204" pitchFamily="34" charset="0"/>
              </a:rPr>
            </a:br>
            <a:r>
              <a:rPr lang="ru-RU" sz="1200" dirty="0">
                <a:latin typeface="+mj-lt"/>
                <a:ea typeface="Verdana" panose="020B0604030504040204" pitchFamily="34" charset="0"/>
              </a:rPr>
              <a:t>новым подходам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ea typeface="Verdana" panose="020B0604030504040204" pitchFamily="34" charset="0"/>
              </a:rPr>
              <a:t>активно подают предложения </a:t>
            </a:r>
            <a:br>
              <a:rPr lang="ru-RU" sz="1200" dirty="0">
                <a:latin typeface="+mj-lt"/>
                <a:ea typeface="Verdana" panose="020B0604030504040204" pitchFamily="34" charset="0"/>
              </a:rPr>
            </a:br>
            <a:r>
              <a:rPr lang="ru-RU" sz="1200" dirty="0">
                <a:latin typeface="+mj-lt"/>
                <a:ea typeface="Verdana" panose="020B0604030504040204" pitchFamily="34" charset="0"/>
              </a:rPr>
              <a:t>по улучшениям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507088" y="1131550"/>
            <a:ext cx="224933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solidFill>
                  <a:srgbClr val="CA3568"/>
                </a:solidFill>
                <a:latin typeface="+mj-lt"/>
              </a:rPr>
              <a:t>РАСТЕТ</a:t>
            </a:r>
          </a:p>
          <a:p>
            <a:r>
              <a:rPr lang="ru-RU" sz="1600" b="1" dirty="0">
                <a:solidFill>
                  <a:srgbClr val="CA3568"/>
                </a:solidFill>
                <a:latin typeface="+mj-lt"/>
              </a:rPr>
              <a:t>ВОВЛЕЧЕННОСТЬ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4780540" y="1122855"/>
            <a:ext cx="307488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solidFill>
                  <a:srgbClr val="CA3568"/>
                </a:solidFill>
                <a:latin typeface="+mj-lt"/>
              </a:rPr>
              <a:t>РАСТЕТ</a:t>
            </a:r>
          </a:p>
          <a:p>
            <a:r>
              <a:rPr lang="ru-RU" sz="1600" b="1" dirty="0">
                <a:solidFill>
                  <a:srgbClr val="CA3568"/>
                </a:solidFill>
                <a:latin typeface="+mj-lt"/>
              </a:rPr>
              <a:t>ПРОИЗВОДИТЕЛЬНОСТЬ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467430" y="1974530"/>
            <a:ext cx="357321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latin typeface="+mj-lt"/>
                <a:ea typeface="Verdana" panose="020B0604030504040204" pitchFamily="34" charset="0"/>
              </a:rPr>
              <a:t>число сотрудников, которые демонстрируют новую модель поведения: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5015015" y="1974530"/>
            <a:ext cx="4021605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ea typeface="Verdana" panose="020B0604030504040204" pitchFamily="34" charset="0"/>
              </a:rPr>
              <a:t>количество процессов, на которых применяются инструменты бережливого производства</a:t>
            </a:r>
            <a:br>
              <a:rPr lang="ru-RU" sz="1200" dirty="0">
                <a:latin typeface="+mj-lt"/>
                <a:ea typeface="Verdana" panose="020B0604030504040204" pitchFamily="34" charset="0"/>
              </a:rPr>
            </a:br>
            <a:endParaRPr lang="ru-RU" sz="1200" dirty="0">
              <a:latin typeface="+mj-lt"/>
              <a:ea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ea typeface="Verdana" panose="020B0604030504040204" pitchFamily="34" charset="0"/>
              </a:rPr>
              <a:t>экономический эффект от предложений по улучшениям от сотрудников</a:t>
            </a:r>
            <a:br>
              <a:rPr lang="ru-RU" sz="1200" dirty="0">
                <a:latin typeface="+mj-lt"/>
                <a:ea typeface="Verdana" panose="020B0604030504040204" pitchFamily="34" charset="0"/>
              </a:rPr>
            </a:br>
            <a:endParaRPr lang="ru-RU" sz="1200" dirty="0">
              <a:latin typeface="+mj-lt"/>
              <a:ea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ea typeface="Verdana" panose="020B0604030504040204" pitchFamily="34" charset="0"/>
              </a:rPr>
              <a:t>производительность ключевых процессов, </a:t>
            </a:r>
            <a:br>
              <a:rPr lang="ru-RU" sz="1200" dirty="0">
                <a:latin typeface="+mj-lt"/>
                <a:ea typeface="Verdana" panose="020B0604030504040204" pitchFamily="34" charset="0"/>
              </a:rPr>
            </a:br>
            <a:r>
              <a:rPr lang="ru-RU" sz="1200" dirty="0">
                <a:latin typeface="+mj-lt"/>
                <a:ea typeface="Verdana" panose="020B0604030504040204" pitchFamily="34" charset="0"/>
              </a:rPr>
              <a:t>влияющих на бизнес-результаты предприятия</a:t>
            </a:r>
          </a:p>
        </p:txBody>
      </p:sp>
      <p:grpSp>
        <p:nvGrpSpPr>
          <p:cNvPr id="16384" name="Группа 16383"/>
          <p:cNvGrpSpPr/>
          <p:nvPr/>
        </p:nvGrpSpPr>
        <p:grpSpPr>
          <a:xfrm>
            <a:off x="2605739" y="987530"/>
            <a:ext cx="1390181" cy="718402"/>
            <a:chOff x="2775480" y="1064098"/>
            <a:chExt cx="805125" cy="424445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2843760" y="1415076"/>
              <a:ext cx="216030" cy="73467"/>
            </a:xfrm>
            <a:prstGeom prst="rect">
              <a:avLst/>
            </a:prstGeom>
            <a:solidFill>
              <a:srgbClr val="CA3568"/>
            </a:solidFill>
            <a:ln>
              <a:solidFill>
                <a:srgbClr val="CA35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+mj-lt"/>
              </a:endParaRPr>
            </a:p>
          </p:txBody>
        </p:sp>
        <p:sp>
          <p:nvSpPr>
            <p:cNvPr id="39" name="Прямоугольник 38"/>
            <p:cNvSpPr/>
            <p:nvPr/>
          </p:nvSpPr>
          <p:spPr>
            <a:xfrm>
              <a:off x="3059790" y="1336143"/>
              <a:ext cx="216030" cy="152400"/>
            </a:xfrm>
            <a:prstGeom prst="rect">
              <a:avLst/>
            </a:prstGeom>
            <a:solidFill>
              <a:srgbClr val="0073CF"/>
            </a:solidFill>
            <a:ln>
              <a:solidFill>
                <a:srgbClr val="0073C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+mj-lt"/>
              </a:endParaRP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3275820" y="1220477"/>
              <a:ext cx="216030" cy="268066"/>
            </a:xfrm>
            <a:prstGeom prst="rect">
              <a:avLst/>
            </a:prstGeom>
            <a:solidFill>
              <a:srgbClr val="92D05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+mj-lt"/>
              </a:endParaRP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2775480" y="1259199"/>
              <a:ext cx="365599" cy="14547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Verdana" panose="020B0604030504040204" pitchFamily="34" charset="0"/>
                </a:rPr>
                <a:t>15%</a:t>
              </a:r>
              <a:endParaRPr lang="ru-RU" sz="1000" b="1" dirty="0">
                <a:latin typeface="+mj-lt"/>
              </a:endParaRPr>
            </a:p>
          </p:txBody>
        </p:sp>
        <p:sp>
          <p:nvSpPr>
            <p:cNvPr id="42" name="Прямоугольник 41"/>
            <p:cNvSpPr/>
            <p:nvPr/>
          </p:nvSpPr>
          <p:spPr>
            <a:xfrm>
              <a:off x="2978844" y="1178779"/>
              <a:ext cx="372326" cy="14547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Verdana" panose="020B0604030504040204" pitchFamily="34" charset="0"/>
                </a:rPr>
                <a:t>30%</a:t>
              </a:r>
              <a:endParaRPr lang="ru-RU" sz="1000" b="1" dirty="0">
                <a:latin typeface="+mj-lt"/>
              </a:endParaRP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3208279" y="1064098"/>
              <a:ext cx="372326" cy="14547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Verdana" panose="020B0604030504040204" pitchFamily="34" charset="0"/>
                </a:rPr>
                <a:t>50%</a:t>
              </a:r>
              <a:endParaRPr lang="ru-RU" sz="1000" b="1" dirty="0">
                <a:latin typeface="+mj-lt"/>
              </a:endParaRPr>
            </a:p>
          </p:txBody>
        </p:sp>
      </p:grpSp>
      <p:grpSp>
        <p:nvGrpSpPr>
          <p:cNvPr id="52" name="Группа 51"/>
          <p:cNvGrpSpPr/>
          <p:nvPr/>
        </p:nvGrpSpPr>
        <p:grpSpPr>
          <a:xfrm>
            <a:off x="7668430" y="987530"/>
            <a:ext cx="1390181" cy="718402"/>
            <a:chOff x="2775480" y="1064098"/>
            <a:chExt cx="805125" cy="424445"/>
          </a:xfrm>
        </p:grpSpPr>
        <p:sp>
          <p:nvSpPr>
            <p:cNvPr id="53" name="Прямоугольник 52"/>
            <p:cNvSpPr/>
            <p:nvPr/>
          </p:nvSpPr>
          <p:spPr>
            <a:xfrm>
              <a:off x="2843760" y="1415076"/>
              <a:ext cx="216030" cy="73467"/>
            </a:xfrm>
            <a:prstGeom prst="rect">
              <a:avLst/>
            </a:prstGeom>
            <a:solidFill>
              <a:srgbClr val="CA3568"/>
            </a:solidFill>
            <a:ln>
              <a:solidFill>
                <a:srgbClr val="CA35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+mj-lt"/>
              </a:endParaRPr>
            </a:p>
          </p:txBody>
        </p:sp>
        <p:sp>
          <p:nvSpPr>
            <p:cNvPr id="54" name="Прямоугольник 53"/>
            <p:cNvSpPr/>
            <p:nvPr/>
          </p:nvSpPr>
          <p:spPr>
            <a:xfrm>
              <a:off x="3059790" y="1336143"/>
              <a:ext cx="216030" cy="152400"/>
            </a:xfrm>
            <a:prstGeom prst="rect">
              <a:avLst/>
            </a:prstGeom>
            <a:solidFill>
              <a:srgbClr val="0073CF"/>
            </a:solidFill>
            <a:ln>
              <a:solidFill>
                <a:srgbClr val="0073C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+mj-lt"/>
              </a:endParaRPr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3275820" y="1220477"/>
              <a:ext cx="216030" cy="268066"/>
            </a:xfrm>
            <a:prstGeom prst="rect">
              <a:avLst/>
            </a:prstGeom>
            <a:solidFill>
              <a:srgbClr val="92D05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+mj-lt"/>
              </a:endParaRPr>
            </a:p>
          </p:txBody>
        </p:sp>
        <p:sp>
          <p:nvSpPr>
            <p:cNvPr id="56" name="Прямоугольник 55"/>
            <p:cNvSpPr/>
            <p:nvPr/>
          </p:nvSpPr>
          <p:spPr>
            <a:xfrm>
              <a:off x="2775480" y="1259199"/>
              <a:ext cx="365599" cy="14547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Verdana" panose="020B0604030504040204" pitchFamily="34" charset="0"/>
                </a:rPr>
                <a:t>10%</a:t>
              </a:r>
              <a:endParaRPr lang="ru-RU" sz="1000" b="1" dirty="0">
                <a:latin typeface="+mj-lt"/>
              </a:endParaRP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2978844" y="1178779"/>
              <a:ext cx="372326" cy="14547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Verdana" panose="020B0604030504040204" pitchFamily="34" charset="0"/>
                </a:rPr>
                <a:t>15%</a:t>
              </a:r>
              <a:endParaRPr lang="ru-RU" sz="1000" b="1" dirty="0">
                <a:latin typeface="+mj-lt"/>
              </a:endParaRPr>
            </a:p>
          </p:txBody>
        </p:sp>
        <p:sp>
          <p:nvSpPr>
            <p:cNvPr id="58" name="Прямоугольник 57"/>
            <p:cNvSpPr/>
            <p:nvPr/>
          </p:nvSpPr>
          <p:spPr>
            <a:xfrm>
              <a:off x="3208279" y="1064098"/>
              <a:ext cx="372326" cy="14547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Verdana" panose="020B0604030504040204" pitchFamily="34" charset="0"/>
                </a:rPr>
                <a:t>30%</a:t>
              </a:r>
              <a:endParaRPr lang="ru-RU" sz="1000" b="1" dirty="0">
                <a:latin typeface="+mj-lt"/>
              </a:endParaRPr>
            </a:p>
          </p:txBody>
        </p:sp>
      </p:grpSp>
      <p:pic>
        <p:nvPicPr>
          <p:cNvPr id="62" name="Picture 2" descr="C:\Users\User\Desktop\преза Агишев\стрелка2.png"/>
          <p:cNvPicPr>
            <a:picLocks noChangeAspect="1" noChangeArrowheads="1"/>
          </p:cNvPicPr>
          <p:nvPr/>
        </p:nvPicPr>
        <p:blipFill>
          <a:blip r:embed="rId4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4015517" y="2145022"/>
            <a:ext cx="765644" cy="78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64742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9" name="Picture 3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36" t="10294" b="5273"/>
          <a:stretch/>
        </p:blipFill>
        <p:spPr bwMode="auto">
          <a:xfrm>
            <a:off x="199974" y="525868"/>
            <a:ext cx="8863342" cy="4301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9974" y="114301"/>
            <a:ext cx="8335961" cy="432197"/>
          </a:xfrm>
        </p:spPr>
        <p:txBody>
          <a:bodyPr/>
          <a:lstStyle/>
          <a:p>
            <a:r>
              <a:rPr lang="ru-RU" sz="2000" b="1" dirty="0"/>
              <a:t>Структура Национального проекта «Производительность труда и поддержка занятости»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299895933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Заголовок 1"/>
          <p:cNvSpPr txBox="1">
            <a:spLocks/>
          </p:cNvSpPr>
          <p:nvPr/>
        </p:nvSpPr>
        <p:spPr bwMode="auto">
          <a:xfrm>
            <a:off x="281940" y="114304"/>
            <a:ext cx="7698279" cy="69909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kern="120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defTabSz="914400"/>
            <a:r>
              <a:rPr lang="ru-RU" sz="1800" dirty="0">
                <a:solidFill>
                  <a:srgbClr val="0070C0"/>
                </a:solidFill>
              </a:rPr>
              <a:t>Пилотный поток: Обслуживание пассажиров а/к "Победа" от входа в терминал до готовности к взлету борта.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4675" y="132993"/>
            <a:ext cx="933739" cy="4945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385240" y="1283430"/>
          <a:ext cx="8515784" cy="106865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2743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2477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71664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6530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+mn-lt"/>
                          <a:cs typeface="Arial" pitchFamily="34" charset="0"/>
                        </a:rPr>
                        <a:t>Наименование пилотного продукта (потока)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70" marR="7170" marT="5378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+mn-lt"/>
                          <a:cs typeface="Arial" pitchFamily="34" charset="0"/>
                        </a:rPr>
                        <a:t>Доля в выручке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70" marR="7170" marT="5378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+mn-lt"/>
                          <a:cs typeface="Arial" pitchFamily="34" charset="0"/>
                        </a:rPr>
                        <a:t>Основные направления по оптимизации потока </a:t>
                      </a:r>
                      <a:br>
                        <a:rPr lang="ru-RU" sz="1000" b="1" u="none" strike="noStrike" dirty="0">
                          <a:effectLst/>
                          <a:latin typeface="+mn-lt"/>
                          <a:cs typeface="Arial" pitchFamily="34" charset="0"/>
                        </a:rPr>
                      </a:b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70" marR="7170" marT="5378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33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+mn-lt"/>
                          <a:cs typeface="Arial" pitchFamily="34" charset="0"/>
                        </a:rPr>
                        <a:t>Обслуживание пассажиров а/к "Победа" от входа в терминал до готовности к взлету борт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70" marR="7170" marT="5378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+mn-lt"/>
                          <a:cs typeface="Arial" pitchFamily="34" charset="0"/>
                        </a:rPr>
                        <a:t>5.6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70" marR="7170" marT="5378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u="none" strike="noStrike" dirty="0">
                          <a:effectLst/>
                          <a:latin typeface="+mn-lt"/>
                          <a:cs typeface="Arial" pitchFamily="34" charset="0"/>
                        </a:rPr>
                        <a:t>Сокращение времени протекания процесса, снижение трудоемкости обслуживания В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70" marR="7170" marT="5378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1" name="Прямоугольник 20"/>
          <p:cNvSpPr/>
          <p:nvPr/>
        </p:nvSpPr>
        <p:spPr>
          <a:xfrm>
            <a:off x="696194" y="836224"/>
            <a:ext cx="204254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>
                <a:latin typeface="+mn-lt"/>
              </a:rPr>
              <a:t>Общая информация:</a:t>
            </a:r>
          </a:p>
        </p:txBody>
      </p:sp>
      <p:pic>
        <p:nvPicPr>
          <p:cNvPr id="3078" name="Picture 6" descr="C:\Users\khaidarov\Documents\ПРОЕКТЫ!!!!!!!!\ФКЦ Производительность труда\Фото для презентации\WhatsApp Image 2019-10-23 at 8.42.44 AM(2).jpe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322" y="2510999"/>
            <a:ext cx="3914615" cy="2201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9" name="Picture 7" descr="C:\Users\khaidarov\Documents\ПРОЕКТЫ!!!!!!!!\ФКЦ Производительность труда\Фото для презентации\WhatsApp Image 2019-10-09 at 11.33.43 AM.jpe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47" t="9772" b="26299"/>
          <a:stretch/>
        </p:blipFill>
        <p:spPr bwMode="auto">
          <a:xfrm>
            <a:off x="4387649" y="2510999"/>
            <a:ext cx="4513375" cy="2201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097449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3845" y="83339"/>
            <a:ext cx="8596310" cy="432197"/>
          </a:xfrm>
        </p:spPr>
        <p:txBody>
          <a:bodyPr/>
          <a:lstStyle/>
          <a:p>
            <a:pPr algn="ctr"/>
            <a:r>
              <a:rPr lang="ru-RU" sz="1600" dirty="0"/>
              <a:t>Карта потока создания ценности обслуживания пассажиров и ВС на перроне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33376" y="3144438"/>
            <a:ext cx="8513444" cy="1785094"/>
          </a:xfrm>
          <a:prstGeom prst="rect">
            <a:avLst/>
          </a:prstGeom>
          <a:noFill/>
        </p:spPr>
        <p:txBody>
          <a:bodyPr wrap="square" lIns="91429" tIns="45715" rIns="91429" bIns="45715" rtlCol="0">
            <a:spAutoFit/>
          </a:bodyPr>
          <a:lstStyle/>
          <a:p>
            <a:pPr marL="228573" indent="-228573">
              <a:buFont typeface="+mj-lt"/>
              <a:buAutoNum type="arabicPeriod"/>
            </a:pPr>
            <a:r>
              <a:rPr lang="ru-RU" sz="1100" dirty="0"/>
              <a:t>Недостаточное место для проверенного багажа, что приводит к заторам на интроскопе.</a:t>
            </a:r>
          </a:p>
          <a:p>
            <a:pPr marL="228573" indent="-228573">
              <a:buFont typeface="+mj-lt"/>
              <a:buAutoNum type="arabicPeriod"/>
            </a:pPr>
            <a:r>
              <a:rPr lang="ru-RU" sz="1100" dirty="0"/>
              <a:t>Большие очереди при регистрации на рейсы</a:t>
            </a:r>
          </a:p>
          <a:p>
            <a:pPr marL="228573" indent="-228573">
              <a:buFont typeface="+mj-lt"/>
              <a:buAutoNum type="arabicPeriod"/>
            </a:pPr>
            <a:r>
              <a:rPr lang="ru-RU" sz="1100" dirty="0"/>
              <a:t>Длительное время реакции диспетчера терминального обслуживания до открытия дополнительной стойки регистрации.</a:t>
            </a:r>
          </a:p>
          <a:p>
            <a:pPr marL="228573" indent="-228573">
              <a:buFont typeface="+mj-lt"/>
              <a:buAutoNum type="arabicPeriod"/>
            </a:pPr>
            <a:r>
              <a:rPr lang="ru-RU" sz="1100" dirty="0"/>
              <a:t>Увеличение времени обслуживания пассажиров при возникновении нестандартных ситуаций.</a:t>
            </a:r>
          </a:p>
          <a:p>
            <a:pPr marL="228573" indent="-228573">
              <a:buFont typeface="+mj-lt"/>
              <a:buAutoNum type="arabicPeriod"/>
            </a:pPr>
            <a:r>
              <a:rPr lang="ru-RU" sz="1100" dirty="0"/>
              <a:t>Неравномерный такт регистрации одного пассажира (более 2х минут).</a:t>
            </a:r>
          </a:p>
          <a:p>
            <a:pPr marL="228573" indent="-228573">
              <a:buFont typeface="+mj-lt"/>
              <a:buAutoNum type="arabicPeriod"/>
            </a:pPr>
            <a:r>
              <a:rPr lang="ru-RU" sz="1100" dirty="0"/>
              <a:t>Длительный процесс установки и уборки конусов и колодок (2,5 минуты).</a:t>
            </a:r>
          </a:p>
          <a:p>
            <a:pPr marL="228573" indent="-228573">
              <a:buFont typeface="+mj-lt"/>
              <a:buAutoNum type="arabicPeriod"/>
            </a:pPr>
            <a:r>
              <a:rPr lang="ru-RU" sz="1100" dirty="0"/>
              <a:t>Длительный процесс загрузки багажа (10 минут).</a:t>
            </a:r>
          </a:p>
          <a:p>
            <a:pPr marL="228573" indent="-228573">
              <a:buFont typeface="+mj-lt"/>
              <a:buAutoNum type="arabicPeriod"/>
            </a:pPr>
            <a:r>
              <a:rPr lang="ru-RU" sz="1100" dirty="0"/>
              <a:t>Длительный процесс уборки и досмотра ВС.</a:t>
            </a:r>
          </a:p>
          <a:p>
            <a:pPr marL="228573" indent="-228573">
              <a:buFont typeface="+mj-lt"/>
              <a:buAutoNum type="arabicPeriod"/>
            </a:pPr>
            <a:r>
              <a:rPr lang="ru-RU" sz="1100" dirty="0"/>
              <a:t>Длительный процесс комплектования багажа.</a:t>
            </a:r>
          </a:p>
          <a:p>
            <a:pPr marL="228573" indent="-228573">
              <a:buFont typeface="+mj-lt"/>
              <a:buAutoNum type="arabicPeriod"/>
            </a:pPr>
            <a:r>
              <a:rPr lang="ru-RU" sz="1100" dirty="0"/>
              <a:t>Длительный процесс посадки пассажиров.</a:t>
            </a:r>
          </a:p>
        </p:txBody>
      </p:sp>
      <p:pic>
        <p:nvPicPr>
          <p:cNvPr id="4144" name="Picture 48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29"/>
          <a:stretch/>
        </p:blipFill>
        <p:spPr bwMode="auto">
          <a:xfrm>
            <a:off x="1119188" y="515536"/>
            <a:ext cx="6905624" cy="2628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0116558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2844" y="95960"/>
            <a:ext cx="8515186" cy="390161"/>
          </a:xfrm>
          <a:noFill/>
          <a:ln>
            <a:noFill/>
          </a:ln>
        </p:spPr>
        <p:txBody>
          <a:bodyPr/>
          <a:lstStyle/>
          <a:p>
            <a:pPr lvl="1"/>
            <a:r>
              <a:rPr lang="ru-RU" sz="1800" dirty="0">
                <a:solidFill>
                  <a:schemeClr val="tx2"/>
                </a:solidFill>
              </a:rPr>
              <a:t>1. Зона досмотра Т1А (вход)</a:t>
            </a:r>
          </a:p>
        </p:txBody>
      </p:sp>
      <p:cxnSp>
        <p:nvCxnSpPr>
          <p:cNvPr id="4" name="Straight Connector 38"/>
          <p:cNvCxnSpPr/>
          <p:nvPr/>
        </p:nvCxnSpPr>
        <p:spPr>
          <a:xfrm flipV="1">
            <a:off x="165666" y="823072"/>
            <a:ext cx="1958409" cy="1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3318779" y="500081"/>
            <a:ext cx="1630679" cy="233619"/>
          </a:xfrm>
          <a:prstGeom prst="rect">
            <a:avLst/>
          </a:prstGeom>
          <a:noFill/>
        </p:spPr>
        <p:txBody>
          <a:bodyPr wrap="square" lIns="0" tIns="0" rIns="0" bIns="18000" rtlCol="0">
            <a:spAutoFit/>
          </a:bodyPr>
          <a:lstStyle>
            <a:defPPr>
              <a:defRPr lang="ru-RU"/>
            </a:defPPr>
            <a:lvl1pPr>
              <a:defRPr sz="20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400" dirty="0">
                <a:solidFill>
                  <a:srgbClr val="FFC000"/>
                </a:solidFill>
                <a:latin typeface="+mn-lt"/>
              </a:rPr>
              <a:t>Решение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88487" y="490210"/>
            <a:ext cx="1630679" cy="233619"/>
          </a:xfrm>
          <a:prstGeom prst="rect">
            <a:avLst/>
          </a:prstGeom>
          <a:noFill/>
        </p:spPr>
        <p:txBody>
          <a:bodyPr wrap="square" lIns="0" tIns="0" rIns="0" bIns="18000" rtlCol="0">
            <a:spAutoFit/>
          </a:bodyPr>
          <a:lstStyle>
            <a:defPPr>
              <a:defRPr lang="ru-RU"/>
            </a:defPPr>
            <a:lvl1pPr>
              <a:defRPr sz="20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400" dirty="0">
                <a:solidFill>
                  <a:srgbClr val="CA3568"/>
                </a:solidFill>
                <a:latin typeface="+mn-lt"/>
              </a:rPr>
              <a:t>Проблема</a:t>
            </a:r>
          </a:p>
        </p:txBody>
      </p:sp>
      <p:cxnSp>
        <p:nvCxnSpPr>
          <p:cNvPr id="9" name="Straight Connector 38"/>
          <p:cNvCxnSpPr/>
          <p:nvPr/>
        </p:nvCxnSpPr>
        <p:spPr>
          <a:xfrm flipV="1">
            <a:off x="3318779" y="810559"/>
            <a:ext cx="1750922" cy="10402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/>
        </p:nvSpPr>
        <p:spPr>
          <a:xfrm>
            <a:off x="209992" y="2900810"/>
            <a:ext cx="256423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200" dirty="0">
                <a:latin typeface="+mn-lt"/>
                <a:cs typeface="Arial" panose="020B0604020202020204" pitchFamily="34" charset="0"/>
              </a:rPr>
              <a:t>Недостаточно места для проверенного багажа, что приводит к заторам на интроскопе. 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3397177" y="2884700"/>
            <a:ext cx="241723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200" dirty="0">
                <a:latin typeface="+mn-lt"/>
                <a:cs typeface="Arial" panose="020B0604020202020204" pitchFamily="34" charset="0"/>
              </a:rPr>
              <a:t>Увеличение длины выходного рольганга на 1 м и перемещение стола для ручного досмотра вдоль направления движения багажа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192026" y="1194989"/>
            <a:ext cx="2712324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latin typeface="+mn-lt"/>
                <a:cs typeface="Arial" pitchFamily="34" charset="0"/>
              </a:rPr>
              <a:t>Снижение времени досмотра 1 пассажира с 10 сек до 7 и, как следствие, увеличение пропускной способности</a:t>
            </a:r>
          </a:p>
        </p:txBody>
      </p:sp>
      <p:pic>
        <p:nvPicPr>
          <p:cNvPr id="8194" name="Picture 2" descr="C:\Users\khaidarov\Documents\ПРОЕКТЫ!!!!!!!!\ФКЦ Производительность труда\Фото для презентации\саб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992" y="1013370"/>
            <a:ext cx="2649897" cy="16383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5" name="Picture 3" descr="C:\Users\khaidarov\Documents\ПРОЕКТЫ!!!!!!!!\ФКЦ Производительность труда\Фото для презентации\аыав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50" b="13668"/>
          <a:stretch/>
        </p:blipFill>
        <p:spPr bwMode="auto">
          <a:xfrm>
            <a:off x="3454903" y="1013370"/>
            <a:ext cx="2108473" cy="1506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9708" y="114409"/>
            <a:ext cx="1096963" cy="58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Стрелка вправо 21"/>
          <p:cNvSpPr/>
          <p:nvPr/>
        </p:nvSpPr>
        <p:spPr>
          <a:xfrm rot="3158233">
            <a:off x="4792425" y="1582338"/>
            <a:ext cx="396476" cy="394854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Умножение 18"/>
          <p:cNvSpPr/>
          <p:nvPr/>
        </p:nvSpPr>
        <p:spPr>
          <a:xfrm>
            <a:off x="345873" y="1838069"/>
            <a:ext cx="900300" cy="552027"/>
          </a:xfrm>
          <a:prstGeom prst="mathMultiply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8" name="Прямая со стрелкой 7"/>
          <p:cNvCxnSpPr/>
          <p:nvPr/>
        </p:nvCxnSpPr>
        <p:spPr>
          <a:xfrm flipH="1">
            <a:off x="3950610" y="1691224"/>
            <a:ext cx="655184" cy="506557"/>
          </a:xfrm>
          <a:prstGeom prst="straightConnector1">
            <a:avLst/>
          </a:prstGeom>
          <a:ln w="38100">
            <a:solidFill>
              <a:srgbClr val="FF0000"/>
            </a:solidFill>
            <a:headEnd type="arrow"/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0" name="Нашивка 26">
            <a:extLst>
              <a:ext uri="{FF2B5EF4-FFF2-40B4-BE49-F238E27FC236}">
                <a16:creationId xmlns:a16="http://schemas.microsoft.com/office/drawing/2014/main" id="{B2011075-00FB-BB46-8FF3-DA27B8A263E4}"/>
              </a:ext>
            </a:extLst>
          </p:cNvPr>
          <p:cNvSpPr/>
          <p:nvPr/>
        </p:nvSpPr>
        <p:spPr>
          <a:xfrm>
            <a:off x="3059826" y="786391"/>
            <a:ext cx="172635" cy="3661613"/>
          </a:xfrm>
          <a:prstGeom prst="chevron">
            <a:avLst>
              <a:gd name="adj" fmla="val 100000"/>
            </a:avLst>
          </a:prstGeom>
          <a:ln w="6350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n>
                <a:solidFill>
                  <a:srgbClr val="00206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24" name="Нашивка 26">
            <a:extLst>
              <a:ext uri="{FF2B5EF4-FFF2-40B4-BE49-F238E27FC236}">
                <a16:creationId xmlns:a16="http://schemas.microsoft.com/office/drawing/2014/main" id="{B2011075-00FB-BB46-8FF3-DA27B8A263E4}"/>
              </a:ext>
            </a:extLst>
          </p:cNvPr>
          <p:cNvSpPr/>
          <p:nvPr/>
        </p:nvSpPr>
        <p:spPr>
          <a:xfrm>
            <a:off x="5814410" y="810559"/>
            <a:ext cx="172635" cy="3661613"/>
          </a:xfrm>
          <a:prstGeom prst="chevron">
            <a:avLst>
              <a:gd name="adj" fmla="val 100000"/>
            </a:avLst>
          </a:prstGeom>
          <a:ln w="6350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n>
                <a:solidFill>
                  <a:srgbClr val="00206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6413811" y="461815"/>
            <a:ext cx="1630679" cy="233619"/>
          </a:xfrm>
          <a:prstGeom prst="rect">
            <a:avLst/>
          </a:prstGeom>
          <a:noFill/>
        </p:spPr>
        <p:txBody>
          <a:bodyPr wrap="square" lIns="0" tIns="0" rIns="0" bIns="18000" rtlCol="0">
            <a:spAutoFit/>
          </a:bodyPr>
          <a:lstStyle>
            <a:defPPr>
              <a:defRPr lang="ru-RU"/>
            </a:defPPr>
            <a:lvl1pPr>
              <a:defRPr sz="20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400" dirty="0">
                <a:solidFill>
                  <a:srgbClr val="00B050"/>
                </a:solidFill>
                <a:latin typeface="+mn-lt"/>
              </a:rPr>
              <a:t>Результат</a:t>
            </a:r>
          </a:p>
        </p:txBody>
      </p:sp>
      <p:cxnSp>
        <p:nvCxnSpPr>
          <p:cNvPr id="26" name="Straight Connector 38"/>
          <p:cNvCxnSpPr/>
          <p:nvPr/>
        </p:nvCxnSpPr>
        <p:spPr>
          <a:xfrm flipV="1">
            <a:off x="6327493" y="781190"/>
            <a:ext cx="1750922" cy="10402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7" name="Диаграмма 2"/>
          <p:cNvGraphicFramePr/>
          <p:nvPr/>
        </p:nvGraphicFramePr>
        <p:xfrm>
          <a:off x="6129723" y="2598138"/>
          <a:ext cx="2774627" cy="18113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1605545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2844" y="95960"/>
            <a:ext cx="8515186" cy="390161"/>
          </a:xfrm>
          <a:noFill/>
          <a:ln>
            <a:noFill/>
          </a:ln>
        </p:spPr>
        <p:txBody>
          <a:bodyPr/>
          <a:lstStyle/>
          <a:p>
            <a:pPr lvl="1"/>
            <a:r>
              <a:rPr lang="ru-RU" sz="1800" dirty="0">
                <a:solidFill>
                  <a:schemeClr val="tx2"/>
                </a:solidFill>
              </a:rPr>
              <a:t>2. Зона досмотра Т1А (вход)</a:t>
            </a:r>
          </a:p>
        </p:txBody>
      </p:sp>
      <p:cxnSp>
        <p:nvCxnSpPr>
          <p:cNvPr id="4" name="Straight Connector 38"/>
          <p:cNvCxnSpPr/>
          <p:nvPr/>
        </p:nvCxnSpPr>
        <p:spPr>
          <a:xfrm flipV="1">
            <a:off x="165666" y="823072"/>
            <a:ext cx="1958409" cy="1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3318779" y="500081"/>
            <a:ext cx="1630679" cy="233619"/>
          </a:xfrm>
          <a:prstGeom prst="rect">
            <a:avLst/>
          </a:prstGeom>
          <a:noFill/>
        </p:spPr>
        <p:txBody>
          <a:bodyPr wrap="square" lIns="0" tIns="0" rIns="0" bIns="18000" rtlCol="0">
            <a:spAutoFit/>
          </a:bodyPr>
          <a:lstStyle>
            <a:defPPr>
              <a:defRPr lang="ru-RU"/>
            </a:defPPr>
            <a:lvl1pPr>
              <a:defRPr sz="20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400" dirty="0">
                <a:solidFill>
                  <a:srgbClr val="FFC000"/>
                </a:solidFill>
                <a:latin typeface="+mn-lt"/>
              </a:rPr>
              <a:t>Решение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88487" y="490210"/>
            <a:ext cx="1630679" cy="233619"/>
          </a:xfrm>
          <a:prstGeom prst="rect">
            <a:avLst/>
          </a:prstGeom>
          <a:noFill/>
        </p:spPr>
        <p:txBody>
          <a:bodyPr wrap="square" lIns="0" tIns="0" rIns="0" bIns="18000" rtlCol="0">
            <a:spAutoFit/>
          </a:bodyPr>
          <a:lstStyle>
            <a:defPPr>
              <a:defRPr lang="ru-RU"/>
            </a:defPPr>
            <a:lvl1pPr>
              <a:defRPr sz="20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400" dirty="0">
                <a:solidFill>
                  <a:srgbClr val="CA3568"/>
                </a:solidFill>
                <a:latin typeface="+mn-lt"/>
              </a:rPr>
              <a:t>Проблема</a:t>
            </a:r>
          </a:p>
        </p:txBody>
      </p:sp>
      <p:cxnSp>
        <p:nvCxnSpPr>
          <p:cNvPr id="9" name="Straight Connector 38"/>
          <p:cNvCxnSpPr/>
          <p:nvPr/>
        </p:nvCxnSpPr>
        <p:spPr>
          <a:xfrm flipV="1">
            <a:off x="3318779" y="810559"/>
            <a:ext cx="1750922" cy="10402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9708" y="114409"/>
            <a:ext cx="1096963" cy="58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Нашивка 26">
            <a:extLst>
              <a:ext uri="{FF2B5EF4-FFF2-40B4-BE49-F238E27FC236}">
                <a16:creationId xmlns:a16="http://schemas.microsoft.com/office/drawing/2014/main" id="{B2011075-00FB-BB46-8FF3-DA27B8A263E4}"/>
              </a:ext>
            </a:extLst>
          </p:cNvPr>
          <p:cNvSpPr/>
          <p:nvPr/>
        </p:nvSpPr>
        <p:spPr>
          <a:xfrm>
            <a:off x="3005569" y="791592"/>
            <a:ext cx="172635" cy="3661613"/>
          </a:xfrm>
          <a:prstGeom prst="chevron">
            <a:avLst>
              <a:gd name="adj" fmla="val 100000"/>
            </a:avLst>
          </a:prstGeom>
          <a:ln w="6350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n>
                <a:solidFill>
                  <a:srgbClr val="00206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24" name="Нашивка 26">
            <a:extLst>
              <a:ext uri="{FF2B5EF4-FFF2-40B4-BE49-F238E27FC236}">
                <a16:creationId xmlns:a16="http://schemas.microsoft.com/office/drawing/2014/main" id="{B2011075-00FB-BB46-8FF3-DA27B8A263E4}"/>
              </a:ext>
            </a:extLst>
          </p:cNvPr>
          <p:cNvSpPr/>
          <p:nvPr/>
        </p:nvSpPr>
        <p:spPr>
          <a:xfrm>
            <a:off x="5814410" y="810559"/>
            <a:ext cx="172635" cy="3661613"/>
          </a:xfrm>
          <a:prstGeom prst="chevron">
            <a:avLst>
              <a:gd name="adj" fmla="val 100000"/>
            </a:avLst>
          </a:prstGeom>
          <a:ln w="6350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n>
                <a:solidFill>
                  <a:srgbClr val="00206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6413811" y="461815"/>
            <a:ext cx="1630679" cy="233619"/>
          </a:xfrm>
          <a:prstGeom prst="rect">
            <a:avLst/>
          </a:prstGeom>
          <a:noFill/>
        </p:spPr>
        <p:txBody>
          <a:bodyPr wrap="square" lIns="0" tIns="0" rIns="0" bIns="18000" rtlCol="0">
            <a:spAutoFit/>
          </a:bodyPr>
          <a:lstStyle>
            <a:defPPr>
              <a:defRPr lang="ru-RU"/>
            </a:defPPr>
            <a:lvl1pPr>
              <a:defRPr sz="20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400" dirty="0">
                <a:solidFill>
                  <a:srgbClr val="00B050"/>
                </a:solidFill>
                <a:latin typeface="+mn-lt"/>
              </a:rPr>
              <a:t>Результат</a:t>
            </a:r>
          </a:p>
        </p:txBody>
      </p:sp>
      <p:cxnSp>
        <p:nvCxnSpPr>
          <p:cNvPr id="26" name="Straight Connector 38"/>
          <p:cNvCxnSpPr/>
          <p:nvPr/>
        </p:nvCxnSpPr>
        <p:spPr>
          <a:xfrm flipV="1">
            <a:off x="6327493" y="781190"/>
            <a:ext cx="1750922" cy="10402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7" name="Диаграмма 2"/>
          <p:cNvGraphicFramePr/>
          <p:nvPr/>
        </p:nvGraphicFramePr>
        <p:xfrm>
          <a:off x="6129723" y="2598138"/>
          <a:ext cx="2774627" cy="18113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154702" y="3091901"/>
            <a:ext cx="290512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latin typeface="+mj-lt"/>
              </a:rPr>
              <a:t>Неэффективная эргономика рабочего пространства инспектора по досмотру САБ :монитор на интроскопе, работник сидел на барном стуле.</a:t>
            </a:r>
          </a:p>
        </p:txBody>
      </p:sp>
      <p:pic>
        <p:nvPicPr>
          <p:cNvPr id="23" name="Picture 3" descr="C:\Users\khaidarov\Documents\ПРОЕКТЫ!!!!!!!!\ФКЦ Производительность труда\Фото для презентации\1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702" y="1020857"/>
            <a:ext cx="2330028" cy="1747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" descr="C:\Users\khaidarov\Documents\ПРОЕКТЫ!!!!!!!!\ФКЦ Производительность труда\Фото для презентации\пои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8779" y="1020857"/>
            <a:ext cx="2330028" cy="1747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Прямоугольник 28"/>
          <p:cNvSpPr/>
          <p:nvPr/>
        </p:nvSpPr>
        <p:spPr>
          <a:xfrm>
            <a:off x="3269707" y="3091901"/>
            <a:ext cx="271733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dirty="0">
                <a:latin typeface="+mj-lt"/>
                <a:cs typeface="Arial" pitchFamily="34" charset="0"/>
              </a:rPr>
              <a:t>Перемещение рамки досмотра за счет разворота стола для хранения ящиков и установка  стола со стулом для расположения на нем ЭВМ и пульта управления лентой</a:t>
            </a:r>
          </a:p>
        </p:txBody>
      </p:sp>
      <p:sp>
        <p:nvSpPr>
          <p:cNvPr id="30" name="Стрелка вправо 29"/>
          <p:cNvSpPr/>
          <p:nvPr/>
        </p:nvSpPr>
        <p:spPr>
          <a:xfrm rot="17713653">
            <a:off x="4207708" y="2092471"/>
            <a:ext cx="264317" cy="197427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Умножение 30"/>
          <p:cNvSpPr/>
          <p:nvPr/>
        </p:nvSpPr>
        <p:spPr>
          <a:xfrm>
            <a:off x="1623516" y="2012753"/>
            <a:ext cx="415637" cy="317665"/>
          </a:xfrm>
          <a:prstGeom prst="mathMultiply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Стрелка вправо 31"/>
          <p:cNvSpPr/>
          <p:nvPr/>
        </p:nvSpPr>
        <p:spPr>
          <a:xfrm>
            <a:off x="1430205" y="1424161"/>
            <a:ext cx="264317" cy="146606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Стрелка вправо 32"/>
          <p:cNvSpPr/>
          <p:nvPr/>
        </p:nvSpPr>
        <p:spPr>
          <a:xfrm rot="17713653">
            <a:off x="5083169" y="2254098"/>
            <a:ext cx="264317" cy="197427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TextBox 34"/>
          <p:cNvSpPr txBox="1"/>
          <p:nvPr/>
        </p:nvSpPr>
        <p:spPr>
          <a:xfrm>
            <a:off x="6192026" y="1153800"/>
            <a:ext cx="2712324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latin typeface="+mn-lt"/>
                <a:cs typeface="Arial" pitchFamily="34" charset="0"/>
              </a:rPr>
              <a:t>Снижение времени досмотра 1 пассажира с 10 сек до 7 и, как следствие, увеличение пропускной способности</a:t>
            </a:r>
          </a:p>
        </p:txBody>
      </p:sp>
    </p:spTree>
    <p:extLst>
      <p:ext uri="{BB962C8B-B14F-4D97-AF65-F5344CB8AC3E}">
        <p14:creationId xmlns:p14="http://schemas.microsoft.com/office/powerpoint/2010/main" val="423217898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2844" y="95960"/>
            <a:ext cx="8515186" cy="390161"/>
          </a:xfrm>
          <a:noFill/>
          <a:ln>
            <a:noFill/>
          </a:ln>
        </p:spPr>
        <p:txBody>
          <a:bodyPr/>
          <a:lstStyle/>
          <a:p>
            <a:pPr lvl="1"/>
            <a:r>
              <a:rPr lang="ru-RU" sz="1800" dirty="0">
                <a:solidFill>
                  <a:schemeClr val="tx2"/>
                </a:solidFill>
              </a:rPr>
              <a:t>3. Зона регистрации Т1А </a:t>
            </a:r>
          </a:p>
        </p:txBody>
      </p:sp>
      <p:cxnSp>
        <p:nvCxnSpPr>
          <p:cNvPr id="4" name="Straight Connector 38"/>
          <p:cNvCxnSpPr/>
          <p:nvPr/>
        </p:nvCxnSpPr>
        <p:spPr>
          <a:xfrm flipV="1">
            <a:off x="165666" y="823072"/>
            <a:ext cx="1958409" cy="1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3318779" y="500081"/>
            <a:ext cx="1630679" cy="233619"/>
          </a:xfrm>
          <a:prstGeom prst="rect">
            <a:avLst/>
          </a:prstGeom>
          <a:noFill/>
        </p:spPr>
        <p:txBody>
          <a:bodyPr wrap="square" lIns="0" tIns="0" rIns="0" bIns="18000" rtlCol="0">
            <a:spAutoFit/>
          </a:bodyPr>
          <a:lstStyle>
            <a:defPPr>
              <a:defRPr lang="ru-RU"/>
            </a:defPPr>
            <a:lvl1pPr>
              <a:defRPr sz="20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400" dirty="0">
                <a:solidFill>
                  <a:srgbClr val="FFC000"/>
                </a:solidFill>
                <a:latin typeface="+mn-lt"/>
              </a:rPr>
              <a:t>Решение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88487" y="490210"/>
            <a:ext cx="1630679" cy="233619"/>
          </a:xfrm>
          <a:prstGeom prst="rect">
            <a:avLst/>
          </a:prstGeom>
          <a:noFill/>
        </p:spPr>
        <p:txBody>
          <a:bodyPr wrap="square" lIns="0" tIns="0" rIns="0" bIns="18000" rtlCol="0">
            <a:spAutoFit/>
          </a:bodyPr>
          <a:lstStyle>
            <a:defPPr>
              <a:defRPr lang="ru-RU"/>
            </a:defPPr>
            <a:lvl1pPr>
              <a:defRPr sz="20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400" dirty="0">
                <a:solidFill>
                  <a:srgbClr val="CA3568"/>
                </a:solidFill>
                <a:latin typeface="+mn-lt"/>
              </a:rPr>
              <a:t>Проблема</a:t>
            </a:r>
          </a:p>
        </p:txBody>
      </p:sp>
      <p:cxnSp>
        <p:nvCxnSpPr>
          <p:cNvPr id="9" name="Straight Connector 38"/>
          <p:cNvCxnSpPr/>
          <p:nvPr/>
        </p:nvCxnSpPr>
        <p:spPr>
          <a:xfrm flipV="1">
            <a:off x="3318779" y="810559"/>
            <a:ext cx="1750922" cy="10402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9708" y="114409"/>
            <a:ext cx="1096963" cy="58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Нашивка 26">
            <a:extLst>
              <a:ext uri="{FF2B5EF4-FFF2-40B4-BE49-F238E27FC236}">
                <a16:creationId xmlns:a16="http://schemas.microsoft.com/office/drawing/2014/main" id="{B2011075-00FB-BB46-8FF3-DA27B8A263E4}"/>
              </a:ext>
            </a:extLst>
          </p:cNvPr>
          <p:cNvSpPr/>
          <p:nvPr/>
        </p:nvSpPr>
        <p:spPr>
          <a:xfrm>
            <a:off x="3059826" y="786391"/>
            <a:ext cx="172635" cy="3661613"/>
          </a:xfrm>
          <a:prstGeom prst="chevron">
            <a:avLst>
              <a:gd name="adj" fmla="val 100000"/>
            </a:avLst>
          </a:prstGeom>
          <a:ln w="6350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n>
                <a:solidFill>
                  <a:srgbClr val="00206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24" name="Нашивка 26">
            <a:extLst>
              <a:ext uri="{FF2B5EF4-FFF2-40B4-BE49-F238E27FC236}">
                <a16:creationId xmlns:a16="http://schemas.microsoft.com/office/drawing/2014/main" id="{B2011075-00FB-BB46-8FF3-DA27B8A263E4}"/>
              </a:ext>
            </a:extLst>
          </p:cNvPr>
          <p:cNvSpPr/>
          <p:nvPr/>
        </p:nvSpPr>
        <p:spPr>
          <a:xfrm>
            <a:off x="5814410" y="810559"/>
            <a:ext cx="172635" cy="3661613"/>
          </a:xfrm>
          <a:prstGeom prst="chevron">
            <a:avLst>
              <a:gd name="adj" fmla="val 100000"/>
            </a:avLst>
          </a:prstGeom>
          <a:ln w="6350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n>
                <a:solidFill>
                  <a:srgbClr val="00206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6413811" y="461815"/>
            <a:ext cx="1630679" cy="233619"/>
          </a:xfrm>
          <a:prstGeom prst="rect">
            <a:avLst/>
          </a:prstGeom>
          <a:noFill/>
        </p:spPr>
        <p:txBody>
          <a:bodyPr wrap="square" lIns="0" tIns="0" rIns="0" bIns="18000" rtlCol="0">
            <a:spAutoFit/>
          </a:bodyPr>
          <a:lstStyle>
            <a:defPPr>
              <a:defRPr lang="ru-RU"/>
            </a:defPPr>
            <a:lvl1pPr>
              <a:defRPr sz="20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400" dirty="0">
                <a:solidFill>
                  <a:srgbClr val="00B050"/>
                </a:solidFill>
                <a:latin typeface="+mn-lt"/>
              </a:rPr>
              <a:t>Результат</a:t>
            </a:r>
          </a:p>
        </p:txBody>
      </p:sp>
      <p:cxnSp>
        <p:nvCxnSpPr>
          <p:cNvPr id="26" name="Straight Connector 38"/>
          <p:cNvCxnSpPr/>
          <p:nvPr/>
        </p:nvCxnSpPr>
        <p:spPr>
          <a:xfrm flipV="1">
            <a:off x="6327493" y="781190"/>
            <a:ext cx="1750922" cy="10402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7" name="Диаграмма 2"/>
          <p:cNvGraphicFramePr/>
          <p:nvPr/>
        </p:nvGraphicFramePr>
        <p:xfrm>
          <a:off x="6129723" y="2598138"/>
          <a:ext cx="2774627" cy="18113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3" name="Прямоугольник 12"/>
          <p:cNvSpPr/>
          <p:nvPr/>
        </p:nvSpPr>
        <p:spPr>
          <a:xfrm>
            <a:off x="188487" y="3275828"/>
            <a:ext cx="263656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dirty="0">
                <a:latin typeface="+mn-lt"/>
                <a:cs typeface="Arial" pitchFamily="34" charset="0"/>
              </a:rPr>
              <a:t>Время  наклеивания багажной бирки  у агента уходило до </a:t>
            </a:r>
            <a:r>
              <a:rPr lang="ru-RU" sz="1200" b="1" dirty="0">
                <a:latin typeface="+mn-lt"/>
                <a:cs typeface="Arial" pitchFamily="34" charset="0"/>
              </a:rPr>
              <a:t>15</a:t>
            </a:r>
            <a:r>
              <a:rPr lang="ru-RU" sz="1200" dirty="0">
                <a:latin typeface="+mn-lt"/>
                <a:cs typeface="Arial" pitchFamily="34" charset="0"/>
              </a:rPr>
              <a:t> сек, по причине поиска ручки багажа, продевания бирки через ручку и склеивания между собой.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3232461" y="2908065"/>
            <a:ext cx="235284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dirty="0">
                <a:latin typeface="+mn-lt"/>
                <a:cs typeface="Arial" pitchFamily="34" charset="0"/>
              </a:rPr>
              <a:t>Разработать стандарт, описывающий возможность, при наличии у багажа подходящей поверхности (пленка, пластик), произвести наклеивание багажной бирки на корпус багажа. Сокращение времени до </a:t>
            </a:r>
            <a:r>
              <a:rPr lang="ru-RU" sz="1200" b="1" dirty="0">
                <a:latin typeface="+mn-lt"/>
                <a:cs typeface="Arial" pitchFamily="34" charset="0"/>
              </a:rPr>
              <a:t>5</a:t>
            </a:r>
            <a:r>
              <a:rPr lang="ru-RU" sz="1200" dirty="0">
                <a:latin typeface="+mn-lt"/>
                <a:cs typeface="Arial" pitchFamily="34" charset="0"/>
              </a:rPr>
              <a:t> сек.</a:t>
            </a: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692"/>
          <a:stretch/>
        </p:blipFill>
        <p:spPr bwMode="auto">
          <a:xfrm>
            <a:off x="452948" y="946898"/>
            <a:ext cx="1834884" cy="21849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Picture 3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263"/>
          <a:stretch/>
        </p:blipFill>
        <p:spPr bwMode="auto">
          <a:xfrm>
            <a:off x="3551534" y="1033915"/>
            <a:ext cx="1620541" cy="187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Прямоугольник 16"/>
          <p:cNvSpPr/>
          <p:nvPr/>
        </p:nvSpPr>
        <p:spPr>
          <a:xfrm>
            <a:off x="6327493" y="1033915"/>
            <a:ext cx="2352840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ru-RU" sz="1400" dirty="0">
                <a:latin typeface="+mn-lt"/>
                <a:cs typeface="Arial" pitchFamily="34" charset="0"/>
              </a:rPr>
              <a:t>Сокращение времени наклеивания багажной бирки в 3 раза</a:t>
            </a:r>
          </a:p>
        </p:txBody>
      </p:sp>
      <p:grpSp>
        <p:nvGrpSpPr>
          <p:cNvPr id="11" name="Группа 10"/>
          <p:cNvGrpSpPr/>
          <p:nvPr/>
        </p:nvGrpSpPr>
        <p:grpSpPr>
          <a:xfrm>
            <a:off x="6664147" y="2617197"/>
            <a:ext cx="1695760" cy="1063704"/>
            <a:chOff x="6664147" y="2617197"/>
            <a:chExt cx="1695760" cy="1063704"/>
          </a:xfrm>
        </p:grpSpPr>
        <p:cxnSp>
          <p:nvCxnSpPr>
            <p:cNvPr id="18" name="Прямая соединительная линия 29"/>
            <p:cNvCxnSpPr/>
            <p:nvPr>
              <p:custDataLst>
                <p:tags r:id="rId1"/>
              </p:custDataLst>
            </p:nvPr>
          </p:nvCxnSpPr>
          <p:spPr bwMode="auto">
            <a:xfrm>
              <a:off x="8354364" y="2779872"/>
              <a:ext cx="5543" cy="901029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Прямая соединительная линия 30"/>
            <p:cNvCxnSpPr/>
            <p:nvPr>
              <p:custDataLst>
                <p:tags r:id="rId2"/>
              </p:custDataLst>
            </p:nvPr>
          </p:nvCxnSpPr>
          <p:spPr bwMode="auto">
            <a:xfrm flipV="1">
              <a:off x="6664149" y="2779871"/>
              <a:ext cx="1690215" cy="1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Прямая соединительная линия 31"/>
            <p:cNvCxnSpPr/>
            <p:nvPr>
              <p:custDataLst>
                <p:tags r:id="rId3"/>
              </p:custDataLst>
            </p:nvPr>
          </p:nvCxnSpPr>
          <p:spPr bwMode="auto">
            <a:xfrm flipH="1" flipV="1">
              <a:off x="6664147" y="2779871"/>
              <a:ext cx="2" cy="256387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Овал 28"/>
            <p:cNvSpPr/>
            <p:nvPr>
              <p:custDataLst>
                <p:tags r:id="rId4"/>
              </p:custDataLst>
            </p:nvPr>
          </p:nvSpPr>
          <p:spPr bwMode="gray">
            <a:xfrm>
              <a:off x="7229150" y="2617197"/>
              <a:ext cx="681038" cy="334391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 w="952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noAutofit/>
            </a:bodyPr>
            <a:lstStyle/>
            <a:p>
              <a:pPr algn="ctr" defTabSz="45720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sz="800" b="1" dirty="0">
                  <a:solidFill>
                    <a:prstClr val="white"/>
                  </a:solidFill>
                  <a:cs typeface="Arial"/>
                  <a:sym typeface="Arial"/>
                </a:rPr>
                <a:t>3 раза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7488265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2844" y="95960"/>
            <a:ext cx="8515186" cy="390161"/>
          </a:xfrm>
          <a:noFill/>
          <a:ln>
            <a:noFill/>
          </a:ln>
        </p:spPr>
        <p:txBody>
          <a:bodyPr/>
          <a:lstStyle/>
          <a:p>
            <a:pPr lvl="1"/>
            <a:r>
              <a:rPr lang="ru-RU" sz="1800" dirty="0">
                <a:solidFill>
                  <a:schemeClr val="tx2"/>
                </a:solidFill>
              </a:rPr>
              <a:t>4. Перрон встреча ВС</a:t>
            </a:r>
          </a:p>
        </p:txBody>
      </p:sp>
      <p:cxnSp>
        <p:nvCxnSpPr>
          <p:cNvPr id="4" name="Straight Connector 38"/>
          <p:cNvCxnSpPr/>
          <p:nvPr/>
        </p:nvCxnSpPr>
        <p:spPr>
          <a:xfrm flipV="1">
            <a:off x="165666" y="823072"/>
            <a:ext cx="1958409" cy="1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3318779" y="500081"/>
            <a:ext cx="1630679" cy="233619"/>
          </a:xfrm>
          <a:prstGeom prst="rect">
            <a:avLst/>
          </a:prstGeom>
          <a:noFill/>
        </p:spPr>
        <p:txBody>
          <a:bodyPr wrap="square" lIns="0" tIns="0" rIns="0" bIns="18000" rtlCol="0">
            <a:spAutoFit/>
          </a:bodyPr>
          <a:lstStyle>
            <a:defPPr>
              <a:defRPr lang="ru-RU"/>
            </a:defPPr>
            <a:lvl1pPr>
              <a:defRPr sz="20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400" dirty="0">
                <a:solidFill>
                  <a:srgbClr val="FFC000"/>
                </a:solidFill>
                <a:latin typeface="+mn-lt"/>
              </a:rPr>
              <a:t>Решение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88487" y="490210"/>
            <a:ext cx="1630679" cy="233619"/>
          </a:xfrm>
          <a:prstGeom prst="rect">
            <a:avLst/>
          </a:prstGeom>
          <a:noFill/>
        </p:spPr>
        <p:txBody>
          <a:bodyPr wrap="square" lIns="0" tIns="0" rIns="0" bIns="18000" rtlCol="0">
            <a:spAutoFit/>
          </a:bodyPr>
          <a:lstStyle>
            <a:defPPr>
              <a:defRPr lang="ru-RU"/>
            </a:defPPr>
            <a:lvl1pPr>
              <a:defRPr sz="20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400" dirty="0">
                <a:solidFill>
                  <a:srgbClr val="CA3568"/>
                </a:solidFill>
                <a:latin typeface="+mn-lt"/>
              </a:rPr>
              <a:t>Проблема</a:t>
            </a:r>
          </a:p>
        </p:txBody>
      </p:sp>
      <p:cxnSp>
        <p:nvCxnSpPr>
          <p:cNvPr id="9" name="Straight Connector 38"/>
          <p:cNvCxnSpPr/>
          <p:nvPr/>
        </p:nvCxnSpPr>
        <p:spPr>
          <a:xfrm flipV="1">
            <a:off x="3318779" y="810559"/>
            <a:ext cx="1750922" cy="10402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9708" y="114409"/>
            <a:ext cx="1096963" cy="58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Нашивка 26">
            <a:extLst>
              <a:ext uri="{FF2B5EF4-FFF2-40B4-BE49-F238E27FC236}">
                <a16:creationId xmlns:a16="http://schemas.microsoft.com/office/drawing/2014/main" id="{B2011075-00FB-BB46-8FF3-DA27B8A263E4}"/>
              </a:ext>
            </a:extLst>
          </p:cNvPr>
          <p:cNvSpPr/>
          <p:nvPr/>
        </p:nvSpPr>
        <p:spPr>
          <a:xfrm>
            <a:off x="2973508" y="815760"/>
            <a:ext cx="172635" cy="3661613"/>
          </a:xfrm>
          <a:prstGeom prst="chevron">
            <a:avLst>
              <a:gd name="adj" fmla="val 100000"/>
            </a:avLst>
          </a:prstGeom>
          <a:ln w="6350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n>
                <a:solidFill>
                  <a:srgbClr val="00206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24" name="Нашивка 26">
            <a:extLst>
              <a:ext uri="{FF2B5EF4-FFF2-40B4-BE49-F238E27FC236}">
                <a16:creationId xmlns:a16="http://schemas.microsoft.com/office/drawing/2014/main" id="{B2011075-00FB-BB46-8FF3-DA27B8A263E4}"/>
              </a:ext>
            </a:extLst>
          </p:cNvPr>
          <p:cNvSpPr/>
          <p:nvPr/>
        </p:nvSpPr>
        <p:spPr>
          <a:xfrm>
            <a:off x="5814410" y="810559"/>
            <a:ext cx="172635" cy="3661613"/>
          </a:xfrm>
          <a:prstGeom prst="chevron">
            <a:avLst>
              <a:gd name="adj" fmla="val 100000"/>
            </a:avLst>
          </a:prstGeom>
          <a:ln w="6350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n>
                <a:solidFill>
                  <a:srgbClr val="00206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6413811" y="461815"/>
            <a:ext cx="1630679" cy="233619"/>
          </a:xfrm>
          <a:prstGeom prst="rect">
            <a:avLst/>
          </a:prstGeom>
          <a:noFill/>
        </p:spPr>
        <p:txBody>
          <a:bodyPr wrap="square" lIns="0" tIns="0" rIns="0" bIns="18000" rtlCol="0">
            <a:spAutoFit/>
          </a:bodyPr>
          <a:lstStyle>
            <a:defPPr>
              <a:defRPr lang="ru-RU"/>
            </a:defPPr>
            <a:lvl1pPr>
              <a:defRPr sz="20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400" dirty="0">
                <a:solidFill>
                  <a:srgbClr val="00B050"/>
                </a:solidFill>
                <a:latin typeface="+mn-lt"/>
              </a:rPr>
              <a:t>Результат</a:t>
            </a:r>
          </a:p>
        </p:txBody>
      </p:sp>
      <p:cxnSp>
        <p:nvCxnSpPr>
          <p:cNvPr id="26" name="Straight Connector 38"/>
          <p:cNvCxnSpPr/>
          <p:nvPr/>
        </p:nvCxnSpPr>
        <p:spPr>
          <a:xfrm flipV="1">
            <a:off x="6327493" y="781190"/>
            <a:ext cx="1750922" cy="10402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7" name="Диаграмма 2"/>
          <p:cNvGraphicFramePr/>
          <p:nvPr/>
        </p:nvGraphicFramePr>
        <p:xfrm>
          <a:off x="6124576" y="2359648"/>
          <a:ext cx="2774627" cy="18113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062" y="953120"/>
            <a:ext cx="2318298" cy="17387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1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9280" y="984549"/>
            <a:ext cx="2250992" cy="16882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Прямоугольник 14"/>
          <p:cNvSpPr/>
          <p:nvPr/>
        </p:nvSpPr>
        <p:spPr>
          <a:xfrm>
            <a:off x="337115" y="2925211"/>
            <a:ext cx="259658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ru-RU" sz="1200" dirty="0">
                <a:latin typeface="+mn-lt"/>
                <a:cs typeface="Arial" panose="020B0604020202020204" pitchFamily="34" charset="0"/>
              </a:rPr>
              <a:t>Длительное время установки упорных колодок и конусов - 3 минуты, лишние передвижения.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3482874" y="2820265"/>
            <a:ext cx="2146401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ru-RU" sz="1200" dirty="0">
                <a:latin typeface="+mn-lt"/>
                <a:cs typeface="Arial" panose="020B0604020202020204" pitchFamily="34" charset="0"/>
              </a:rPr>
              <a:t>Использование передвижной телеги для подвоза инвентаря к ВС, сокращение передвижений.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124576" y="1109811"/>
            <a:ext cx="257175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latin typeface="+mn-lt"/>
              </a:rPr>
              <a:t>Снижение времени установки упорных колодок и конусов до 1,5 мин</a:t>
            </a:r>
          </a:p>
        </p:txBody>
      </p:sp>
      <p:grpSp>
        <p:nvGrpSpPr>
          <p:cNvPr id="18" name="Группа 17"/>
          <p:cNvGrpSpPr/>
          <p:nvPr/>
        </p:nvGrpSpPr>
        <p:grpSpPr>
          <a:xfrm>
            <a:off x="6721789" y="2248019"/>
            <a:ext cx="1695760" cy="1063704"/>
            <a:chOff x="6664147" y="2617197"/>
            <a:chExt cx="1695760" cy="1063704"/>
          </a:xfrm>
        </p:grpSpPr>
        <p:cxnSp>
          <p:nvCxnSpPr>
            <p:cNvPr id="19" name="Прямая соединительная линия 29"/>
            <p:cNvCxnSpPr/>
            <p:nvPr>
              <p:custDataLst>
                <p:tags r:id="rId1"/>
              </p:custDataLst>
            </p:nvPr>
          </p:nvCxnSpPr>
          <p:spPr bwMode="auto">
            <a:xfrm>
              <a:off x="8354364" y="2779872"/>
              <a:ext cx="5543" cy="901029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Прямая соединительная линия 30"/>
            <p:cNvCxnSpPr/>
            <p:nvPr>
              <p:custDataLst>
                <p:tags r:id="rId2"/>
              </p:custDataLst>
            </p:nvPr>
          </p:nvCxnSpPr>
          <p:spPr bwMode="auto">
            <a:xfrm flipV="1">
              <a:off x="6664149" y="2779871"/>
              <a:ext cx="1690215" cy="1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Прямая соединительная линия 31"/>
            <p:cNvCxnSpPr/>
            <p:nvPr>
              <p:custDataLst>
                <p:tags r:id="rId3"/>
              </p:custDataLst>
            </p:nvPr>
          </p:nvCxnSpPr>
          <p:spPr bwMode="auto">
            <a:xfrm flipH="1" flipV="1">
              <a:off x="6664147" y="2779871"/>
              <a:ext cx="2" cy="256387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Овал 28"/>
            <p:cNvSpPr/>
            <p:nvPr>
              <p:custDataLst>
                <p:tags r:id="rId4"/>
              </p:custDataLst>
            </p:nvPr>
          </p:nvSpPr>
          <p:spPr bwMode="gray">
            <a:xfrm>
              <a:off x="7229150" y="2617197"/>
              <a:ext cx="681038" cy="334391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 w="952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noAutofit/>
            </a:bodyPr>
            <a:lstStyle/>
            <a:p>
              <a:pPr algn="ctr" defTabSz="45720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sz="800" b="1" dirty="0">
                  <a:solidFill>
                    <a:prstClr val="white"/>
                  </a:solidFill>
                  <a:cs typeface="Arial"/>
                  <a:sym typeface="Arial"/>
                </a:rPr>
                <a:t>В 2 раза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5056272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2844" y="95960"/>
            <a:ext cx="8515186" cy="390161"/>
          </a:xfrm>
          <a:noFill/>
          <a:ln>
            <a:noFill/>
          </a:ln>
        </p:spPr>
        <p:txBody>
          <a:bodyPr/>
          <a:lstStyle/>
          <a:p>
            <a:pPr lvl="1"/>
            <a:r>
              <a:rPr lang="ru-RU" sz="1800" dirty="0">
                <a:solidFill>
                  <a:schemeClr val="tx2"/>
                </a:solidFill>
              </a:rPr>
              <a:t>5. Выгрузка и погрузка багажа</a:t>
            </a:r>
          </a:p>
        </p:txBody>
      </p:sp>
      <p:cxnSp>
        <p:nvCxnSpPr>
          <p:cNvPr id="4" name="Straight Connector 38"/>
          <p:cNvCxnSpPr/>
          <p:nvPr/>
        </p:nvCxnSpPr>
        <p:spPr>
          <a:xfrm flipV="1">
            <a:off x="403791" y="3328161"/>
            <a:ext cx="1958409" cy="1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3204479" y="3010882"/>
            <a:ext cx="1630679" cy="233619"/>
          </a:xfrm>
          <a:prstGeom prst="rect">
            <a:avLst/>
          </a:prstGeom>
          <a:noFill/>
        </p:spPr>
        <p:txBody>
          <a:bodyPr wrap="square" lIns="0" tIns="0" rIns="0" bIns="18000" rtlCol="0">
            <a:spAutoFit/>
          </a:bodyPr>
          <a:lstStyle>
            <a:defPPr>
              <a:defRPr lang="ru-RU"/>
            </a:defPPr>
            <a:lvl1pPr>
              <a:defRPr sz="20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400" dirty="0">
                <a:solidFill>
                  <a:srgbClr val="FFC000"/>
                </a:solidFill>
                <a:latin typeface="+mn-lt"/>
              </a:rPr>
              <a:t>Решение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6434" y="3010882"/>
            <a:ext cx="1630679" cy="233619"/>
          </a:xfrm>
          <a:prstGeom prst="rect">
            <a:avLst/>
          </a:prstGeom>
          <a:noFill/>
        </p:spPr>
        <p:txBody>
          <a:bodyPr wrap="square" lIns="0" tIns="0" rIns="0" bIns="18000" rtlCol="0">
            <a:spAutoFit/>
          </a:bodyPr>
          <a:lstStyle>
            <a:defPPr>
              <a:defRPr lang="ru-RU"/>
            </a:defPPr>
            <a:lvl1pPr>
              <a:defRPr sz="20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400" dirty="0">
                <a:solidFill>
                  <a:srgbClr val="CA3568"/>
                </a:solidFill>
                <a:latin typeface="+mn-lt"/>
              </a:rPr>
              <a:t>Проблема</a:t>
            </a:r>
          </a:p>
        </p:txBody>
      </p:sp>
      <p:cxnSp>
        <p:nvCxnSpPr>
          <p:cNvPr id="9" name="Straight Connector 38"/>
          <p:cNvCxnSpPr/>
          <p:nvPr/>
        </p:nvCxnSpPr>
        <p:spPr>
          <a:xfrm flipV="1">
            <a:off x="3204479" y="3316826"/>
            <a:ext cx="1750922" cy="10402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9708" y="114409"/>
            <a:ext cx="1096963" cy="58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Нашивка 26">
            <a:extLst>
              <a:ext uri="{FF2B5EF4-FFF2-40B4-BE49-F238E27FC236}">
                <a16:creationId xmlns:a16="http://schemas.microsoft.com/office/drawing/2014/main" id="{B2011075-00FB-BB46-8FF3-DA27B8A263E4}"/>
              </a:ext>
            </a:extLst>
          </p:cNvPr>
          <p:cNvSpPr/>
          <p:nvPr/>
        </p:nvSpPr>
        <p:spPr>
          <a:xfrm>
            <a:off x="2967702" y="3318192"/>
            <a:ext cx="86317" cy="1361352"/>
          </a:xfrm>
          <a:prstGeom prst="chevron">
            <a:avLst>
              <a:gd name="adj" fmla="val 100000"/>
            </a:avLst>
          </a:prstGeom>
          <a:ln w="6350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n>
                <a:solidFill>
                  <a:srgbClr val="00206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24" name="Нашивка 26">
            <a:extLst>
              <a:ext uri="{FF2B5EF4-FFF2-40B4-BE49-F238E27FC236}">
                <a16:creationId xmlns:a16="http://schemas.microsoft.com/office/drawing/2014/main" id="{B2011075-00FB-BB46-8FF3-DA27B8A263E4}"/>
              </a:ext>
            </a:extLst>
          </p:cNvPr>
          <p:cNvSpPr/>
          <p:nvPr/>
        </p:nvSpPr>
        <p:spPr>
          <a:xfrm>
            <a:off x="5814410" y="810559"/>
            <a:ext cx="172635" cy="3661613"/>
          </a:xfrm>
          <a:prstGeom prst="chevron">
            <a:avLst>
              <a:gd name="adj" fmla="val 100000"/>
            </a:avLst>
          </a:prstGeom>
          <a:ln w="6350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n>
                <a:solidFill>
                  <a:srgbClr val="00206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6413811" y="461815"/>
            <a:ext cx="1630679" cy="233619"/>
          </a:xfrm>
          <a:prstGeom prst="rect">
            <a:avLst/>
          </a:prstGeom>
          <a:noFill/>
        </p:spPr>
        <p:txBody>
          <a:bodyPr wrap="square" lIns="0" tIns="0" rIns="0" bIns="18000" rtlCol="0">
            <a:spAutoFit/>
          </a:bodyPr>
          <a:lstStyle>
            <a:defPPr>
              <a:defRPr lang="ru-RU"/>
            </a:defPPr>
            <a:lvl1pPr>
              <a:defRPr sz="20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400" dirty="0">
                <a:solidFill>
                  <a:srgbClr val="00B050"/>
                </a:solidFill>
                <a:latin typeface="+mn-lt"/>
              </a:rPr>
              <a:t>Результат</a:t>
            </a:r>
          </a:p>
        </p:txBody>
      </p:sp>
      <p:cxnSp>
        <p:nvCxnSpPr>
          <p:cNvPr id="26" name="Straight Connector 38"/>
          <p:cNvCxnSpPr/>
          <p:nvPr/>
        </p:nvCxnSpPr>
        <p:spPr>
          <a:xfrm flipV="1">
            <a:off x="6327493" y="781190"/>
            <a:ext cx="1750922" cy="10402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7" name="Диаграмма 2"/>
          <p:cNvGraphicFramePr/>
          <p:nvPr/>
        </p:nvGraphicFramePr>
        <p:xfrm>
          <a:off x="6129723" y="2598138"/>
          <a:ext cx="2774627" cy="18113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791" y="529210"/>
            <a:ext cx="4760681" cy="24816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Прямоугольник 13"/>
          <p:cNvSpPr/>
          <p:nvPr/>
        </p:nvSpPr>
        <p:spPr>
          <a:xfrm>
            <a:off x="33275" y="3422478"/>
            <a:ext cx="2977585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100" dirty="0">
                <a:latin typeface="+mn-lt"/>
                <a:cs typeface="Arial" panose="020B0604020202020204" pitchFamily="34" charset="0"/>
              </a:rPr>
              <a:t>Длительный процесс выгрузки </a:t>
            </a:r>
            <a:r>
              <a:rPr lang="ru-RU" sz="1100" b="1" dirty="0">
                <a:latin typeface="+mn-lt"/>
                <a:cs typeface="Arial" panose="020B0604020202020204" pitchFamily="34" charset="0"/>
              </a:rPr>
              <a:t>8мин</a:t>
            </a:r>
            <a:r>
              <a:rPr lang="ru-RU" sz="1100" dirty="0">
                <a:latin typeface="+mn-lt"/>
                <a:cs typeface="Arial" panose="020B0604020202020204" pitchFamily="34" charset="0"/>
              </a:rPr>
              <a:t> и загрузки </a:t>
            </a:r>
            <a:r>
              <a:rPr lang="ru-RU" sz="1100" b="1" dirty="0">
                <a:latin typeface="+mn-lt"/>
                <a:cs typeface="Arial" panose="020B0604020202020204" pitchFamily="34" charset="0"/>
              </a:rPr>
              <a:t>10 мин</a:t>
            </a:r>
            <a:r>
              <a:rPr lang="ru-RU" sz="1100" dirty="0">
                <a:latin typeface="+mn-lt"/>
                <a:cs typeface="Arial" panose="020B0604020202020204" pitchFamily="34" charset="0"/>
              </a:rPr>
              <a:t> скомплектованного багажа и наличие временного промежутка  </a:t>
            </a:r>
            <a:r>
              <a:rPr lang="ru-RU" sz="1100" b="1" dirty="0">
                <a:latin typeface="+mn-lt"/>
                <a:cs typeface="Arial" panose="020B0604020202020204" pitchFamily="34" charset="0"/>
              </a:rPr>
              <a:t>10 мин </a:t>
            </a:r>
            <a:r>
              <a:rPr lang="ru-RU" sz="1100" dirty="0">
                <a:latin typeface="+mn-lt"/>
                <a:cs typeface="Arial" panose="020B0604020202020204" pitchFamily="34" charset="0"/>
              </a:rPr>
              <a:t>между данными операциями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3054020" y="3328162"/>
            <a:ext cx="2651456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100" dirty="0">
                <a:latin typeface="+mn-lt"/>
                <a:cs typeface="Arial" panose="020B0604020202020204" pitchFamily="34" charset="0"/>
              </a:rPr>
              <a:t>Осуществлять подвоз скомплектованного багажа в момент заруливания ВС одновременно с пустыми телегами для выгрузки. Скорректированы задачи ТГО в МП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987045" y="1057010"/>
            <a:ext cx="2684128" cy="10182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sz="1400" dirty="0">
                <a:latin typeface="+mn-lt"/>
              </a:rPr>
              <a:t>Сокращение времени обработки багажа(прилет и вылет) на 10 мин.</a:t>
            </a:r>
          </a:p>
        </p:txBody>
      </p:sp>
      <p:sp>
        <p:nvSpPr>
          <p:cNvPr id="17" name="Стрелка влево 16"/>
          <p:cNvSpPr/>
          <p:nvPr/>
        </p:nvSpPr>
        <p:spPr>
          <a:xfrm rot="2821818">
            <a:off x="1841457" y="2578449"/>
            <a:ext cx="488373" cy="300983"/>
          </a:xfrm>
          <a:prstGeom prst="lef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Стрелка влево 17"/>
          <p:cNvSpPr/>
          <p:nvPr/>
        </p:nvSpPr>
        <p:spPr>
          <a:xfrm rot="17783716">
            <a:off x="1476446" y="1333922"/>
            <a:ext cx="488373" cy="300983"/>
          </a:xfrm>
          <a:prstGeom prst="leftArrow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3" name="Прямая соединительная линия 29"/>
          <p:cNvCxnSpPr/>
          <p:nvPr>
            <p:custDataLst>
              <p:tags r:id="rId1"/>
            </p:custDataLst>
          </p:nvPr>
        </p:nvCxnSpPr>
        <p:spPr bwMode="auto">
          <a:xfrm>
            <a:off x="8406463" y="2573368"/>
            <a:ext cx="5543" cy="1074707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30"/>
          <p:cNvCxnSpPr/>
          <p:nvPr>
            <p:custDataLst>
              <p:tags r:id="rId2"/>
            </p:custDataLst>
          </p:nvPr>
        </p:nvCxnSpPr>
        <p:spPr bwMode="auto">
          <a:xfrm flipV="1">
            <a:off x="6716248" y="2573367"/>
            <a:ext cx="1690215" cy="2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31"/>
          <p:cNvCxnSpPr/>
          <p:nvPr>
            <p:custDataLst>
              <p:tags r:id="rId3"/>
            </p:custDataLst>
          </p:nvPr>
        </p:nvCxnSpPr>
        <p:spPr bwMode="auto">
          <a:xfrm flipH="1" flipV="1">
            <a:off x="6716246" y="2573367"/>
            <a:ext cx="2" cy="256388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Овал 28"/>
          <p:cNvSpPr/>
          <p:nvPr>
            <p:custDataLst>
              <p:tags r:id="rId4"/>
            </p:custDataLst>
          </p:nvPr>
        </p:nvSpPr>
        <p:spPr bwMode="gray">
          <a:xfrm>
            <a:off x="7281249" y="2410693"/>
            <a:ext cx="681038" cy="334391"/>
          </a:xfrm>
          <a:prstGeom prst="ellipse">
            <a:avLst/>
          </a:prstGeom>
          <a:solidFill>
            <a:schemeClr val="accent5">
              <a:lumMod val="75000"/>
            </a:schemeClr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 defTabSz="4572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800" b="1" dirty="0">
                <a:solidFill>
                  <a:prstClr val="white"/>
                </a:solidFill>
                <a:cs typeface="Arial"/>
                <a:sym typeface="Arial"/>
              </a:rPr>
              <a:t>2,8 раза</a:t>
            </a:r>
          </a:p>
        </p:txBody>
      </p:sp>
    </p:spTree>
    <p:extLst>
      <p:ext uri="{BB962C8B-B14F-4D97-AF65-F5344CB8AC3E}">
        <p14:creationId xmlns:p14="http://schemas.microsoft.com/office/powerpoint/2010/main" val="428078585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2844" y="95960"/>
            <a:ext cx="8515186" cy="390161"/>
          </a:xfrm>
          <a:noFill/>
          <a:ln>
            <a:noFill/>
          </a:ln>
        </p:spPr>
        <p:txBody>
          <a:bodyPr/>
          <a:lstStyle/>
          <a:p>
            <a:pPr lvl="1"/>
            <a:r>
              <a:rPr lang="ru-RU" sz="1800" dirty="0">
                <a:solidFill>
                  <a:schemeClr val="tx2"/>
                </a:solidFill>
              </a:rPr>
              <a:t>6. Посадка пассажиров</a:t>
            </a:r>
          </a:p>
        </p:txBody>
      </p:sp>
      <p:cxnSp>
        <p:nvCxnSpPr>
          <p:cNvPr id="4" name="Straight Connector 38"/>
          <p:cNvCxnSpPr/>
          <p:nvPr/>
        </p:nvCxnSpPr>
        <p:spPr>
          <a:xfrm flipV="1">
            <a:off x="106721" y="3572938"/>
            <a:ext cx="1958409" cy="1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3232461" y="3306822"/>
            <a:ext cx="1630679" cy="233619"/>
          </a:xfrm>
          <a:prstGeom prst="rect">
            <a:avLst/>
          </a:prstGeom>
          <a:noFill/>
        </p:spPr>
        <p:txBody>
          <a:bodyPr wrap="square" lIns="0" tIns="0" rIns="0" bIns="18000" rtlCol="0">
            <a:spAutoFit/>
          </a:bodyPr>
          <a:lstStyle>
            <a:defPPr>
              <a:defRPr lang="ru-RU"/>
            </a:defPPr>
            <a:lvl1pPr>
              <a:defRPr sz="20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400" dirty="0">
                <a:solidFill>
                  <a:srgbClr val="FFC000"/>
                </a:solidFill>
                <a:latin typeface="+mn-lt"/>
              </a:rPr>
              <a:t>Решение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06721" y="3306822"/>
            <a:ext cx="1630679" cy="233619"/>
          </a:xfrm>
          <a:prstGeom prst="rect">
            <a:avLst/>
          </a:prstGeom>
          <a:noFill/>
        </p:spPr>
        <p:txBody>
          <a:bodyPr wrap="square" lIns="0" tIns="0" rIns="0" bIns="18000" rtlCol="0">
            <a:spAutoFit/>
          </a:bodyPr>
          <a:lstStyle>
            <a:defPPr>
              <a:defRPr lang="ru-RU"/>
            </a:defPPr>
            <a:lvl1pPr>
              <a:defRPr sz="20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400" dirty="0">
                <a:solidFill>
                  <a:srgbClr val="CA3568"/>
                </a:solidFill>
                <a:latin typeface="+mn-lt"/>
              </a:rPr>
              <a:t>Проблема</a:t>
            </a:r>
          </a:p>
        </p:txBody>
      </p:sp>
      <p:cxnSp>
        <p:nvCxnSpPr>
          <p:cNvPr id="9" name="Straight Connector 38"/>
          <p:cNvCxnSpPr/>
          <p:nvPr/>
        </p:nvCxnSpPr>
        <p:spPr>
          <a:xfrm flipV="1">
            <a:off x="3232461" y="3573913"/>
            <a:ext cx="1750922" cy="10402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9708" y="114409"/>
            <a:ext cx="1096963" cy="58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Нашивка 26">
            <a:extLst>
              <a:ext uri="{FF2B5EF4-FFF2-40B4-BE49-F238E27FC236}">
                <a16:creationId xmlns:a16="http://schemas.microsoft.com/office/drawing/2014/main" id="{B2011075-00FB-BB46-8FF3-DA27B8A263E4}"/>
              </a:ext>
            </a:extLst>
          </p:cNvPr>
          <p:cNvSpPr/>
          <p:nvPr/>
        </p:nvSpPr>
        <p:spPr>
          <a:xfrm>
            <a:off x="2802651" y="3676650"/>
            <a:ext cx="86317" cy="1019004"/>
          </a:xfrm>
          <a:prstGeom prst="chevron">
            <a:avLst>
              <a:gd name="adj" fmla="val 100000"/>
            </a:avLst>
          </a:prstGeom>
          <a:ln w="6350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n>
                <a:solidFill>
                  <a:srgbClr val="00206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24" name="Нашивка 26">
            <a:extLst>
              <a:ext uri="{FF2B5EF4-FFF2-40B4-BE49-F238E27FC236}">
                <a16:creationId xmlns:a16="http://schemas.microsoft.com/office/drawing/2014/main" id="{B2011075-00FB-BB46-8FF3-DA27B8A263E4}"/>
              </a:ext>
            </a:extLst>
          </p:cNvPr>
          <p:cNvSpPr/>
          <p:nvPr/>
        </p:nvSpPr>
        <p:spPr>
          <a:xfrm>
            <a:off x="5814410" y="810559"/>
            <a:ext cx="172635" cy="3661613"/>
          </a:xfrm>
          <a:prstGeom prst="chevron">
            <a:avLst>
              <a:gd name="adj" fmla="val 100000"/>
            </a:avLst>
          </a:prstGeom>
          <a:ln w="6350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n>
                <a:solidFill>
                  <a:srgbClr val="00206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6413811" y="461815"/>
            <a:ext cx="1630679" cy="233619"/>
          </a:xfrm>
          <a:prstGeom prst="rect">
            <a:avLst/>
          </a:prstGeom>
          <a:noFill/>
        </p:spPr>
        <p:txBody>
          <a:bodyPr wrap="square" lIns="0" tIns="0" rIns="0" bIns="18000" rtlCol="0">
            <a:spAutoFit/>
          </a:bodyPr>
          <a:lstStyle>
            <a:defPPr>
              <a:defRPr lang="ru-RU"/>
            </a:defPPr>
            <a:lvl1pPr>
              <a:defRPr sz="20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400" dirty="0">
                <a:solidFill>
                  <a:srgbClr val="00B050"/>
                </a:solidFill>
                <a:latin typeface="+mn-lt"/>
              </a:rPr>
              <a:t>Результат</a:t>
            </a:r>
          </a:p>
        </p:txBody>
      </p:sp>
      <p:cxnSp>
        <p:nvCxnSpPr>
          <p:cNvPr id="26" name="Straight Connector 38"/>
          <p:cNvCxnSpPr/>
          <p:nvPr/>
        </p:nvCxnSpPr>
        <p:spPr>
          <a:xfrm flipV="1">
            <a:off x="6327493" y="781190"/>
            <a:ext cx="1750922" cy="10402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7" name="Диаграмма 2"/>
          <p:cNvGraphicFramePr/>
          <p:nvPr/>
        </p:nvGraphicFramePr>
        <p:xfrm>
          <a:off x="6129723" y="2598138"/>
          <a:ext cx="2774627" cy="18113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656"/>
          <a:stretch/>
        </p:blipFill>
        <p:spPr bwMode="auto">
          <a:xfrm>
            <a:off x="317851" y="461815"/>
            <a:ext cx="4739924" cy="28561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Прямоугольник 13"/>
          <p:cNvSpPr/>
          <p:nvPr/>
        </p:nvSpPr>
        <p:spPr>
          <a:xfrm>
            <a:off x="238121" y="3667125"/>
            <a:ext cx="2363968" cy="929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ru-RU" sz="1200" dirty="0">
                <a:latin typeface="Arial" pitchFamily="34" charset="0"/>
                <a:cs typeface="Arial" pitchFamily="34" charset="0"/>
              </a:rPr>
              <a:t>Длительное время посадки время посадки пассажиров в ВС  до 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12</a:t>
            </a:r>
            <a:r>
              <a:rPr lang="ru-RU" sz="1200" dirty="0">
                <a:latin typeface="Arial" pitchFamily="34" charset="0"/>
                <a:cs typeface="Arial" pitchFamily="34" charset="0"/>
              </a:rPr>
              <a:t> мин.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947926" y="3759457"/>
            <a:ext cx="27187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ru-RU" sz="1200" dirty="0">
                <a:latin typeface="+mj-lt"/>
                <a:cs typeface="Arial" pitchFamily="34" charset="0"/>
              </a:rPr>
              <a:t>Производить  посадку пассажиров с двух выходов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149992" y="1151246"/>
            <a:ext cx="275709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latin typeface="+mj-lt"/>
                <a:cs typeface="Arial" pitchFamily="34" charset="0"/>
              </a:rPr>
              <a:t>  Сокращение времени посадки пассажиров до 6 мин.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77708" y="667438"/>
            <a:ext cx="41870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b="1" dirty="0">
                <a:solidFill>
                  <a:srgbClr val="FF0000"/>
                </a:solidFill>
              </a:rPr>
              <a:t>1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891249" y="666968"/>
            <a:ext cx="41870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b="1" dirty="0">
                <a:solidFill>
                  <a:srgbClr val="FF0000"/>
                </a:solidFill>
              </a:rPr>
              <a:t>2</a:t>
            </a:r>
          </a:p>
        </p:txBody>
      </p:sp>
      <p:cxnSp>
        <p:nvCxnSpPr>
          <p:cNvPr id="19" name="Прямая соединительная линия 29"/>
          <p:cNvCxnSpPr/>
          <p:nvPr>
            <p:custDataLst>
              <p:tags r:id="rId1"/>
            </p:custDataLst>
          </p:nvPr>
        </p:nvCxnSpPr>
        <p:spPr bwMode="auto">
          <a:xfrm>
            <a:off x="8406463" y="2573368"/>
            <a:ext cx="5543" cy="1074707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30"/>
          <p:cNvCxnSpPr/>
          <p:nvPr>
            <p:custDataLst>
              <p:tags r:id="rId2"/>
            </p:custDataLst>
          </p:nvPr>
        </p:nvCxnSpPr>
        <p:spPr bwMode="auto">
          <a:xfrm flipV="1">
            <a:off x="6716248" y="2573367"/>
            <a:ext cx="1690215" cy="2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31"/>
          <p:cNvCxnSpPr/>
          <p:nvPr>
            <p:custDataLst>
              <p:tags r:id="rId3"/>
            </p:custDataLst>
          </p:nvPr>
        </p:nvCxnSpPr>
        <p:spPr bwMode="auto">
          <a:xfrm flipH="1" flipV="1">
            <a:off x="6716246" y="2573367"/>
            <a:ext cx="2" cy="350808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Овал 28"/>
          <p:cNvSpPr/>
          <p:nvPr>
            <p:custDataLst>
              <p:tags r:id="rId4"/>
            </p:custDataLst>
          </p:nvPr>
        </p:nvSpPr>
        <p:spPr bwMode="gray">
          <a:xfrm>
            <a:off x="7281249" y="2410693"/>
            <a:ext cx="681038" cy="334391"/>
          </a:xfrm>
          <a:prstGeom prst="ellipse">
            <a:avLst/>
          </a:prstGeom>
          <a:solidFill>
            <a:schemeClr val="accent5">
              <a:lumMod val="75000"/>
            </a:schemeClr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 defTabSz="4572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800" b="1" dirty="0">
                <a:solidFill>
                  <a:prstClr val="white"/>
                </a:solidFill>
                <a:cs typeface="Arial"/>
                <a:sym typeface="Arial"/>
              </a:rPr>
              <a:t>В 2 раза</a:t>
            </a:r>
          </a:p>
        </p:txBody>
      </p:sp>
    </p:spTree>
    <p:extLst>
      <p:ext uri="{BB962C8B-B14F-4D97-AF65-F5344CB8AC3E}">
        <p14:creationId xmlns:p14="http://schemas.microsoft.com/office/powerpoint/2010/main" val="417705787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2844" y="95960"/>
            <a:ext cx="8515186" cy="390161"/>
          </a:xfrm>
          <a:noFill/>
          <a:ln>
            <a:noFill/>
          </a:ln>
        </p:spPr>
        <p:txBody>
          <a:bodyPr/>
          <a:lstStyle/>
          <a:p>
            <a:pPr lvl="1"/>
            <a:r>
              <a:rPr lang="ru-RU" sz="1800" dirty="0">
                <a:solidFill>
                  <a:schemeClr val="tx2"/>
                </a:solidFill>
              </a:rPr>
              <a:t>7. </a:t>
            </a:r>
            <a:r>
              <a:rPr lang="ru-RU" sz="1800" dirty="0" err="1">
                <a:solidFill>
                  <a:schemeClr val="tx2"/>
                </a:solidFill>
              </a:rPr>
              <a:t>Предпосадка</a:t>
            </a:r>
            <a:endParaRPr lang="ru-RU" sz="1800" dirty="0">
              <a:solidFill>
                <a:schemeClr val="tx2"/>
              </a:solidFill>
            </a:endParaRPr>
          </a:p>
        </p:txBody>
      </p:sp>
      <p:cxnSp>
        <p:nvCxnSpPr>
          <p:cNvPr id="4" name="Straight Connector 38"/>
          <p:cNvCxnSpPr>
            <a:cxnSpLocks/>
          </p:cNvCxnSpPr>
          <p:nvPr/>
        </p:nvCxnSpPr>
        <p:spPr>
          <a:xfrm>
            <a:off x="239650" y="3154303"/>
            <a:ext cx="2001399" cy="1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3292582" y="2897200"/>
            <a:ext cx="1630679" cy="233619"/>
          </a:xfrm>
          <a:prstGeom prst="rect">
            <a:avLst/>
          </a:prstGeom>
          <a:noFill/>
        </p:spPr>
        <p:txBody>
          <a:bodyPr wrap="square" lIns="0" tIns="0" rIns="0" bIns="18000" rtlCol="0">
            <a:spAutoFit/>
          </a:bodyPr>
          <a:lstStyle>
            <a:defPPr>
              <a:defRPr lang="ru-RU"/>
            </a:defPPr>
            <a:lvl1pPr>
              <a:defRPr sz="20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400" dirty="0">
                <a:solidFill>
                  <a:srgbClr val="FFC000"/>
                </a:solidFill>
                <a:latin typeface="+mn-lt"/>
              </a:rPr>
              <a:t>Решение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40005" y="2897200"/>
            <a:ext cx="1630679" cy="233619"/>
          </a:xfrm>
          <a:prstGeom prst="rect">
            <a:avLst/>
          </a:prstGeom>
          <a:noFill/>
        </p:spPr>
        <p:txBody>
          <a:bodyPr wrap="square" lIns="0" tIns="0" rIns="0" bIns="18000" rtlCol="0">
            <a:spAutoFit/>
          </a:bodyPr>
          <a:lstStyle>
            <a:defPPr>
              <a:defRPr lang="ru-RU"/>
            </a:defPPr>
            <a:lvl1pPr>
              <a:defRPr sz="20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400" dirty="0">
                <a:solidFill>
                  <a:srgbClr val="CA3568"/>
                </a:solidFill>
                <a:latin typeface="+mn-lt"/>
              </a:rPr>
              <a:t>Проблема</a:t>
            </a:r>
          </a:p>
        </p:txBody>
      </p:sp>
      <p:cxnSp>
        <p:nvCxnSpPr>
          <p:cNvPr id="9" name="Straight Connector 38"/>
          <p:cNvCxnSpPr/>
          <p:nvPr/>
        </p:nvCxnSpPr>
        <p:spPr>
          <a:xfrm flipV="1">
            <a:off x="3309142" y="3120417"/>
            <a:ext cx="1750922" cy="10402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9708" y="114409"/>
            <a:ext cx="1096963" cy="58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Нашивка 26">
            <a:extLst>
              <a:ext uri="{FF2B5EF4-FFF2-40B4-BE49-F238E27FC236}">
                <a16:creationId xmlns:a16="http://schemas.microsoft.com/office/drawing/2014/main" id="{B2011075-00FB-BB46-8FF3-DA27B8A263E4}"/>
              </a:ext>
            </a:extLst>
          </p:cNvPr>
          <p:cNvSpPr/>
          <p:nvPr/>
        </p:nvSpPr>
        <p:spPr>
          <a:xfrm>
            <a:off x="2454181" y="3416637"/>
            <a:ext cx="136077" cy="1064997"/>
          </a:xfrm>
          <a:prstGeom prst="chevron">
            <a:avLst>
              <a:gd name="adj" fmla="val 100000"/>
            </a:avLst>
          </a:prstGeom>
          <a:ln w="6350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n>
                <a:solidFill>
                  <a:srgbClr val="00206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24" name="Нашивка 26">
            <a:extLst>
              <a:ext uri="{FF2B5EF4-FFF2-40B4-BE49-F238E27FC236}">
                <a16:creationId xmlns:a16="http://schemas.microsoft.com/office/drawing/2014/main" id="{B2011075-00FB-BB46-8FF3-DA27B8A263E4}"/>
              </a:ext>
            </a:extLst>
          </p:cNvPr>
          <p:cNvSpPr/>
          <p:nvPr/>
        </p:nvSpPr>
        <p:spPr>
          <a:xfrm>
            <a:off x="5814410" y="810559"/>
            <a:ext cx="172635" cy="3661613"/>
          </a:xfrm>
          <a:prstGeom prst="chevron">
            <a:avLst>
              <a:gd name="adj" fmla="val 100000"/>
            </a:avLst>
          </a:prstGeom>
          <a:ln w="6350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n>
                <a:solidFill>
                  <a:srgbClr val="00206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6413811" y="461815"/>
            <a:ext cx="1630679" cy="233619"/>
          </a:xfrm>
          <a:prstGeom prst="rect">
            <a:avLst/>
          </a:prstGeom>
          <a:noFill/>
        </p:spPr>
        <p:txBody>
          <a:bodyPr wrap="square" lIns="0" tIns="0" rIns="0" bIns="18000" rtlCol="0">
            <a:spAutoFit/>
          </a:bodyPr>
          <a:lstStyle>
            <a:defPPr>
              <a:defRPr lang="ru-RU"/>
            </a:defPPr>
            <a:lvl1pPr>
              <a:defRPr sz="20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400" dirty="0">
                <a:solidFill>
                  <a:srgbClr val="00B050"/>
                </a:solidFill>
                <a:latin typeface="+mn-lt"/>
              </a:rPr>
              <a:t>Результат</a:t>
            </a:r>
          </a:p>
        </p:txBody>
      </p:sp>
      <p:cxnSp>
        <p:nvCxnSpPr>
          <p:cNvPr id="26" name="Straight Connector 38"/>
          <p:cNvCxnSpPr/>
          <p:nvPr/>
        </p:nvCxnSpPr>
        <p:spPr>
          <a:xfrm flipV="1">
            <a:off x="6327493" y="781190"/>
            <a:ext cx="1750922" cy="10402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7" name="Диаграмма 2"/>
          <p:cNvGraphicFramePr/>
          <p:nvPr/>
        </p:nvGraphicFramePr>
        <p:xfrm>
          <a:off x="6129723" y="2598138"/>
          <a:ext cx="2774627" cy="18113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13" name="Группа 12"/>
          <p:cNvGrpSpPr/>
          <p:nvPr/>
        </p:nvGrpSpPr>
        <p:grpSpPr>
          <a:xfrm>
            <a:off x="441230" y="531933"/>
            <a:ext cx="5149945" cy="2231251"/>
            <a:chOff x="846136" y="1963880"/>
            <a:chExt cx="7434439" cy="3731354"/>
          </a:xfrm>
        </p:grpSpPr>
        <p:pic>
          <p:nvPicPr>
            <p:cNvPr id="14" name="Picture 8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136" y="1963881"/>
              <a:ext cx="7434438" cy="37313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15" name="Группа 14"/>
            <p:cNvGrpSpPr/>
            <p:nvPr/>
          </p:nvGrpSpPr>
          <p:grpSpPr>
            <a:xfrm>
              <a:off x="1872960" y="1963880"/>
              <a:ext cx="6407615" cy="2930238"/>
              <a:chOff x="1872960" y="1963880"/>
              <a:chExt cx="6407615" cy="2930238"/>
            </a:xfrm>
          </p:grpSpPr>
          <p:cxnSp>
            <p:nvCxnSpPr>
              <p:cNvPr id="16" name="Прямая соединительная линия 15"/>
              <p:cNvCxnSpPr/>
              <p:nvPr/>
            </p:nvCxnSpPr>
            <p:spPr>
              <a:xfrm>
                <a:off x="1876857" y="1963880"/>
                <a:ext cx="1292370" cy="654628"/>
              </a:xfrm>
              <a:prstGeom prst="line">
                <a:avLst/>
              </a:prstGeom>
              <a:ln w="25400">
                <a:solidFill>
                  <a:srgbClr val="FF0000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Прямая соединительная линия 16"/>
              <p:cNvCxnSpPr/>
              <p:nvPr/>
            </p:nvCxnSpPr>
            <p:spPr>
              <a:xfrm>
                <a:off x="1872960" y="1976868"/>
                <a:ext cx="3897" cy="2917250"/>
              </a:xfrm>
              <a:prstGeom prst="line">
                <a:avLst/>
              </a:prstGeom>
              <a:ln w="25400">
                <a:solidFill>
                  <a:srgbClr val="FF0000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Прямая соединительная линия 17"/>
              <p:cNvCxnSpPr/>
              <p:nvPr/>
            </p:nvCxnSpPr>
            <p:spPr>
              <a:xfrm>
                <a:off x="2030772" y="2010639"/>
                <a:ext cx="6249802" cy="0"/>
              </a:xfrm>
              <a:prstGeom prst="line">
                <a:avLst/>
              </a:prstGeom>
              <a:ln w="25400">
                <a:solidFill>
                  <a:srgbClr val="FF0000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Прямая соединительная линия 18"/>
              <p:cNvCxnSpPr/>
              <p:nvPr/>
            </p:nvCxnSpPr>
            <p:spPr>
              <a:xfrm flipH="1">
                <a:off x="6733309" y="2010639"/>
                <a:ext cx="1465118" cy="514352"/>
              </a:xfrm>
              <a:prstGeom prst="line">
                <a:avLst/>
              </a:prstGeom>
              <a:ln w="25400">
                <a:solidFill>
                  <a:srgbClr val="FF0000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Прямая соединительная линия 21"/>
              <p:cNvCxnSpPr/>
              <p:nvPr/>
            </p:nvCxnSpPr>
            <p:spPr>
              <a:xfrm flipH="1">
                <a:off x="8280574" y="2010639"/>
                <a:ext cx="1" cy="2883479"/>
              </a:xfrm>
              <a:prstGeom prst="line">
                <a:avLst/>
              </a:prstGeom>
              <a:ln w="25400">
                <a:solidFill>
                  <a:srgbClr val="FF0000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Прямая соединительная линия 22"/>
              <p:cNvCxnSpPr/>
              <p:nvPr/>
            </p:nvCxnSpPr>
            <p:spPr>
              <a:xfrm>
                <a:off x="1872960" y="4894118"/>
                <a:ext cx="6407615" cy="0"/>
              </a:xfrm>
              <a:prstGeom prst="line">
                <a:avLst/>
              </a:prstGeom>
              <a:ln w="25400">
                <a:solidFill>
                  <a:srgbClr val="FF0000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8" name="Заголовок 1"/>
          <p:cNvSpPr txBox="1">
            <a:spLocks/>
          </p:cNvSpPr>
          <p:nvPr/>
        </p:nvSpPr>
        <p:spPr bwMode="auto">
          <a:xfrm>
            <a:off x="2590258" y="3253232"/>
            <a:ext cx="3224147" cy="165142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0" kern="120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42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685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10287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r>
              <a:rPr lang="ru-RU" sz="1200" dirty="0">
                <a:solidFill>
                  <a:schemeClr val="tx1"/>
                </a:solidFill>
              </a:rPr>
              <a:t>После начала уборки ВС (3 мин), до планового времени начала посадки(готовности ВС), объявляется процедура «</a:t>
            </a:r>
            <a:r>
              <a:rPr lang="ru-RU" sz="1200" dirty="0" err="1">
                <a:solidFill>
                  <a:schemeClr val="tx1"/>
                </a:solidFill>
              </a:rPr>
              <a:t>предпосадка</a:t>
            </a:r>
            <a:r>
              <a:rPr lang="ru-RU" sz="1200" dirty="0">
                <a:solidFill>
                  <a:schemeClr val="tx1"/>
                </a:solidFill>
              </a:rPr>
              <a:t>»</a:t>
            </a:r>
            <a:r>
              <a:rPr lang="en-US" sz="1200" dirty="0">
                <a:solidFill>
                  <a:schemeClr val="tx1"/>
                </a:solidFill>
              </a:rPr>
              <a:t>:</a:t>
            </a:r>
            <a:r>
              <a:rPr lang="ru-RU" sz="1200" dirty="0">
                <a:solidFill>
                  <a:schemeClr val="tx1"/>
                </a:solidFill>
              </a:rPr>
              <a:t> пассажиров подготавливают и располагают в зоне площадью 30м2 (40-50 чел),после получения готовности ВС, пассажиры направляются к трапам. </a:t>
            </a:r>
          </a:p>
        </p:txBody>
      </p:sp>
      <p:sp>
        <p:nvSpPr>
          <p:cNvPr id="29" name="Заголовок 1"/>
          <p:cNvSpPr txBox="1">
            <a:spLocks/>
          </p:cNvSpPr>
          <p:nvPr/>
        </p:nvSpPr>
        <p:spPr bwMode="auto">
          <a:xfrm>
            <a:off x="59798" y="3334461"/>
            <a:ext cx="2434422" cy="128897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0" kern="120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42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685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10287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r>
              <a:rPr lang="ru-RU" sz="1200" dirty="0">
                <a:solidFill>
                  <a:schemeClr val="tx1"/>
                </a:solidFill>
              </a:rPr>
              <a:t>Процедура начала посадки пассажиров начиналась после команды готовности воздушного судна, что в свою очередь увеличивало до 3 мин процесс посадки.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693715" y="667408"/>
            <a:ext cx="135626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rgbClr val="FF0000"/>
                </a:solidFill>
              </a:rPr>
              <a:t>до  50 чел.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6300638" y="1077461"/>
            <a:ext cx="242130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+mj-lt"/>
              </a:rPr>
              <a:t>Сокращение времени посадки пассажиров до 4-5 мин.</a:t>
            </a:r>
          </a:p>
        </p:txBody>
      </p:sp>
      <p:cxnSp>
        <p:nvCxnSpPr>
          <p:cNvPr id="31" name="Прямая соединительная линия 29">
            <a:extLst>
              <a:ext uri="{FF2B5EF4-FFF2-40B4-BE49-F238E27FC236}">
                <a16:creationId xmlns:a16="http://schemas.microsoft.com/office/drawing/2014/main" id="{06D63FA8-E2DA-45FA-8193-FF48BF42A60E}"/>
              </a:ext>
            </a:extLst>
          </p:cNvPr>
          <p:cNvCxnSpPr/>
          <p:nvPr>
            <p:custDataLst>
              <p:tags r:id="rId1"/>
            </p:custDataLst>
          </p:nvPr>
        </p:nvCxnSpPr>
        <p:spPr bwMode="auto">
          <a:xfrm>
            <a:off x="8344747" y="2570133"/>
            <a:ext cx="0" cy="770304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0">
            <a:extLst>
              <a:ext uri="{FF2B5EF4-FFF2-40B4-BE49-F238E27FC236}">
                <a16:creationId xmlns:a16="http://schemas.microsoft.com/office/drawing/2014/main" id="{BEC859C1-BDBA-434A-A27C-3560493B8F79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 flipV="1">
            <a:off x="6716248" y="2570133"/>
            <a:ext cx="1628499" cy="3236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1">
            <a:extLst>
              <a:ext uri="{FF2B5EF4-FFF2-40B4-BE49-F238E27FC236}">
                <a16:creationId xmlns:a16="http://schemas.microsoft.com/office/drawing/2014/main" id="{014C4ADD-8EC2-4830-BB73-427FCA5CF5A5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H="1" flipV="1">
            <a:off x="6716246" y="2573367"/>
            <a:ext cx="2" cy="350808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Овал 28">
            <a:extLst>
              <a:ext uri="{FF2B5EF4-FFF2-40B4-BE49-F238E27FC236}">
                <a16:creationId xmlns:a16="http://schemas.microsoft.com/office/drawing/2014/main" id="{0A445E89-ABFF-417F-9027-7850971ECCE7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7281249" y="2410693"/>
            <a:ext cx="681038" cy="334391"/>
          </a:xfrm>
          <a:prstGeom prst="ellipse">
            <a:avLst/>
          </a:prstGeom>
          <a:solidFill>
            <a:schemeClr val="accent5">
              <a:lumMod val="75000"/>
            </a:schemeClr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 defTabSz="4572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800" b="1" dirty="0">
                <a:solidFill>
                  <a:prstClr val="white"/>
                </a:solidFill>
                <a:cs typeface="Arial"/>
                <a:sym typeface="Arial"/>
              </a:rPr>
              <a:t>67</a:t>
            </a:r>
            <a:r>
              <a:rPr lang="en-US" sz="800" b="1" dirty="0">
                <a:solidFill>
                  <a:prstClr val="white"/>
                </a:solidFill>
                <a:cs typeface="Arial"/>
                <a:sym typeface="Arial"/>
              </a:rPr>
              <a:t>%</a:t>
            </a:r>
            <a:endParaRPr lang="ru-RU" sz="800" b="1" dirty="0">
              <a:solidFill>
                <a:prstClr val="white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6140121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5"/>
          <p:cNvSpPr/>
          <p:nvPr>
            <p:custDataLst>
              <p:tags r:id="rId1"/>
            </p:custDataLst>
          </p:nvPr>
        </p:nvSpPr>
        <p:spPr>
          <a:xfrm>
            <a:off x="62697" y="98498"/>
            <a:ext cx="38576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Результаты</a:t>
            </a:r>
          </a:p>
        </p:txBody>
      </p:sp>
      <p:sp>
        <p:nvSpPr>
          <p:cNvPr id="6" name="Прямоугольник 6"/>
          <p:cNvSpPr/>
          <p:nvPr>
            <p:custDataLst>
              <p:tags r:id="rId2"/>
            </p:custDataLst>
          </p:nvPr>
        </p:nvSpPr>
        <p:spPr>
          <a:xfrm>
            <a:off x="-1" y="600130"/>
            <a:ext cx="3857627" cy="73866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354013"/>
            <a:r>
              <a:rPr lang="ru-RU" sz="1400" i="1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Сокращение времени протекания процесса прохождение пассажиром процедур в терминале, мин.</a:t>
            </a:r>
          </a:p>
        </p:txBody>
      </p:sp>
      <p:cxnSp>
        <p:nvCxnSpPr>
          <p:cNvPr id="7" name="Прямая со стрелкой 7"/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163593" y="797968"/>
            <a:ext cx="0" cy="286707"/>
          </a:xfrm>
          <a:prstGeom prst="straightConnector1">
            <a:avLst/>
          </a:prstGeom>
          <a:ln w="34925">
            <a:solidFill>
              <a:schemeClr val="tx2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8"/>
          <p:cNvSpPr/>
          <p:nvPr>
            <p:custDataLst>
              <p:tags r:id="rId4"/>
            </p:custDataLst>
          </p:nvPr>
        </p:nvSpPr>
        <p:spPr>
          <a:xfrm>
            <a:off x="-2406" y="2869547"/>
            <a:ext cx="3860031" cy="675895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354013"/>
            <a:r>
              <a:rPr lang="ru-RU" sz="1400" i="1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Сокращение времени наземного  обслуживания  ВС АК «Победа», мин.</a:t>
            </a:r>
          </a:p>
        </p:txBody>
      </p:sp>
      <p:cxnSp>
        <p:nvCxnSpPr>
          <p:cNvPr id="9" name="Прямая со стрелкой 9"/>
          <p:cNvCxnSpPr/>
          <p:nvPr>
            <p:custDataLst>
              <p:tags r:id="rId5"/>
            </p:custDataLst>
          </p:nvPr>
        </p:nvCxnSpPr>
        <p:spPr>
          <a:xfrm>
            <a:off x="193836" y="3011908"/>
            <a:ext cx="0" cy="286707"/>
          </a:xfrm>
          <a:prstGeom prst="straightConnector1">
            <a:avLst/>
          </a:prstGeom>
          <a:ln w="34925">
            <a:solidFill>
              <a:schemeClr val="tx2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 стрелкой 10"/>
          <p:cNvCxnSpPr/>
          <p:nvPr>
            <p:custDataLst>
              <p:tags r:id="rId6"/>
            </p:custDataLst>
          </p:nvPr>
        </p:nvCxnSpPr>
        <p:spPr>
          <a:xfrm flipV="1">
            <a:off x="6120777" y="2941905"/>
            <a:ext cx="0" cy="260610"/>
          </a:xfrm>
          <a:prstGeom prst="straightConnector1">
            <a:avLst/>
          </a:prstGeom>
          <a:ln w="34925">
            <a:solidFill>
              <a:schemeClr val="tx2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1"/>
          <p:cNvSpPr/>
          <p:nvPr>
            <p:custDataLst>
              <p:tags r:id="rId7"/>
            </p:custDataLst>
          </p:nvPr>
        </p:nvSpPr>
        <p:spPr>
          <a:xfrm>
            <a:off x="5804655" y="619602"/>
            <a:ext cx="3005060" cy="552450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354013"/>
            <a:r>
              <a:rPr lang="ru-RU" sz="1400" i="1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Снижение трудоёмкости обслуживание ВС, чел-мин.</a:t>
            </a:r>
          </a:p>
        </p:txBody>
      </p:sp>
      <p:cxnSp>
        <p:nvCxnSpPr>
          <p:cNvPr id="12" name="Прямая со стрелкой 12"/>
          <p:cNvCxnSpPr/>
          <p:nvPr>
            <p:custDataLst>
              <p:tags r:id="rId8"/>
            </p:custDataLst>
          </p:nvPr>
        </p:nvCxnSpPr>
        <p:spPr>
          <a:xfrm>
            <a:off x="6050175" y="730967"/>
            <a:ext cx="0" cy="286707"/>
          </a:xfrm>
          <a:prstGeom prst="straightConnector1">
            <a:avLst/>
          </a:prstGeom>
          <a:ln w="34925">
            <a:solidFill>
              <a:schemeClr val="tx2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Прямоугольник 16"/>
          <p:cNvSpPr/>
          <p:nvPr>
            <p:custDataLst>
              <p:tags r:id="rId9"/>
            </p:custDataLst>
          </p:nvPr>
        </p:nvSpPr>
        <p:spPr>
          <a:xfrm>
            <a:off x="5881501" y="2677532"/>
            <a:ext cx="2888374" cy="73866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354013"/>
            <a:r>
              <a:rPr lang="ru-RU" sz="1400" i="1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Увеличение регулярности обслуживания рейсов АК «Победа» , %</a:t>
            </a:r>
          </a:p>
        </p:txBody>
      </p:sp>
      <p:cxnSp>
        <p:nvCxnSpPr>
          <p:cNvPr id="29" name="Прямая соединительная линия 29"/>
          <p:cNvCxnSpPr>
            <a:endCxn id="48" idx="0"/>
          </p:cNvCxnSpPr>
          <p:nvPr>
            <p:custDataLst>
              <p:tags r:id="rId10"/>
            </p:custDataLst>
          </p:nvPr>
        </p:nvCxnSpPr>
        <p:spPr bwMode="auto">
          <a:xfrm>
            <a:off x="2850002" y="1452379"/>
            <a:ext cx="5543" cy="60982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30"/>
          <p:cNvCxnSpPr>
            <a:cxnSpLocks/>
          </p:cNvCxnSpPr>
          <p:nvPr>
            <p:custDataLst>
              <p:tags r:id="rId11"/>
            </p:custDataLst>
          </p:nvPr>
        </p:nvCxnSpPr>
        <p:spPr bwMode="auto">
          <a:xfrm flipV="1">
            <a:off x="1023349" y="1464792"/>
            <a:ext cx="1828363" cy="1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1"/>
          <p:cNvCxnSpPr>
            <a:stCxn id="3" idx="0"/>
          </p:cNvCxnSpPr>
          <p:nvPr>
            <p:custDataLst>
              <p:tags r:id="rId12"/>
            </p:custDataLst>
          </p:nvPr>
        </p:nvCxnSpPr>
        <p:spPr bwMode="auto">
          <a:xfrm flipH="1" flipV="1">
            <a:off x="1023348" y="1464793"/>
            <a:ext cx="1" cy="384578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626827" y="2629524"/>
            <a:ext cx="870406" cy="16158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 defTabSz="457200"/>
            <a:r>
              <a:rPr lang="ru-RU" sz="1050" dirty="0">
                <a:solidFill>
                  <a:srgbClr val="000000"/>
                </a:solidFill>
              </a:rPr>
              <a:t>10.09.2019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459023" y="2640266"/>
            <a:ext cx="870406" cy="16158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 defTabSz="457200"/>
            <a:r>
              <a:rPr lang="ru-RU" sz="1050" dirty="0">
                <a:solidFill>
                  <a:srgbClr val="000000"/>
                </a:solidFill>
              </a:rPr>
              <a:t>11.12.2019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49463" y="1849370"/>
            <a:ext cx="947770" cy="6875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Прямоугольник 47"/>
          <p:cNvSpPr/>
          <p:nvPr/>
        </p:nvSpPr>
        <p:spPr>
          <a:xfrm>
            <a:off x="2381659" y="2062204"/>
            <a:ext cx="947770" cy="474758"/>
          </a:xfrm>
          <a:prstGeom prst="rect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Овал 28"/>
          <p:cNvSpPr/>
          <p:nvPr>
            <p:custDataLst>
              <p:tags r:id="rId13"/>
            </p:custDataLst>
          </p:nvPr>
        </p:nvSpPr>
        <p:spPr bwMode="gray">
          <a:xfrm>
            <a:off x="1550855" y="1339395"/>
            <a:ext cx="681038" cy="250793"/>
          </a:xfrm>
          <a:prstGeom prst="ellipse">
            <a:avLst/>
          </a:prstGeom>
          <a:solidFill>
            <a:schemeClr val="accent5">
              <a:lumMod val="75000"/>
            </a:schemeClr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 defTabSz="4572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prstClr val="white"/>
                </a:solidFill>
                <a:cs typeface="Arial"/>
              </a:rPr>
              <a:t>-27%</a:t>
            </a:r>
            <a:endParaRPr lang="ru-RU" sz="1400" b="1" dirty="0">
              <a:solidFill>
                <a:prstClr val="white"/>
              </a:solidFill>
              <a:cs typeface="Arial"/>
              <a:sym typeface="Arial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634492" y="2239582"/>
            <a:ext cx="777711" cy="276999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 defTabSz="457200"/>
            <a:r>
              <a:rPr lang="ru-RU" dirty="0">
                <a:solidFill>
                  <a:srgbClr val="000000"/>
                </a:solidFill>
              </a:rPr>
              <a:t>26 мин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2457107" y="2242693"/>
            <a:ext cx="777711" cy="276999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 defTabSz="457200"/>
            <a:r>
              <a:rPr lang="en-US" dirty="0">
                <a:solidFill>
                  <a:srgbClr val="000000"/>
                </a:solidFill>
              </a:rPr>
              <a:t>19</a:t>
            </a:r>
            <a:r>
              <a:rPr lang="ru-RU" dirty="0">
                <a:solidFill>
                  <a:srgbClr val="000000"/>
                </a:solidFill>
              </a:rPr>
              <a:t> мин</a:t>
            </a:r>
          </a:p>
        </p:txBody>
      </p:sp>
      <p:grpSp>
        <p:nvGrpSpPr>
          <p:cNvPr id="64" name="Группа 63"/>
          <p:cNvGrpSpPr/>
          <p:nvPr/>
        </p:nvGrpSpPr>
        <p:grpSpPr>
          <a:xfrm>
            <a:off x="547546" y="3369343"/>
            <a:ext cx="2779966" cy="1462455"/>
            <a:chOff x="391617" y="2227128"/>
            <a:chExt cx="2779966" cy="1949939"/>
          </a:xfrm>
        </p:grpSpPr>
        <p:cxnSp>
          <p:nvCxnSpPr>
            <p:cNvPr id="65" name="Прямая соединительная линия 29"/>
            <p:cNvCxnSpPr>
              <a:endCxn id="71" idx="0"/>
            </p:cNvCxnSpPr>
            <p:nvPr>
              <p:custDataLst>
                <p:tags r:id="rId23"/>
              </p:custDataLst>
            </p:nvPr>
          </p:nvCxnSpPr>
          <p:spPr bwMode="auto">
            <a:xfrm>
              <a:off x="2692155" y="2377774"/>
              <a:ext cx="5543" cy="813100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Прямая соединительная линия 30"/>
            <p:cNvCxnSpPr/>
            <p:nvPr>
              <p:custDataLst>
                <p:tags r:id="rId24"/>
              </p:custDataLst>
            </p:nvPr>
          </p:nvCxnSpPr>
          <p:spPr bwMode="auto">
            <a:xfrm flipV="1">
              <a:off x="865502" y="2394324"/>
              <a:ext cx="1828363" cy="1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Прямая соединительная линия 31"/>
            <p:cNvCxnSpPr>
              <a:stCxn id="70" idx="0"/>
            </p:cNvCxnSpPr>
            <p:nvPr>
              <p:custDataLst>
                <p:tags r:id="rId25"/>
              </p:custDataLst>
            </p:nvPr>
          </p:nvCxnSpPr>
          <p:spPr bwMode="auto">
            <a:xfrm flipH="1" flipV="1">
              <a:off x="865501" y="2394325"/>
              <a:ext cx="1" cy="512771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TextBox 67"/>
            <p:cNvSpPr txBox="1"/>
            <p:nvPr/>
          </p:nvSpPr>
          <p:spPr>
            <a:xfrm>
              <a:off x="468981" y="3947299"/>
              <a:ext cx="870406" cy="21544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 defTabSz="457200"/>
              <a:r>
                <a:rPr lang="ru-RU" sz="1050" dirty="0">
                  <a:solidFill>
                    <a:srgbClr val="000000"/>
                  </a:solidFill>
                </a:rPr>
                <a:t>10.09.2019</a:t>
              </a: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2301177" y="3961623"/>
              <a:ext cx="870406" cy="21544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 defTabSz="457200"/>
              <a:r>
                <a:rPr lang="ru-RU" sz="1050" dirty="0">
                  <a:solidFill>
                    <a:srgbClr val="000000"/>
                  </a:solidFill>
                </a:rPr>
                <a:t>11.12.2019</a:t>
              </a:r>
            </a:p>
          </p:txBody>
        </p:sp>
        <p:sp>
          <p:nvSpPr>
            <p:cNvPr id="70" name="Прямоугольник 69"/>
            <p:cNvSpPr/>
            <p:nvPr/>
          </p:nvSpPr>
          <p:spPr>
            <a:xfrm>
              <a:off x="391617" y="2907096"/>
              <a:ext cx="947770" cy="91679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1" name="Прямоугольник 70"/>
            <p:cNvSpPr/>
            <p:nvPr/>
          </p:nvSpPr>
          <p:spPr>
            <a:xfrm>
              <a:off x="2223813" y="3190874"/>
              <a:ext cx="947770" cy="633011"/>
            </a:xfrm>
            <a:prstGeom prst="rect">
              <a:avLst/>
            </a:prstGeom>
            <a:solidFill>
              <a:srgbClr val="92D05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2" name="Овал 28"/>
            <p:cNvSpPr/>
            <p:nvPr>
              <p:custDataLst>
                <p:tags r:id="rId26"/>
              </p:custDataLst>
            </p:nvPr>
          </p:nvSpPr>
          <p:spPr bwMode="gray">
            <a:xfrm>
              <a:off x="1393009" y="2227128"/>
              <a:ext cx="681038" cy="334391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 w="952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noAutofit/>
            </a:bodyPr>
            <a:lstStyle/>
            <a:p>
              <a:pPr algn="ctr" defTabSz="45720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sz="1400" b="1" dirty="0">
                  <a:solidFill>
                    <a:prstClr val="white"/>
                  </a:solidFill>
                  <a:cs typeface="Arial"/>
                </a:rPr>
                <a:t>-2</a:t>
              </a:r>
              <a:r>
                <a:rPr lang="en-US" sz="1400" b="1" dirty="0">
                  <a:solidFill>
                    <a:prstClr val="white"/>
                  </a:solidFill>
                  <a:cs typeface="Arial"/>
                </a:rPr>
                <a:t>7</a:t>
              </a:r>
              <a:r>
                <a:rPr lang="ru-RU" sz="1400" b="1" dirty="0">
                  <a:solidFill>
                    <a:prstClr val="white"/>
                  </a:solidFill>
                  <a:cs typeface="Arial"/>
                </a:rPr>
                <a:t>%</a:t>
              </a:r>
              <a:endParaRPr lang="ru-RU" sz="1400" b="1" dirty="0">
                <a:solidFill>
                  <a:prstClr val="white"/>
                </a:solidFill>
                <a:cs typeface="Arial"/>
                <a:sym typeface="Arial"/>
              </a:endParaRPr>
            </a:p>
          </p:txBody>
        </p:sp>
      </p:grpSp>
      <p:sp>
        <p:nvSpPr>
          <p:cNvPr id="73" name="TextBox 72"/>
          <p:cNvSpPr txBox="1"/>
          <p:nvPr/>
        </p:nvSpPr>
        <p:spPr>
          <a:xfrm>
            <a:off x="624911" y="4223116"/>
            <a:ext cx="777711" cy="276999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 defTabSz="457200"/>
            <a:r>
              <a:rPr lang="en-US" dirty="0">
                <a:solidFill>
                  <a:srgbClr val="000000"/>
                </a:solidFill>
              </a:rPr>
              <a:t>41</a:t>
            </a:r>
            <a:r>
              <a:rPr lang="ru-RU" dirty="0">
                <a:solidFill>
                  <a:srgbClr val="000000"/>
                </a:solidFill>
              </a:rPr>
              <a:t> мин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2466689" y="4225703"/>
            <a:ext cx="777711" cy="430887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 defTabSz="457200"/>
            <a:r>
              <a:rPr lang="en-US" dirty="0">
                <a:solidFill>
                  <a:srgbClr val="000000"/>
                </a:solidFill>
              </a:rPr>
              <a:t>30</a:t>
            </a:r>
            <a:r>
              <a:rPr lang="ru-RU" dirty="0">
                <a:solidFill>
                  <a:srgbClr val="000000"/>
                </a:solidFill>
              </a:rPr>
              <a:t> мин</a:t>
            </a:r>
          </a:p>
          <a:p>
            <a:pPr algn="ctr" defTabSz="457200"/>
            <a:endParaRPr lang="ru-RU" sz="1000" dirty="0">
              <a:solidFill>
                <a:srgbClr val="000000"/>
              </a:solidFill>
            </a:endParaRPr>
          </a:p>
        </p:txBody>
      </p:sp>
      <p:grpSp>
        <p:nvGrpSpPr>
          <p:cNvPr id="75" name="Группа 74"/>
          <p:cNvGrpSpPr/>
          <p:nvPr/>
        </p:nvGrpSpPr>
        <p:grpSpPr>
          <a:xfrm>
            <a:off x="6030865" y="1132765"/>
            <a:ext cx="2779966" cy="1462455"/>
            <a:chOff x="391617" y="2227128"/>
            <a:chExt cx="2779966" cy="1949939"/>
          </a:xfrm>
        </p:grpSpPr>
        <p:cxnSp>
          <p:nvCxnSpPr>
            <p:cNvPr id="76" name="Прямая соединительная линия 29"/>
            <p:cNvCxnSpPr>
              <a:endCxn id="82" idx="0"/>
            </p:cNvCxnSpPr>
            <p:nvPr>
              <p:custDataLst>
                <p:tags r:id="rId19"/>
              </p:custDataLst>
            </p:nvPr>
          </p:nvCxnSpPr>
          <p:spPr bwMode="auto">
            <a:xfrm>
              <a:off x="2692155" y="2377774"/>
              <a:ext cx="5543" cy="813100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Прямая соединительная линия 30"/>
            <p:cNvCxnSpPr/>
            <p:nvPr>
              <p:custDataLst>
                <p:tags r:id="rId20"/>
              </p:custDataLst>
            </p:nvPr>
          </p:nvCxnSpPr>
          <p:spPr bwMode="auto">
            <a:xfrm flipV="1">
              <a:off x="865502" y="2394324"/>
              <a:ext cx="1828363" cy="1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Прямая соединительная линия 31"/>
            <p:cNvCxnSpPr>
              <a:stCxn id="81" idx="0"/>
            </p:cNvCxnSpPr>
            <p:nvPr>
              <p:custDataLst>
                <p:tags r:id="rId21"/>
              </p:custDataLst>
            </p:nvPr>
          </p:nvCxnSpPr>
          <p:spPr bwMode="auto">
            <a:xfrm flipH="1" flipV="1">
              <a:off x="865501" y="2394325"/>
              <a:ext cx="1" cy="512771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TextBox 78"/>
            <p:cNvSpPr txBox="1"/>
            <p:nvPr/>
          </p:nvSpPr>
          <p:spPr>
            <a:xfrm>
              <a:off x="468981" y="3947299"/>
              <a:ext cx="870406" cy="21544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 defTabSz="457200"/>
              <a:r>
                <a:rPr lang="ru-RU" sz="1050" dirty="0">
                  <a:solidFill>
                    <a:srgbClr val="000000"/>
                  </a:solidFill>
                </a:rPr>
                <a:t>10.09.2019</a:t>
              </a: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2301177" y="3961623"/>
              <a:ext cx="870406" cy="21544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 defTabSz="457200"/>
              <a:r>
                <a:rPr lang="ru-RU" sz="1050" dirty="0">
                  <a:solidFill>
                    <a:srgbClr val="000000"/>
                  </a:solidFill>
                </a:rPr>
                <a:t>11.12.2019</a:t>
              </a:r>
            </a:p>
          </p:txBody>
        </p:sp>
        <p:sp>
          <p:nvSpPr>
            <p:cNvPr id="81" name="Прямоугольник 80"/>
            <p:cNvSpPr/>
            <p:nvPr/>
          </p:nvSpPr>
          <p:spPr>
            <a:xfrm>
              <a:off x="391617" y="2907096"/>
              <a:ext cx="947770" cy="91679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2" name="Прямоугольник 81"/>
            <p:cNvSpPr/>
            <p:nvPr/>
          </p:nvSpPr>
          <p:spPr>
            <a:xfrm>
              <a:off x="2223813" y="3190874"/>
              <a:ext cx="947770" cy="633011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3" name="Овал 28"/>
            <p:cNvSpPr/>
            <p:nvPr>
              <p:custDataLst>
                <p:tags r:id="rId22"/>
              </p:custDataLst>
            </p:nvPr>
          </p:nvSpPr>
          <p:spPr bwMode="gray">
            <a:xfrm>
              <a:off x="1393009" y="2227128"/>
              <a:ext cx="681038" cy="334391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 w="952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noAutofit/>
            </a:bodyPr>
            <a:lstStyle/>
            <a:p>
              <a:pPr algn="ctr" defTabSz="45720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sz="1400" b="1" dirty="0">
                  <a:solidFill>
                    <a:prstClr val="white"/>
                  </a:solidFill>
                  <a:cs typeface="Arial"/>
                </a:rPr>
                <a:t>-</a:t>
              </a:r>
              <a:r>
                <a:rPr lang="en-US" sz="1400" b="1" dirty="0">
                  <a:solidFill>
                    <a:prstClr val="white"/>
                  </a:solidFill>
                  <a:cs typeface="Arial"/>
                </a:rPr>
                <a:t>18</a:t>
              </a:r>
              <a:r>
                <a:rPr lang="ru-RU" sz="1400" b="1" dirty="0">
                  <a:solidFill>
                    <a:prstClr val="white"/>
                  </a:solidFill>
                  <a:cs typeface="Arial"/>
                </a:rPr>
                <a:t>%</a:t>
              </a:r>
              <a:endParaRPr lang="ru-RU" sz="1400" b="1" dirty="0">
                <a:solidFill>
                  <a:prstClr val="white"/>
                </a:solidFill>
                <a:cs typeface="Arial"/>
                <a:sym typeface="Arial"/>
              </a:endParaRPr>
            </a:p>
          </p:txBody>
        </p:sp>
      </p:grpSp>
      <p:grpSp>
        <p:nvGrpSpPr>
          <p:cNvPr id="84" name="Группа 83"/>
          <p:cNvGrpSpPr/>
          <p:nvPr/>
        </p:nvGrpSpPr>
        <p:grpSpPr>
          <a:xfrm>
            <a:off x="5978027" y="3389635"/>
            <a:ext cx="2779966" cy="1462455"/>
            <a:chOff x="391617" y="2227128"/>
            <a:chExt cx="2779966" cy="1949939"/>
          </a:xfrm>
        </p:grpSpPr>
        <p:cxnSp>
          <p:nvCxnSpPr>
            <p:cNvPr id="85" name="Прямая соединительная линия 29"/>
            <p:cNvCxnSpPr>
              <a:endCxn id="91" idx="0"/>
            </p:cNvCxnSpPr>
            <p:nvPr>
              <p:custDataLst>
                <p:tags r:id="rId15"/>
              </p:custDataLst>
            </p:nvPr>
          </p:nvCxnSpPr>
          <p:spPr bwMode="auto">
            <a:xfrm>
              <a:off x="2692155" y="2377774"/>
              <a:ext cx="5543" cy="126208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Прямая соединительная линия 30"/>
            <p:cNvCxnSpPr/>
            <p:nvPr>
              <p:custDataLst>
                <p:tags r:id="rId16"/>
              </p:custDataLst>
            </p:nvPr>
          </p:nvCxnSpPr>
          <p:spPr bwMode="auto">
            <a:xfrm flipV="1">
              <a:off x="865502" y="2394324"/>
              <a:ext cx="1828363" cy="1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Прямая соединительная линия 31"/>
            <p:cNvCxnSpPr>
              <a:stCxn id="90" idx="0"/>
            </p:cNvCxnSpPr>
            <p:nvPr>
              <p:custDataLst>
                <p:tags r:id="rId17"/>
              </p:custDataLst>
            </p:nvPr>
          </p:nvCxnSpPr>
          <p:spPr bwMode="auto">
            <a:xfrm flipV="1">
              <a:off x="865502" y="2394326"/>
              <a:ext cx="0" cy="739010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8" name="TextBox 87"/>
            <p:cNvSpPr txBox="1"/>
            <p:nvPr/>
          </p:nvSpPr>
          <p:spPr>
            <a:xfrm>
              <a:off x="468981" y="3947299"/>
              <a:ext cx="870406" cy="21544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 defTabSz="457200"/>
              <a:r>
                <a:rPr lang="ru-RU" sz="1050" dirty="0">
                  <a:solidFill>
                    <a:srgbClr val="000000"/>
                  </a:solidFill>
                </a:rPr>
                <a:t>10.09.2019</a:t>
              </a:r>
            </a:p>
          </p:txBody>
        </p:sp>
        <p:sp>
          <p:nvSpPr>
            <p:cNvPr id="89" name="TextBox 88"/>
            <p:cNvSpPr txBox="1"/>
            <p:nvPr/>
          </p:nvSpPr>
          <p:spPr>
            <a:xfrm>
              <a:off x="2301177" y="3961623"/>
              <a:ext cx="870406" cy="21544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 defTabSz="457200"/>
              <a:r>
                <a:rPr lang="ru-RU" sz="1050" dirty="0">
                  <a:solidFill>
                    <a:srgbClr val="000000"/>
                  </a:solidFill>
                </a:rPr>
                <a:t>11.12.2019</a:t>
              </a:r>
            </a:p>
          </p:txBody>
        </p:sp>
        <p:sp>
          <p:nvSpPr>
            <p:cNvPr id="90" name="Прямоугольник 89"/>
            <p:cNvSpPr/>
            <p:nvPr/>
          </p:nvSpPr>
          <p:spPr>
            <a:xfrm>
              <a:off x="391617" y="3133336"/>
              <a:ext cx="947770" cy="69054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1" name="Прямоугольник 90"/>
            <p:cNvSpPr/>
            <p:nvPr/>
          </p:nvSpPr>
          <p:spPr>
            <a:xfrm>
              <a:off x="2223813" y="2503982"/>
              <a:ext cx="947770" cy="1319904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2" name="Овал 28"/>
            <p:cNvSpPr/>
            <p:nvPr>
              <p:custDataLst>
                <p:tags r:id="rId18"/>
              </p:custDataLst>
            </p:nvPr>
          </p:nvSpPr>
          <p:spPr bwMode="gray">
            <a:xfrm>
              <a:off x="1393009" y="2227128"/>
              <a:ext cx="681038" cy="334391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 w="952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noAutofit/>
            </a:bodyPr>
            <a:lstStyle/>
            <a:p>
              <a:pPr algn="ctr" defTabSz="45720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sz="1400" b="1" dirty="0">
                  <a:solidFill>
                    <a:prstClr val="white"/>
                  </a:solidFill>
                  <a:cs typeface="Arial"/>
                </a:rPr>
                <a:t>+58%</a:t>
              </a:r>
              <a:endParaRPr lang="ru-RU" sz="1400" b="1" dirty="0">
                <a:solidFill>
                  <a:prstClr val="white"/>
                </a:solidFill>
                <a:cs typeface="Arial"/>
                <a:sym typeface="Arial"/>
              </a:endParaRPr>
            </a:p>
          </p:txBody>
        </p:sp>
      </p:grpSp>
      <p:sp>
        <p:nvSpPr>
          <p:cNvPr id="93" name="TextBox 92"/>
          <p:cNvSpPr txBox="1"/>
          <p:nvPr/>
        </p:nvSpPr>
        <p:spPr>
          <a:xfrm>
            <a:off x="6055391" y="2065016"/>
            <a:ext cx="930790" cy="276999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 defTabSz="457200"/>
            <a:r>
              <a:rPr lang="ru-RU" dirty="0">
                <a:solidFill>
                  <a:srgbClr val="000000"/>
                </a:solidFill>
              </a:rPr>
              <a:t>2</a:t>
            </a:r>
            <a:r>
              <a:rPr lang="en-US" dirty="0">
                <a:solidFill>
                  <a:srgbClr val="000000"/>
                </a:solidFill>
              </a:rPr>
              <a:t>87 </a:t>
            </a:r>
            <a:r>
              <a:rPr lang="ru-RU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7859699" y="2088111"/>
            <a:ext cx="976575" cy="276999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 defTabSz="457200"/>
            <a:r>
              <a:rPr lang="ru-RU" dirty="0">
                <a:solidFill>
                  <a:srgbClr val="000000"/>
                </a:solidFill>
              </a:rPr>
              <a:t>2</a:t>
            </a:r>
            <a:r>
              <a:rPr lang="en-US" dirty="0">
                <a:solidFill>
                  <a:srgbClr val="000000"/>
                </a:solidFill>
              </a:rPr>
              <a:t>35</a:t>
            </a:r>
            <a:r>
              <a:rPr lang="ru-RU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6063056" y="4289912"/>
            <a:ext cx="777711" cy="276999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 defTabSz="457200"/>
            <a:r>
              <a:rPr lang="en-US" dirty="0">
                <a:solidFill>
                  <a:srgbClr val="000000"/>
                </a:solidFill>
              </a:rPr>
              <a:t>54%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7895253" y="4276182"/>
            <a:ext cx="777711" cy="276999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 defTabSz="457200"/>
            <a:r>
              <a:rPr lang="en-US" dirty="0">
                <a:solidFill>
                  <a:srgbClr val="000000"/>
                </a:solidFill>
              </a:rPr>
              <a:t>92%</a:t>
            </a:r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5253" y="57562"/>
            <a:ext cx="1096963" cy="58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1" name="Прямоугольник 6"/>
          <p:cNvSpPr/>
          <p:nvPr>
            <p:custDataLst>
              <p:tags r:id="rId14"/>
            </p:custDataLst>
          </p:nvPr>
        </p:nvSpPr>
        <p:spPr>
          <a:xfrm>
            <a:off x="3327512" y="1683152"/>
            <a:ext cx="2422000" cy="286232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525463" indent="-171450">
              <a:buFont typeface="Arial" pitchFamily="34" charset="0"/>
              <a:buChar char="•"/>
            </a:pPr>
            <a:r>
              <a:rPr lang="ru-RU" sz="1200" b="1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практические навыки обслуживания Лоукостеров</a:t>
            </a:r>
          </a:p>
          <a:p>
            <a:pPr marL="525463" indent="-171450">
              <a:buFont typeface="Arial" pitchFamily="34" charset="0"/>
              <a:buChar char="•"/>
            </a:pPr>
            <a:endParaRPr lang="ru-RU" sz="1200" b="1" dirty="0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  <a:p>
            <a:pPr marL="525463" indent="-171450">
              <a:buFont typeface="Arial" pitchFamily="34" charset="0"/>
              <a:buChar char="•"/>
            </a:pPr>
            <a:r>
              <a:rPr lang="ru-RU" sz="1200" b="1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применение полученного опыта на других АК</a:t>
            </a:r>
          </a:p>
          <a:p>
            <a:pPr marL="525463" indent="-171450">
              <a:buFont typeface="Arial" pitchFamily="34" charset="0"/>
              <a:buChar char="•"/>
            </a:pPr>
            <a:endParaRPr lang="ru-RU" sz="1200" b="1" dirty="0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  <a:p>
            <a:pPr marL="525463" indent="-171450">
              <a:buFont typeface="Arial" pitchFamily="34" charset="0"/>
              <a:buChar char="•"/>
            </a:pPr>
            <a:r>
              <a:rPr lang="ru-RU" sz="1200" b="1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увеличение спроса на сокращённое оборотное время и повышение привлекательности (</a:t>
            </a:r>
            <a:r>
              <a:rPr lang="ru-RU" sz="1200" b="1" dirty="0" err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Руслайн</a:t>
            </a:r>
            <a:r>
              <a:rPr lang="ru-RU" sz="1200" b="1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и </a:t>
            </a:r>
            <a:r>
              <a:rPr lang="ru-RU" sz="1200" b="1" dirty="0" err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Ютейр</a:t>
            </a:r>
            <a:r>
              <a:rPr lang="ru-RU" sz="1200" b="1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06" name="Нашивка 26">
            <a:extLst>
              <a:ext uri="{FF2B5EF4-FFF2-40B4-BE49-F238E27FC236}">
                <a16:creationId xmlns:a16="http://schemas.microsoft.com/office/drawing/2014/main" id="{B2011075-00FB-BB46-8FF3-DA27B8A263E4}"/>
              </a:ext>
            </a:extLst>
          </p:cNvPr>
          <p:cNvSpPr/>
          <p:nvPr/>
        </p:nvSpPr>
        <p:spPr>
          <a:xfrm>
            <a:off x="3436823" y="1500762"/>
            <a:ext cx="204082" cy="3246458"/>
          </a:xfrm>
          <a:prstGeom prst="chevron">
            <a:avLst>
              <a:gd name="adj" fmla="val 100000"/>
            </a:avLst>
          </a:prstGeom>
          <a:ln w="6350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n>
                <a:solidFill>
                  <a:srgbClr val="00206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07" name="Нашивка 26">
            <a:extLst>
              <a:ext uri="{FF2B5EF4-FFF2-40B4-BE49-F238E27FC236}">
                <a16:creationId xmlns:a16="http://schemas.microsoft.com/office/drawing/2014/main" id="{B2011075-00FB-BB46-8FF3-DA27B8A263E4}"/>
              </a:ext>
            </a:extLst>
          </p:cNvPr>
          <p:cNvSpPr/>
          <p:nvPr/>
        </p:nvSpPr>
        <p:spPr>
          <a:xfrm flipH="1">
            <a:off x="5726516" y="1500762"/>
            <a:ext cx="126372" cy="3246455"/>
          </a:xfrm>
          <a:prstGeom prst="chevron">
            <a:avLst>
              <a:gd name="adj" fmla="val 100000"/>
            </a:avLst>
          </a:prstGeom>
          <a:ln w="6350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n>
                <a:solidFill>
                  <a:srgbClr val="002060"/>
                </a:solidFill>
              </a:ln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60455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 проекте_ для стартового совещания">
            <a:hlinkClick r:id="" action="ppaction://media"/>
            <a:extLst>
              <a:ext uri="{FF2B5EF4-FFF2-40B4-BE49-F238E27FC236}">
                <a16:creationId xmlns:a16="http://schemas.microsoft.com/office/drawing/2014/main" id="{BA2F09C5-649D-4EDA-BFAC-0B5125147F75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53448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80163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 fullScrn="1"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3992" y="186205"/>
            <a:ext cx="6251971" cy="43219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r>
              <a:rPr lang="ru-RU" sz="2100" b="1" dirty="0"/>
              <a:t>Информация о пилотном потоке</a:t>
            </a:r>
          </a:p>
        </p:txBody>
      </p:sp>
      <p:grpSp>
        <p:nvGrpSpPr>
          <p:cNvPr id="5" name="Группа 4"/>
          <p:cNvGrpSpPr/>
          <p:nvPr/>
        </p:nvGrpSpPr>
        <p:grpSpPr>
          <a:xfrm>
            <a:off x="283992" y="854010"/>
            <a:ext cx="8578067" cy="1874619"/>
            <a:chOff x="12334" y="711384"/>
            <a:chExt cx="9026893" cy="3332658"/>
          </a:xfrm>
        </p:grpSpPr>
        <p:sp>
          <p:nvSpPr>
            <p:cNvPr id="6" name="Rectangle 5"/>
            <p:cNvSpPr>
              <a:spLocks noChangeArrowheads="1"/>
            </p:cNvSpPr>
            <p:nvPr/>
          </p:nvSpPr>
          <p:spPr bwMode="gray">
            <a:xfrm>
              <a:off x="99185" y="1609696"/>
              <a:ext cx="8940042" cy="2428882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40505" tIns="40505" rIns="40505" bIns="40505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defTabSz="503635" eaLnBrk="1" hangingPunct="1">
                <a:buClr>
                  <a:srgbClr val="44546A"/>
                </a:buClr>
                <a:buSzPct val="120000"/>
                <a:defRPr/>
              </a:pPr>
              <a:endParaRPr lang="en-GB" sz="731" b="1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11" name="Прямоугольник 10"/>
            <p:cNvSpPr/>
            <p:nvPr/>
          </p:nvSpPr>
          <p:spPr>
            <a:xfrm>
              <a:off x="189996" y="1776092"/>
              <a:ext cx="3410073" cy="210701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defTabSz="514350" eaLnBrk="1" fontAlgn="auto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900" b="1" dirty="0">
                  <a:solidFill>
                    <a:schemeClr val="tx1"/>
                  </a:solidFill>
                  <a:cs typeface="Arial" panose="020B0604020202020204" pitchFamily="34" charset="0"/>
                </a:rPr>
                <a:t>ОСНОВНЫЕ НАПРАВЛЕНИЯ ОПТИМИЗАЦИИ ПОТОКА:</a:t>
              </a:r>
            </a:p>
            <a:p>
              <a:pPr marL="65485" lvl="3" indent="-65485" eaLnBrk="1" hangingPunct="1">
                <a:lnSpc>
                  <a:spcPct val="90000"/>
                </a:lnSpc>
                <a:spcBef>
                  <a:spcPts val="281"/>
                </a:spcBef>
                <a:buBlip>
                  <a:blip r:embed="rId2"/>
                </a:buBlip>
              </a:pPr>
              <a:r>
                <a:rPr lang="ru-RU" sz="900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Снижение излишнего перемещения;</a:t>
              </a:r>
            </a:p>
            <a:p>
              <a:pPr marL="65485" lvl="3" indent="-65485" eaLnBrk="1" hangingPunct="1">
                <a:lnSpc>
                  <a:spcPct val="90000"/>
                </a:lnSpc>
                <a:spcBef>
                  <a:spcPts val="281"/>
                </a:spcBef>
                <a:buBlip>
                  <a:blip r:embed="rId2"/>
                </a:buBlip>
              </a:pPr>
              <a:r>
                <a:rPr lang="ru-RU" sz="900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Выравнивание потока создания ценности;</a:t>
              </a:r>
            </a:p>
            <a:p>
              <a:pPr marL="65485" lvl="3" indent="-65485" eaLnBrk="1" hangingPunct="1">
                <a:lnSpc>
                  <a:spcPct val="90000"/>
                </a:lnSpc>
                <a:spcBef>
                  <a:spcPts val="281"/>
                </a:spcBef>
                <a:buBlip>
                  <a:blip r:embed="rId2"/>
                </a:buBlip>
              </a:pPr>
              <a:r>
                <a:rPr lang="ru-RU" sz="900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Сбалансированная загрузка линии </a:t>
              </a:r>
              <a:r>
                <a:rPr lang="en-US" sz="900" dirty="0" err="1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ommer</a:t>
              </a:r>
              <a:r>
                <a:rPr lang="ru-RU" sz="900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;</a:t>
              </a:r>
              <a:endParaRPr lang="en-US" sz="9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65485" lvl="3" indent="-65485" eaLnBrk="1" hangingPunct="1">
                <a:lnSpc>
                  <a:spcPct val="90000"/>
                </a:lnSpc>
                <a:spcBef>
                  <a:spcPts val="281"/>
                </a:spcBef>
                <a:buBlip>
                  <a:blip r:embed="rId2"/>
                </a:buBlip>
              </a:pPr>
              <a:r>
                <a:rPr lang="ru-RU" sz="900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Обеспечение потока всеми входящими комплектующими материалами;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12334" y="711384"/>
              <a:ext cx="3591697" cy="82894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eaLnBrk="1" hangingPunct="1">
                <a:lnSpc>
                  <a:spcPct val="90000"/>
                </a:lnSpc>
                <a:spcBef>
                  <a:spcPts val="563"/>
                </a:spcBef>
              </a:pPr>
              <a:r>
                <a:rPr lang="ru-RU" sz="900" b="1" dirty="0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Повышение производительности труда на потоке производства ЖБИ циркуляционной линией </a:t>
              </a:r>
              <a:r>
                <a:rPr lang="en-US" sz="900" b="1" dirty="0" err="1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ommer</a:t>
              </a:r>
              <a:endParaRPr lang="ru-RU" sz="900" b="1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3690881" y="1032359"/>
              <a:ext cx="1785993" cy="566309"/>
            </a:xfrm>
            <a:prstGeom prst="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8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Время протекания процесса (ВПП), дни</a:t>
              </a:r>
              <a:endParaRPr lang="ru-RU" sz="6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5472168" y="1032359"/>
              <a:ext cx="1785600" cy="566309"/>
            </a:xfrm>
            <a:prstGeom prst="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8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Незавершенное производство (НЗП), </a:t>
              </a:r>
              <a:r>
                <a:rPr lang="ru-RU" sz="8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шт</a:t>
              </a:r>
              <a:endParaRPr lang="ru-RU" sz="6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7261219" y="1032359"/>
              <a:ext cx="1778008" cy="566309"/>
            </a:xfrm>
            <a:prstGeom prst="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Выработка, шт.</a:t>
              </a:r>
              <a:r>
                <a:rPr lang="en-US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/</a:t>
              </a:r>
              <a:r>
                <a:rPr lang="ru-RU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в сутки</a:t>
              </a:r>
              <a:endParaRPr lang="ru-RU" sz="7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cxnSp>
          <p:nvCxnSpPr>
            <p:cNvPr id="16" name="Прямая соединительная линия 15"/>
            <p:cNvCxnSpPr/>
            <p:nvPr/>
          </p:nvCxnSpPr>
          <p:spPr>
            <a:xfrm>
              <a:off x="3690882" y="1620623"/>
              <a:ext cx="0" cy="2423419"/>
            </a:xfrm>
            <a:prstGeom prst="line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</p:cxnSp>
        <p:cxnSp>
          <p:nvCxnSpPr>
            <p:cNvPr id="17" name="Прямая соединительная линия 16"/>
            <p:cNvCxnSpPr/>
            <p:nvPr/>
          </p:nvCxnSpPr>
          <p:spPr>
            <a:xfrm>
              <a:off x="5476875" y="1598668"/>
              <a:ext cx="0" cy="2423419"/>
            </a:xfrm>
            <a:prstGeom prst="line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</p:cxnSp>
        <p:cxnSp>
          <p:nvCxnSpPr>
            <p:cNvPr id="18" name="Прямая соединительная линия 17"/>
            <p:cNvCxnSpPr/>
            <p:nvPr/>
          </p:nvCxnSpPr>
          <p:spPr>
            <a:xfrm>
              <a:off x="7256512" y="1615158"/>
              <a:ext cx="0" cy="2423419"/>
            </a:xfrm>
            <a:prstGeom prst="line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</p:cxnSp>
      </p:grpSp>
      <p:graphicFrame>
        <p:nvGraphicFramePr>
          <p:cNvPr id="19" name="Диаграмма 18"/>
          <p:cNvGraphicFramePr/>
          <p:nvPr>
            <p:extLst>
              <p:ext uri="{D42A27DB-BD31-4B8C-83A1-F6EECF244321}">
                <p14:modId xmlns:p14="http://schemas.microsoft.com/office/powerpoint/2010/main" val="3075970045"/>
              </p:ext>
            </p:extLst>
          </p:nvPr>
        </p:nvGraphicFramePr>
        <p:xfrm>
          <a:off x="3901394" y="1365455"/>
          <a:ext cx="1343109" cy="13631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1" name="Диаграмма 20"/>
          <p:cNvGraphicFramePr/>
          <p:nvPr>
            <p:extLst>
              <p:ext uri="{D42A27DB-BD31-4B8C-83A1-F6EECF244321}">
                <p14:modId xmlns:p14="http://schemas.microsoft.com/office/powerpoint/2010/main" val="952676535"/>
              </p:ext>
            </p:extLst>
          </p:nvPr>
        </p:nvGraphicFramePr>
        <p:xfrm>
          <a:off x="7348766" y="1365455"/>
          <a:ext cx="1343109" cy="13631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5" name="Диаграмма 24"/>
          <p:cNvGraphicFramePr/>
          <p:nvPr>
            <p:extLst>
              <p:ext uri="{D42A27DB-BD31-4B8C-83A1-F6EECF244321}">
                <p14:modId xmlns:p14="http://schemas.microsoft.com/office/powerpoint/2010/main" val="2921401306"/>
              </p:ext>
            </p:extLst>
          </p:nvPr>
        </p:nvGraphicFramePr>
        <p:xfrm>
          <a:off x="5614268" y="1353105"/>
          <a:ext cx="1343109" cy="13631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9" name="Прямоугольник 28"/>
          <p:cNvSpPr/>
          <p:nvPr/>
        </p:nvSpPr>
        <p:spPr>
          <a:xfrm>
            <a:off x="366525" y="2927305"/>
            <a:ext cx="2767382" cy="1751375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400" b="1" dirty="0"/>
              <a:t>О продукте:</a:t>
            </a:r>
          </a:p>
          <a:p>
            <a:pPr marL="0" lvl="3" eaLnBrk="1" hangingPunct="1">
              <a:lnSpc>
                <a:spcPct val="90000"/>
              </a:lnSpc>
              <a:spcBef>
                <a:spcPts val="281"/>
              </a:spcBef>
            </a:pPr>
            <a:r>
              <a:rPr lang="ru-RU" sz="1100" u="sng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Железобетонные стеновые панели (ЖСП) </a:t>
            </a:r>
            <a:r>
              <a:rPr lang="ru-RU" sz="11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 — </a:t>
            </a:r>
            <a:r>
              <a:rPr lang="ru-RU" sz="1100" dirty="0"/>
              <a:t>Представляют собою бетонную конструкцию с каркасом из арматуры. </a:t>
            </a:r>
            <a:r>
              <a:rPr lang="ru-RU" sz="11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87" b="2875"/>
          <a:stretch/>
        </p:blipFill>
        <p:spPr>
          <a:xfrm>
            <a:off x="5505181" y="2867939"/>
            <a:ext cx="3376421" cy="192504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0443" y="149624"/>
            <a:ext cx="811159" cy="651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Диаграмма 7">
            <a:extLst>
              <a:ext uri="{FF2B5EF4-FFF2-40B4-BE49-F238E27FC236}">
                <a16:creationId xmlns:a16="http://schemas.microsoft.com/office/drawing/2014/main" id="{012E96E7-7786-4F60-8046-AD5F5B94AE8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59425737"/>
              </p:ext>
            </p:extLst>
          </p:nvPr>
        </p:nvGraphicFramePr>
        <p:xfrm>
          <a:off x="3264247" y="2928898"/>
          <a:ext cx="2110595" cy="19250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9997413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5926" y="211274"/>
            <a:ext cx="834904" cy="640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Заголовок 1"/>
          <p:cNvSpPr txBox="1">
            <a:spLocks/>
          </p:cNvSpPr>
          <p:nvPr/>
        </p:nvSpPr>
        <p:spPr bwMode="auto">
          <a:xfrm>
            <a:off x="243169" y="313980"/>
            <a:ext cx="7640609" cy="538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kern="120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marL="0" lvl="1" defTabSz="685800"/>
            <a:r>
              <a:rPr lang="ru-RU" sz="1400" dirty="0">
                <a:solidFill>
                  <a:srgbClr val="0070C0"/>
                </a:solidFill>
              </a:rPr>
              <a:t>Решение: </a:t>
            </a:r>
          </a:p>
          <a:p>
            <a:pPr marL="0" lvl="1" defTabSz="685800"/>
            <a:r>
              <a:rPr lang="ru-RU" sz="1400" dirty="0">
                <a:solidFill>
                  <a:schemeClr val="tx2"/>
                </a:solidFill>
              </a:rPr>
              <a:t>Создание эталонного участка</a:t>
            </a:r>
            <a:r>
              <a:rPr lang="en-US" sz="1400" dirty="0">
                <a:solidFill>
                  <a:schemeClr val="tx2"/>
                </a:solidFill>
              </a:rPr>
              <a:t> </a:t>
            </a:r>
            <a:r>
              <a:rPr lang="ru-RU" sz="1400" dirty="0">
                <a:solidFill>
                  <a:schemeClr val="tx2"/>
                </a:solidFill>
              </a:rPr>
              <a:t>по производству ЗД у линии </a:t>
            </a:r>
            <a:r>
              <a:rPr lang="en-US" sz="1400" dirty="0" err="1">
                <a:solidFill>
                  <a:schemeClr val="tx2"/>
                </a:solidFill>
              </a:rPr>
              <a:t>Sommer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>
                <a:solidFill>
                  <a:srgbClr val="0070C0"/>
                </a:solidFill>
              </a:rPr>
              <a:t>(снижение переходов, пересмотр технология изготовления закладных деталей).</a:t>
            </a:r>
            <a:br>
              <a:rPr lang="ru-RU" sz="1400" dirty="0">
                <a:solidFill>
                  <a:srgbClr val="0070C0"/>
                </a:solidFill>
              </a:rPr>
            </a:br>
            <a:endParaRPr lang="ru-RU" sz="1400" kern="0" dirty="0">
              <a:solidFill>
                <a:srgbClr val="1E86C8"/>
              </a:solidFill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638960" y="3493940"/>
            <a:ext cx="1982381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05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злишняя транспортировка из-за территориальной удаленности постов по производству закладных деталей.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3461979" y="3519791"/>
            <a:ext cx="2120821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часток закладных деталей создан на новом месте с новой планировкой и инженерными сетями и новой технологией.</a:t>
            </a: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575" y="1431673"/>
            <a:ext cx="2581870" cy="1788622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2207" y="1431673"/>
            <a:ext cx="2487891" cy="1905736"/>
          </a:xfrm>
          <a:prstGeom prst="rect">
            <a:avLst/>
          </a:prstGeom>
        </p:spPr>
      </p:pic>
      <p:graphicFrame>
        <p:nvGraphicFramePr>
          <p:cNvPr id="31" name="Диаграмма 30"/>
          <p:cNvGraphicFramePr/>
          <p:nvPr>
            <p:extLst>
              <p:ext uri="{D42A27DB-BD31-4B8C-83A1-F6EECF244321}">
                <p14:modId xmlns:p14="http://schemas.microsoft.com/office/powerpoint/2010/main" val="3312068747"/>
              </p:ext>
            </p:extLst>
          </p:nvPr>
        </p:nvGraphicFramePr>
        <p:xfrm>
          <a:off x="6210531" y="1615447"/>
          <a:ext cx="2582949" cy="21075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2" name="Прямоугольник 31"/>
          <p:cNvSpPr/>
          <p:nvPr/>
        </p:nvSpPr>
        <p:spPr>
          <a:xfrm>
            <a:off x="552845" y="4506249"/>
            <a:ext cx="2035931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2160" b="0" i="0" u="none" strike="noStrike" kern="1200" baseline="0">
                <a:solidFill>
                  <a:srgbClr val="171616"/>
                </a:solidFill>
                <a:latin typeface="+mn-lt"/>
                <a:ea typeface="+mn-ea"/>
                <a:cs typeface="+mn-cs"/>
              </a:defRPr>
            </a:pPr>
            <a:r>
              <a:rPr lang="ru-RU" sz="1500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ыло 457 м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3448186" y="4468763"/>
            <a:ext cx="2035931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2160" b="0" i="0" u="none" strike="noStrike" kern="1200" baseline="0">
                <a:solidFill>
                  <a:srgbClr val="171616"/>
                </a:solidFill>
                <a:latin typeface="+mn-lt"/>
                <a:ea typeface="+mn-ea"/>
                <a:cs typeface="+mn-cs"/>
              </a:defRPr>
            </a:pPr>
            <a:r>
              <a:rPr lang="ru-RU" sz="1500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ало 64 м</a:t>
            </a:r>
          </a:p>
        </p:txBody>
      </p: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3BFE558D-A2A4-4BC5-B947-9212660A0B38}"/>
              </a:ext>
            </a:extLst>
          </p:cNvPr>
          <p:cNvGrpSpPr/>
          <p:nvPr/>
        </p:nvGrpSpPr>
        <p:grpSpPr>
          <a:xfrm>
            <a:off x="289560" y="849806"/>
            <a:ext cx="8260080" cy="3935553"/>
            <a:chOff x="142844" y="1133075"/>
            <a:chExt cx="8688058" cy="3661613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C336C49-192E-4DBD-BF27-41368C30525B}"/>
                </a:ext>
              </a:extLst>
            </p:cNvPr>
            <p:cNvSpPr txBox="1"/>
            <p:nvPr/>
          </p:nvSpPr>
          <p:spPr>
            <a:xfrm>
              <a:off x="6234118" y="1252339"/>
              <a:ext cx="1630679" cy="325952"/>
            </a:xfrm>
            <a:prstGeom prst="rect">
              <a:avLst/>
            </a:prstGeom>
            <a:noFill/>
          </p:spPr>
          <p:txBody>
            <a:bodyPr wrap="square" lIns="0" tIns="0" rIns="0" bIns="13500" rtlCol="0">
              <a:spAutoFit/>
            </a:bodyPr>
            <a:lstStyle/>
            <a:p>
              <a:r>
                <a:rPr lang="ru-RU" sz="15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езультат</a:t>
              </a:r>
            </a:p>
          </p:txBody>
        </p:sp>
        <p:sp>
          <p:nvSpPr>
            <p:cNvPr id="26" name="Нашивка 26">
              <a:extLst>
                <a:ext uri="{FF2B5EF4-FFF2-40B4-BE49-F238E27FC236}">
                  <a16:creationId xmlns:a16="http://schemas.microsoft.com/office/drawing/2014/main" id="{E5EF5FB8-84DA-40C2-9CE9-9A8ED122706A}"/>
                </a:ext>
              </a:extLst>
            </p:cNvPr>
            <p:cNvSpPr/>
            <p:nvPr/>
          </p:nvSpPr>
          <p:spPr>
            <a:xfrm>
              <a:off x="5954152" y="1133075"/>
              <a:ext cx="172635" cy="3661613"/>
            </a:xfrm>
            <a:prstGeom prst="chevron">
              <a:avLst>
                <a:gd name="adj" fmla="val 100000"/>
              </a:avLst>
            </a:prstGeom>
            <a:ln w="7620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n>
                  <a:solidFill>
                    <a:srgbClr val="002060"/>
                  </a:solidFill>
                </a:ln>
                <a:solidFill>
                  <a:schemeClr val="tx1"/>
                </a:solidFill>
              </a:endParaRPr>
            </a:p>
          </p:txBody>
        </p:sp>
        <p:cxnSp>
          <p:nvCxnSpPr>
            <p:cNvPr id="27" name="Straight Connector 38">
              <a:extLst>
                <a:ext uri="{FF2B5EF4-FFF2-40B4-BE49-F238E27FC236}">
                  <a16:creationId xmlns:a16="http://schemas.microsoft.com/office/drawing/2014/main" id="{E9F8C30B-A349-411E-BCCE-9D714C155DD4}"/>
                </a:ext>
              </a:extLst>
            </p:cNvPr>
            <p:cNvCxnSpPr/>
            <p:nvPr/>
          </p:nvCxnSpPr>
          <p:spPr>
            <a:xfrm>
              <a:off x="6234118" y="1578291"/>
              <a:ext cx="2596784" cy="0"/>
            </a:xfrm>
            <a:prstGeom prst="line">
              <a:avLst/>
            </a:prstGeom>
            <a:ln w="190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38">
              <a:extLst>
                <a:ext uri="{FF2B5EF4-FFF2-40B4-BE49-F238E27FC236}">
                  <a16:creationId xmlns:a16="http://schemas.microsoft.com/office/drawing/2014/main" id="{B0353633-A715-4E86-851A-5656F071AAF6}"/>
                </a:ext>
              </a:extLst>
            </p:cNvPr>
            <p:cNvCxnSpPr/>
            <p:nvPr/>
          </p:nvCxnSpPr>
          <p:spPr>
            <a:xfrm>
              <a:off x="142844" y="1582476"/>
              <a:ext cx="2596784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DF695290-3A5A-4504-82F9-9443521BFAB4}"/>
                </a:ext>
              </a:extLst>
            </p:cNvPr>
            <p:cNvSpPr txBox="1"/>
            <p:nvPr/>
          </p:nvSpPr>
          <p:spPr>
            <a:xfrm>
              <a:off x="3368872" y="1252339"/>
              <a:ext cx="1630679" cy="325952"/>
            </a:xfrm>
            <a:prstGeom prst="rect">
              <a:avLst/>
            </a:prstGeom>
            <a:noFill/>
          </p:spPr>
          <p:txBody>
            <a:bodyPr wrap="square" lIns="0" tIns="0" rIns="0" bIns="13500" rtlCol="0">
              <a:spAutoFit/>
            </a:bodyPr>
            <a:lstStyle>
              <a:defPPr>
                <a:defRPr lang="ru-RU"/>
              </a:defPPr>
              <a:lvl1pPr>
                <a:defRPr sz="2000" b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ru-RU" sz="1500" dirty="0">
                  <a:solidFill>
                    <a:srgbClr val="00B050"/>
                  </a:solidFill>
                </a:rPr>
                <a:t>Решение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34C8026F-78AD-46BB-B7E4-F4CAB091EA88}"/>
                </a:ext>
              </a:extLst>
            </p:cNvPr>
            <p:cNvSpPr txBox="1"/>
            <p:nvPr/>
          </p:nvSpPr>
          <p:spPr>
            <a:xfrm>
              <a:off x="188487" y="1252339"/>
              <a:ext cx="1630679" cy="325952"/>
            </a:xfrm>
            <a:prstGeom prst="rect">
              <a:avLst/>
            </a:prstGeom>
            <a:noFill/>
          </p:spPr>
          <p:txBody>
            <a:bodyPr wrap="square" lIns="0" tIns="0" rIns="0" bIns="13500" rtlCol="0">
              <a:spAutoFit/>
            </a:bodyPr>
            <a:lstStyle>
              <a:defPPr>
                <a:defRPr lang="ru-RU"/>
              </a:defPPr>
              <a:lvl1pPr>
                <a:defRPr sz="2000" b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ru-RU" sz="1500" dirty="0">
                  <a:solidFill>
                    <a:srgbClr val="FF0000"/>
                  </a:solidFill>
                </a:rPr>
                <a:t>Проблема</a:t>
              </a:r>
            </a:p>
          </p:txBody>
        </p:sp>
        <p:cxnSp>
          <p:nvCxnSpPr>
            <p:cNvPr id="35" name="Straight Connector 38">
              <a:extLst>
                <a:ext uri="{FF2B5EF4-FFF2-40B4-BE49-F238E27FC236}">
                  <a16:creationId xmlns:a16="http://schemas.microsoft.com/office/drawing/2014/main" id="{8177A40F-6B73-4971-9561-1466148479D6}"/>
                </a:ext>
              </a:extLst>
            </p:cNvPr>
            <p:cNvCxnSpPr/>
            <p:nvPr/>
          </p:nvCxnSpPr>
          <p:spPr>
            <a:xfrm>
              <a:off x="3263750" y="1581170"/>
              <a:ext cx="2596784" cy="0"/>
            </a:xfrm>
            <a:prstGeom prst="line">
              <a:avLst/>
            </a:prstGeom>
            <a:ln w="1905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7223748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135" y="2156554"/>
            <a:ext cx="6513622" cy="2726675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06705" y="102880"/>
            <a:ext cx="4265296" cy="432197"/>
          </a:xfrm>
        </p:spPr>
        <p:txBody>
          <a:bodyPr/>
          <a:lstStyle/>
          <a:p>
            <a:r>
              <a:rPr lang="ru-RU" dirty="0">
                <a:latin typeface="PT Sans"/>
              </a:rPr>
              <a:t>Участок образец: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47136" y="582757"/>
            <a:ext cx="4705864" cy="1537538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1050" b="1" dirty="0">
                <a:solidFill>
                  <a:schemeClr val="tx2"/>
                </a:solidFill>
                <a:latin typeface="PT Sans"/>
              </a:rPr>
              <a:t>Критерии выбора участка образца:</a:t>
            </a:r>
          </a:p>
          <a:p>
            <a:pPr marL="171450" indent="-171450">
              <a:buAutoNum type="arabicPeriod"/>
            </a:pPr>
            <a:r>
              <a:rPr lang="ru-RU" sz="105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Проблемы с обеспечением комплектности пространственных каркасов (нехватка закладных деталей).</a:t>
            </a:r>
          </a:p>
          <a:p>
            <a:pPr marL="171450" indent="-171450">
              <a:buAutoNum type="arabicPeriod"/>
            </a:pPr>
            <a:r>
              <a:rPr lang="ru-RU" sz="105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Нестабильная работа заготовительного участка производства закладных деталей.</a:t>
            </a:r>
          </a:p>
          <a:p>
            <a:pPr marL="171450" indent="-171450">
              <a:buAutoNum type="arabicPeriod"/>
            </a:pPr>
            <a:r>
              <a:rPr lang="ru-RU" sz="105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Участок производства основных закладных деталей сформирован в разных  производственных корпусах. Длинная логистика, большое количество НЗП, долгое ВПП.</a:t>
            </a:r>
          </a:p>
          <a:p>
            <a:pPr marL="0" indent="0">
              <a:buNone/>
            </a:pPr>
            <a:endParaRPr lang="ru-RU" sz="1050" b="1" dirty="0">
              <a:solidFill>
                <a:schemeClr val="tx2"/>
              </a:solidFill>
              <a:latin typeface="PT San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894704" y="571336"/>
            <a:ext cx="3132348" cy="230824"/>
          </a:xfrm>
          <a:prstGeom prst="rect">
            <a:avLst/>
          </a:prstGeom>
          <a:noFill/>
        </p:spPr>
        <p:txBody>
          <a:bodyPr wrap="square" lIns="68572" tIns="34286" rIns="68572" bIns="34286" rtlCol="0">
            <a:spAutoFit/>
          </a:bodyPr>
          <a:lstStyle/>
          <a:p>
            <a:r>
              <a:rPr lang="ru-RU" sz="1050" b="1" dirty="0">
                <a:solidFill>
                  <a:schemeClr val="tx2"/>
                </a:solidFill>
              </a:rPr>
              <a:t>Текущие показатели работы участка: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6137" y="151050"/>
            <a:ext cx="811159" cy="651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7549734"/>
              </p:ext>
            </p:extLst>
          </p:nvPr>
        </p:nvGraphicFramePr>
        <p:xfrm>
          <a:off x="4953000" y="823636"/>
          <a:ext cx="3795709" cy="19729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3723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116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116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2017">
                <a:tc>
                  <a:txBody>
                    <a:bodyPr/>
                    <a:lstStyle/>
                    <a:p>
                      <a:r>
                        <a:rPr lang="ru-RU" sz="1050" b="1" dirty="0">
                          <a:solidFill>
                            <a:schemeClr val="tx2"/>
                          </a:solidFill>
                          <a:latin typeface="PT Sans"/>
                        </a:rPr>
                        <a:t>Показатель</a:t>
                      </a:r>
                    </a:p>
                  </a:txBody>
                  <a:tcPr marL="68580" marR="68580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="1" dirty="0">
                          <a:solidFill>
                            <a:schemeClr val="tx2"/>
                          </a:solidFill>
                          <a:latin typeface="PT Sans"/>
                        </a:rPr>
                        <a:t>До</a:t>
                      </a:r>
                    </a:p>
                  </a:txBody>
                  <a:tcPr marL="68580" marR="68580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="1" dirty="0">
                          <a:solidFill>
                            <a:schemeClr val="tx2"/>
                          </a:solidFill>
                          <a:latin typeface="PT Sans"/>
                        </a:rPr>
                        <a:t>После</a:t>
                      </a:r>
                    </a:p>
                  </a:txBody>
                  <a:tcPr marL="68580" marR="68580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711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>
                          <a:solidFill>
                            <a:schemeClr val="tx1"/>
                          </a:solidFill>
                          <a:latin typeface="+mn-lt"/>
                        </a:rPr>
                        <a:t>ВПП изготовления ЗД, (дней)</a:t>
                      </a:r>
                      <a:endParaRPr lang="ru-RU" sz="1100" i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>
                          <a:solidFill>
                            <a:srgbClr val="FF0000"/>
                          </a:solidFill>
                          <a:latin typeface="+mn-lt"/>
                        </a:rPr>
                        <a:t>8,5</a:t>
                      </a:r>
                    </a:p>
                  </a:txBody>
                  <a:tcPr marL="68580" marR="68580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solidFill>
                            <a:srgbClr val="00B050"/>
                          </a:solidFill>
                          <a:latin typeface="+mn-lt"/>
                        </a:rPr>
                        <a:t>3,4</a:t>
                      </a:r>
                    </a:p>
                  </a:txBody>
                  <a:tcPr marL="68580" marR="68580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435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>
                          <a:solidFill>
                            <a:schemeClr val="tx1"/>
                          </a:solidFill>
                          <a:latin typeface="+mn-lt"/>
                        </a:rPr>
                        <a:t>НЗП в</a:t>
                      </a:r>
                      <a:r>
                        <a:rPr lang="ru-RU" sz="1100" baseline="0" dirty="0">
                          <a:solidFill>
                            <a:schemeClr val="tx1"/>
                          </a:solidFill>
                          <a:latin typeface="+mn-lt"/>
                        </a:rPr>
                        <a:t> потоке </a:t>
                      </a:r>
                      <a:r>
                        <a:rPr lang="ru-RU" sz="110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изг</a:t>
                      </a:r>
                      <a:r>
                        <a:rPr lang="ru-RU" sz="1100" baseline="0" dirty="0">
                          <a:solidFill>
                            <a:schemeClr val="tx1"/>
                          </a:solidFill>
                          <a:latin typeface="+mn-lt"/>
                        </a:rPr>
                        <a:t>-я ЗД</a:t>
                      </a:r>
                      <a:r>
                        <a:rPr lang="ru-RU" sz="1100" dirty="0">
                          <a:solidFill>
                            <a:schemeClr val="tx1"/>
                          </a:solidFill>
                          <a:latin typeface="+mn-lt"/>
                        </a:rPr>
                        <a:t>, (тонн)</a:t>
                      </a:r>
                    </a:p>
                  </a:txBody>
                  <a:tcPr marL="68580" marR="68580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>
                          <a:solidFill>
                            <a:srgbClr val="FF0000"/>
                          </a:solidFill>
                          <a:latin typeface="+mn-lt"/>
                        </a:rPr>
                        <a:t>28,5</a:t>
                      </a:r>
                    </a:p>
                  </a:txBody>
                  <a:tcPr marL="68580" marR="68580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solidFill>
                            <a:srgbClr val="00B050"/>
                          </a:solidFill>
                          <a:latin typeface="+mn-lt"/>
                        </a:rPr>
                        <a:t>18</a:t>
                      </a:r>
                    </a:p>
                  </a:txBody>
                  <a:tcPr marL="68580" marR="68580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881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40" dirty="0">
                          <a:solidFill>
                            <a:schemeClr val="tx1"/>
                          </a:solidFill>
                          <a:latin typeface="+mn-lt"/>
                        </a:rPr>
                        <a:t>Выработка  в сутки</a:t>
                      </a:r>
                      <a:r>
                        <a:rPr lang="ru-RU" sz="1100" spc="-40" baseline="0" dirty="0">
                          <a:solidFill>
                            <a:schemeClr val="tx1"/>
                          </a:solidFill>
                          <a:latin typeface="+mn-lt"/>
                        </a:rPr>
                        <a:t> ЗД, </a:t>
                      </a:r>
                      <a:r>
                        <a:rPr lang="ru-RU" sz="1100" spc="-40" dirty="0">
                          <a:solidFill>
                            <a:schemeClr val="tx1"/>
                          </a:solidFill>
                          <a:latin typeface="+mn-lt"/>
                        </a:rPr>
                        <a:t>(шт./чел.)</a:t>
                      </a:r>
                    </a:p>
                  </a:txBody>
                  <a:tcPr marL="68580" marR="68580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dirty="0">
                          <a:solidFill>
                            <a:srgbClr val="FF0000"/>
                          </a:solidFill>
                          <a:latin typeface="+mn-lt"/>
                          <a:cs typeface="Aharoni" panose="02010803020104030203" pitchFamily="2" charset="-79"/>
                        </a:rPr>
                        <a:t>131</a:t>
                      </a:r>
                    </a:p>
                  </a:txBody>
                  <a:tcPr marL="68580" marR="68580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solidFill>
                            <a:srgbClr val="00B050"/>
                          </a:solidFill>
                          <a:latin typeface="+mn-lt"/>
                        </a:rPr>
                        <a:t>183</a:t>
                      </a:r>
                    </a:p>
                  </a:txBody>
                  <a:tcPr marL="68580" marR="68580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061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40" dirty="0">
                          <a:solidFill>
                            <a:schemeClr val="tx1"/>
                          </a:solidFill>
                          <a:latin typeface="+mn-lt"/>
                        </a:rPr>
                        <a:t>Логистика</a:t>
                      </a:r>
                      <a:r>
                        <a:rPr lang="en-US" sz="1100" spc="-4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spc="-40" baseline="0" dirty="0">
                          <a:solidFill>
                            <a:schemeClr val="tx1"/>
                          </a:solidFill>
                          <a:latin typeface="+mn-lt"/>
                        </a:rPr>
                        <a:t> участка ЗД, </a:t>
                      </a:r>
                      <a:r>
                        <a:rPr lang="ru-RU" sz="1100" spc="-40" dirty="0">
                          <a:solidFill>
                            <a:schemeClr val="tx1"/>
                          </a:solidFill>
                          <a:latin typeface="+mn-lt"/>
                        </a:rPr>
                        <a:t>(метр)</a:t>
                      </a:r>
                    </a:p>
                  </a:txBody>
                  <a:tcPr marL="68580" marR="68580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>
                          <a:solidFill>
                            <a:srgbClr val="FF0000"/>
                          </a:solidFill>
                          <a:latin typeface="+mn-lt"/>
                        </a:rPr>
                        <a:t>393</a:t>
                      </a:r>
                    </a:p>
                  </a:txBody>
                  <a:tcPr marL="68580" marR="68580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solidFill>
                            <a:srgbClr val="00B050"/>
                          </a:solidFill>
                          <a:latin typeface="+mn-lt"/>
                        </a:rPr>
                        <a:t>115</a:t>
                      </a:r>
                    </a:p>
                  </a:txBody>
                  <a:tcPr marL="68580" marR="68580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2143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3534742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3158" y="107835"/>
            <a:ext cx="8335961" cy="432197"/>
          </a:xfrm>
        </p:spPr>
        <p:txBody>
          <a:bodyPr/>
          <a:lstStyle/>
          <a:p>
            <a:r>
              <a:rPr lang="ru-RU" dirty="0"/>
              <a:t>Участок образец: </a:t>
            </a:r>
            <a:r>
              <a:rPr lang="ru-RU" sz="1800" dirty="0"/>
              <a:t>Организация производства</a:t>
            </a:r>
            <a:endParaRPr lang="ru-RU" sz="15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12414" y="614880"/>
            <a:ext cx="3299991" cy="253908"/>
          </a:xfrm>
          <a:prstGeom prst="rect">
            <a:avLst/>
          </a:prstGeom>
        </p:spPr>
        <p:txBody>
          <a:bodyPr wrap="square" lIns="68572" tIns="34286" rIns="68572" bIns="34286">
            <a:spAutoFit/>
          </a:bodyPr>
          <a:lstStyle/>
          <a:p>
            <a:pPr algn="ctr"/>
            <a:r>
              <a:rPr lang="ru-RU" sz="1200" dirty="0">
                <a:solidFill>
                  <a:schemeClr val="tx2"/>
                </a:solidFill>
                <a:latin typeface="PT Sans"/>
              </a:rPr>
              <a:t>Производственный анализ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4176307" y="614880"/>
            <a:ext cx="3469650" cy="253908"/>
          </a:xfrm>
          <a:prstGeom prst="rect">
            <a:avLst/>
          </a:prstGeom>
        </p:spPr>
        <p:txBody>
          <a:bodyPr wrap="square" lIns="68572" tIns="34286" rIns="68572" bIns="34286">
            <a:spAutoFit/>
          </a:bodyPr>
          <a:lstStyle/>
          <a:p>
            <a:pPr algn="ctr"/>
            <a:r>
              <a:rPr lang="ru-RU" sz="1200" dirty="0">
                <a:solidFill>
                  <a:schemeClr val="tx2"/>
                </a:solidFill>
                <a:latin typeface="PT Sans"/>
              </a:rPr>
              <a:t>Организация 5С на всех рабочих местах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148" y="2651606"/>
            <a:ext cx="2804379" cy="2103284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0757" y="2544411"/>
            <a:ext cx="2421718" cy="2210479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5452" y="1961445"/>
            <a:ext cx="2595246" cy="2821621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283158" y="895222"/>
            <a:ext cx="3473501" cy="1254181"/>
          </a:xfrm>
          <a:prstGeom prst="rect">
            <a:avLst/>
          </a:prstGeom>
          <a:noFill/>
        </p:spPr>
        <p:txBody>
          <a:bodyPr wrap="square" lIns="68572" tIns="34286" rIns="68572" bIns="34286" rtlCol="0">
            <a:spAutoFit/>
          </a:bodyPr>
          <a:lstStyle/>
          <a:p>
            <a:pPr marL="128572" indent="-128572" algn="just">
              <a:buFont typeface="Arial" panose="020B0604020202020204" pitchFamily="34" charset="0"/>
              <a:buChar char="•"/>
            </a:pPr>
            <a:r>
              <a:rPr lang="ru-RU" sz="1100" dirty="0">
                <a:latin typeface="PT Sans"/>
              </a:rPr>
              <a:t>На участке внедрен производственный анализ.</a:t>
            </a:r>
          </a:p>
          <a:p>
            <a:pPr marL="128572" indent="-128572" algn="just">
              <a:buFont typeface="Arial" panose="020B0604020202020204" pitchFamily="34" charset="0"/>
              <a:buChar char="•"/>
            </a:pPr>
            <a:r>
              <a:rPr lang="ru-RU" sz="1100" dirty="0">
                <a:latin typeface="PT Sans"/>
              </a:rPr>
              <a:t>Выявлены системные проблемы:</a:t>
            </a:r>
          </a:p>
          <a:p>
            <a:pPr algn="just"/>
            <a:endParaRPr lang="ru-RU" sz="1100" dirty="0">
              <a:latin typeface="PT Sans"/>
            </a:endParaRPr>
          </a:p>
          <a:p>
            <a:pPr marL="171450" indent="-171450" algn="just">
              <a:buFont typeface="+mj-lt"/>
              <a:buAutoNum type="arabicPeriod"/>
            </a:pPr>
            <a:r>
              <a:rPr lang="ru-RU" sz="1100" dirty="0">
                <a:latin typeface="PT Sans"/>
              </a:rPr>
              <a:t>Отсутствие сменного задания</a:t>
            </a:r>
          </a:p>
          <a:p>
            <a:pPr marL="171450" indent="-171450" algn="just">
              <a:buFont typeface="+mj-lt"/>
              <a:buAutoNum type="arabicPeriod"/>
            </a:pPr>
            <a:r>
              <a:rPr lang="ru-RU" sz="1100" dirty="0">
                <a:latin typeface="PT Sans"/>
              </a:rPr>
              <a:t>Большое кол-во доработок.</a:t>
            </a:r>
          </a:p>
          <a:p>
            <a:pPr marL="171450" indent="-171450" algn="just">
              <a:buFont typeface="+mj-lt"/>
              <a:buAutoNum type="arabicPeriod"/>
            </a:pPr>
            <a:r>
              <a:rPr lang="ru-RU" sz="1100" dirty="0">
                <a:latin typeface="PT Sans"/>
              </a:rPr>
              <a:t>Не выполнение суточного задания из-за лишних перекладок, транспортировок. 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3865382" y="729293"/>
            <a:ext cx="3823237" cy="1254181"/>
          </a:xfrm>
          <a:prstGeom prst="rect">
            <a:avLst/>
          </a:prstGeom>
        </p:spPr>
        <p:txBody>
          <a:bodyPr wrap="square" lIns="68572" tIns="34286" rIns="68572" bIns="34286">
            <a:spAutoFit/>
          </a:bodyPr>
          <a:lstStyle/>
          <a:p>
            <a:endParaRPr lang="ru-RU" sz="1100" dirty="0">
              <a:latin typeface="PT Sans"/>
            </a:endParaRPr>
          </a:p>
          <a:p>
            <a:pPr marL="128572" indent="-128572">
              <a:buFont typeface="Arial" panose="020B0604020202020204" pitchFamily="34" charset="0"/>
              <a:buChar char="•"/>
            </a:pPr>
            <a:r>
              <a:rPr lang="ru-RU" sz="1100" dirty="0">
                <a:latin typeface="PT Sans"/>
              </a:rPr>
              <a:t>Оптимизировано рабочее место сварщика .</a:t>
            </a:r>
          </a:p>
          <a:p>
            <a:pPr marL="128572" indent="-128572">
              <a:buFont typeface="Arial" panose="020B0604020202020204" pitchFamily="34" charset="0"/>
              <a:buChar char="•"/>
            </a:pPr>
            <a:r>
              <a:rPr lang="ru-RU" sz="1100" dirty="0">
                <a:latin typeface="PT Sans"/>
              </a:rPr>
              <a:t>Сокращено время поиска инструментов с 5 мин до 15 сек.</a:t>
            </a:r>
          </a:p>
          <a:p>
            <a:pPr marL="128572" indent="-128572">
              <a:buFont typeface="Arial" panose="020B0604020202020204" pitchFamily="34" charset="0"/>
              <a:buChar char="•"/>
            </a:pPr>
            <a:r>
              <a:rPr lang="ru-RU" sz="1100" dirty="0">
                <a:latin typeface="PT Sans"/>
              </a:rPr>
              <a:t>Исключена лишняя перекладка и транспортировка деталей за счет изготовления </a:t>
            </a:r>
            <a:r>
              <a:rPr lang="ru-RU" sz="1100" dirty="0" err="1">
                <a:latin typeface="PT Sans"/>
              </a:rPr>
              <a:t>спец.тары</a:t>
            </a:r>
            <a:r>
              <a:rPr lang="ru-RU" sz="1100" dirty="0">
                <a:latin typeface="PT Sans"/>
              </a:rPr>
              <a:t> и тележек для заготовок. </a:t>
            </a:r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0427" y="172052"/>
            <a:ext cx="811159" cy="651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814627" y="2349176"/>
            <a:ext cx="2360537" cy="196199"/>
          </a:xfrm>
          <a:prstGeom prst="rect">
            <a:avLst/>
          </a:prstGeom>
          <a:noFill/>
        </p:spPr>
        <p:txBody>
          <a:bodyPr wrap="square" lIns="68572" tIns="34286" rIns="68572" bIns="34286" rtlCol="0">
            <a:spAutoFit/>
          </a:bodyPr>
          <a:lstStyle/>
          <a:p>
            <a:r>
              <a:rPr lang="ru-RU" sz="825" b="1" dirty="0">
                <a:solidFill>
                  <a:schemeClr val="accent2">
                    <a:lumMod val="75000"/>
                  </a:schemeClr>
                </a:solidFill>
                <a:latin typeface="PT Sans"/>
              </a:rPr>
              <a:t>Бригадный </a:t>
            </a:r>
            <a:r>
              <a:rPr lang="ru-RU" sz="825" b="1" dirty="0" err="1">
                <a:solidFill>
                  <a:schemeClr val="accent2">
                    <a:lumMod val="75000"/>
                  </a:schemeClr>
                </a:solidFill>
                <a:latin typeface="PT Sans"/>
              </a:rPr>
              <a:t>инфостенд</a:t>
            </a:r>
            <a:r>
              <a:rPr lang="ru-RU" sz="825" b="1" dirty="0">
                <a:solidFill>
                  <a:schemeClr val="accent2">
                    <a:lumMod val="75000"/>
                  </a:schemeClr>
                </a:solidFill>
                <a:latin typeface="PT Sans"/>
              </a:rPr>
              <a:t> участка ЗД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471938" y="2157037"/>
            <a:ext cx="2360537" cy="323157"/>
          </a:xfrm>
          <a:prstGeom prst="rect">
            <a:avLst/>
          </a:prstGeom>
          <a:noFill/>
        </p:spPr>
        <p:txBody>
          <a:bodyPr wrap="square" lIns="68572" tIns="34286" rIns="68572" bIns="34286" rtlCol="0">
            <a:spAutoFit/>
          </a:bodyPr>
          <a:lstStyle/>
          <a:p>
            <a:pPr algn="r"/>
            <a:r>
              <a:rPr lang="ru-RU" sz="825" b="1" dirty="0">
                <a:solidFill>
                  <a:schemeClr val="accent2">
                    <a:lumMod val="75000"/>
                  </a:schemeClr>
                </a:solidFill>
                <a:latin typeface="PT Sans"/>
              </a:rPr>
              <a:t>Рабочее место </a:t>
            </a:r>
          </a:p>
          <a:p>
            <a:pPr algn="r"/>
            <a:r>
              <a:rPr lang="ru-RU" sz="825" b="1" dirty="0">
                <a:solidFill>
                  <a:schemeClr val="accent2">
                    <a:lumMod val="75000"/>
                  </a:schemeClr>
                </a:solidFill>
                <a:latin typeface="PT Sans"/>
              </a:rPr>
              <a:t>до организации нового участка 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277896" y="1592662"/>
            <a:ext cx="1502802" cy="323157"/>
          </a:xfrm>
          <a:prstGeom prst="rect">
            <a:avLst/>
          </a:prstGeom>
          <a:noFill/>
        </p:spPr>
        <p:txBody>
          <a:bodyPr wrap="square" lIns="68572" tIns="34286" rIns="68572" bIns="34286" rtlCol="0">
            <a:spAutoFit/>
          </a:bodyPr>
          <a:lstStyle/>
          <a:p>
            <a:pPr algn="r"/>
            <a:r>
              <a:rPr lang="ru-RU" sz="825" b="1" dirty="0">
                <a:solidFill>
                  <a:schemeClr val="accent2">
                    <a:lumMod val="75000"/>
                  </a:schemeClr>
                </a:solidFill>
                <a:latin typeface="PT Sans"/>
              </a:rPr>
              <a:t>Стандартизированное </a:t>
            </a:r>
          </a:p>
          <a:p>
            <a:pPr algn="r"/>
            <a:r>
              <a:rPr lang="ru-RU" sz="825" b="1" dirty="0">
                <a:solidFill>
                  <a:schemeClr val="accent2">
                    <a:lumMod val="75000"/>
                  </a:schemeClr>
                </a:solidFill>
                <a:latin typeface="PT Sans"/>
              </a:rPr>
              <a:t>рабочее место сварщика </a:t>
            </a:r>
          </a:p>
        </p:txBody>
      </p:sp>
    </p:spTree>
    <p:extLst>
      <p:ext uri="{BB962C8B-B14F-4D97-AF65-F5344CB8AC3E}">
        <p14:creationId xmlns:p14="http://schemas.microsoft.com/office/powerpoint/2010/main" val="594829452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2420" y="242552"/>
            <a:ext cx="7234837" cy="404812"/>
          </a:xfrm>
        </p:spPr>
        <p:txBody>
          <a:bodyPr/>
          <a:lstStyle/>
          <a:p>
            <a:r>
              <a:rPr lang="ru-RU" dirty="0"/>
              <a:t>Участок образец: </a:t>
            </a:r>
            <a:r>
              <a:rPr lang="ru-RU" sz="1800" dirty="0"/>
              <a:t>Стандартизированная работа</a:t>
            </a:r>
            <a:endParaRPr lang="ru-RU" sz="1500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17"/>
          <a:stretch/>
        </p:blipFill>
        <p:spPr>
          <a:xfrm>
            <a:off x="1066800" y="983525"/>
            <a:ext cx="6880860" cy="3892382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3672005" y="770513"/>
            <a:ext cx="4995332" cy="253908"/>
          </a:xfrm>
          <a:prstGeom prst="rect">
            <a:avLst/>
          </a:prstGeom>
        </p:spPr>
        <p:txBody>
          <a:bodyPr wrap="square" lIns="68572" tIns="34286" rIns="68572" bIns="34286">
            <a:spAutoFit/>
          </a:bodyPr>
          <a:lstStyle/>
          <a:p>
            <a:pPr algn="ctr"/>
            <a:r>
              <a:rPr lang="ru-RU" sz="1200" dirty="0">
                <a:solidFill>
                  <a:schemeClr val="tx2"/>
                </a:solidFill>
                <a:latin typeface="PT Sans"/>
              </a:rPr>
              <a:t>Хронометраж изготовления закладной детали  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AC989412-AAB6-4AFE-8D1B-CF6AC6A381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7032" y="119403"/>
            <a:ext cx="811159" cy="651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2748334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0356" y="157151"/>
            <a:ext cx="6251971" cy="404812"/>
          </a:xfrm>
        </p:spPr>
        <p:txBody>
          <a:bodyPr/>
          <a:lstStyle/>
          <a:p>
            <a:r>
              <a:rPr lang="ru-RU" dirty="0"/>
              <a:t>Участок образец: </a:t>
            </a:r>
            <a:r>
              <a:rPr lang="ru-RU" sz="1600" dirty="0"/>
              <a:t>Стандартизированная работа</a:t>
            </a:r>
            <a:endParaRPr lang="ru-RU" sz="1500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506" y="654627"/>
            <a:ext cx="6396859" cy="4189857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1625626" y="469299"/>
            <a:ext cx="5325839" cy="253908"/>
          </a:xfrm>
          <a:prstGeom prst="rect">
            <a:avLst/>
          </a:prstGeom>
        </p:spPr>
        <p:txBody>
          <a:bodyPr wrap="square" lIns="68572" tIns="34286" rIns="68572" bIns="34286">
            <a:spAutoFit/>
          </a:bodyPr>
          <a:lstStyle/>
          <a:p>
            <a:pPr algn="ctr"/>
            <a:r>
              <a:rPr lang="ru-RU" sz="1200" b="1" dirty="0">
                <a:solidFill>
                  <a:srgbClr val="FF0000"/>
                </a:solidFill>
                <a:latin typeface="PT Sans"/>
              </a:rPr>
              <a:t>Стандартная операционная карта изготовления закладной детали  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F623C18-2157-4ED9-99BF-8BD4013E75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2485" y="72097"/>
            <a:ext cx="811159" cy="651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A73624AF-0921-48AF-9FDC-6BF94DADE317}"/>
              </a:ext>
            </a:extLst>
          </p:cNvPr>
          <p:cNvSpPr txBox="1">
            <a:spLocks/>
          </p:cNvSpPr>
          <p:nvPr/>
        </p:nvSpPr>
        <p:spPr bwMode="auto">
          <a:xfrm>
            <a:off x="7119990" y="2885546"/>
            <a:ext cx="1713654" cy="404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kern="120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42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685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10287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defTabSz="914400"/>
            <a:r>
              <a:rPr lang="ru-RU" sz="3200" dirty="0"/>
              <a:t>+</a:t>
            </a:r>
            <a:r>
              <a:rPr lang="en-US" sz="3200" dirty="0"/>
              <a:t>TWI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2071803424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Прямоугольник 25"/>
          <p:cNvSpPr/>
          <p:nvPr/>
        </p:nvSpPr>
        <p:spPr>
          <a:xfrm>
            <a:off x="677976" y="3686614"/>
            <a:ext cx="1982381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05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злишняя транспортировка из-за территориальной удаленности постов по производству закладных деталей.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3360777" y="3848196"/>
            <a:ext cx="212082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часток закладных деталей создан на новом месте с новой планировкой и инженерными сетями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870" y="1605045"/>
            <a:ext cx="2665416" cy="1846499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1299" y="1605045"/>
            <a:ext cx="2451257" cy="1846499"/>
          </a:xfrm>
          <a:prstGeom prst="rect">
            <a:avLst/>
          </a:prstGeom>
        </p:spPr>
      </p:pic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0444" y="176497"/>
            <a:ext cx="811159" cy="651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Прямоугольник 17"/>
          <p:cNvSpPr/>
          <p:nvPr/>
        </p:nvSpPr>
        <p:spPr>
          <a:xfrm>
            <a:off x="6591651" y="3628346"/>
            <a:ext cx="2035931" cy="10895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2160" b="0" i="0" u="none" strike="noStrike" kern="1200" baseline="0">
                <a:solidFill>
                  <a:srgbClr val="171616"/>
                </a:solidFill>
                <a:latin typeface="+mn-lt"/>
                <a:ea typeface="+mn-ea"/>
                <a:cs typeface="+mn-cs"/>
              </a:defRPr>
            </a:pPr>
            <a:r>
              <a:rPr lang="ru-RU" sz="1620" dirty="0">
                <a:solidFill>
                  <a:srgbClr val="17161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сстояние перемещений сократилось на  </a:t>
            </a:r>
            <a:r>
              <a:rPr lang="ru-RU" sz="162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93 метра.</a:t>
            </a:r>
          </a:p>
        </p:txBody>
      </p:sp>
      <p:sp>
        <p:nvSpPr>
          <p:cNvPr id="19" name="Заголовок 1"/>
          <p:cNvSpPr>
            <a:spLocks noGrp="1"/>
          </p:cNvSpPr>
          <p:nvPr>
            <p:ph type="title"/>
          </p:nvPr>
        </p:nvSpPr>
        <p:spPr>
          <a:xfrm>
            <a:off x="1269206" y="163116"/>
            <a:ext cx="5698963" cy="53816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lvl="1"/>
            <a:r>
              <a:rPr lang="ru-RU" sz="1800" kern="1200" dirty="0">
                <a:solidFill>
                  <a:srgbClr val="0070C0"/>
                </a:solidFill>
              </a:rPr>
              <a:t>ТОП решений, повлиявших на выработку</a:t>
            </a:r>
            <a:br>
              <a:rPr lang="ru-RU" b="1" kern="1200" dirty="0">
                <a:solidFill>
                  <a:srgbClr val="0070C0"/>
                </a:solidFill>
              </a:rPr>
            </a:br>
            <a:endParaRPr lang="ru-RU" sz="1350" dirty="0">
              <a:solidFill>
                <a:srgbClr val="1E86C8"/>
              </a:solidFill>
            </a:endParaRPr>
          </a:p>
        </p:txBody>
      </p:sp>
      <p:graphicFrame>
        <p:nvGraphicFramePr>
          <p:cNvPr id="13" name="Диаграмма 12"/>
          <p:cNvGraphicFramePr/>
          <p:nvPr>
            <p:extLst>
              <p:ext uri="{D42A27DB-BD31-4B8C-83A1-F6EECF244321}">
                <p14:modId xmlns:p14="http://schemas.microsoft.com/office/powerpoint/2010/main" val="1321671371"/>
              </p:ext>
            </p:extLst>
          </p:nvPr>
        </p:nvGraphicFramePr>
        <p:xfrm>
          <a:off x="6080775" y="1476858"/>
          <a:ext cx="2888873" cy="20029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47FC98DD-CABC-4899-BA65-73C24CD13EC7}"/>
              </a:ext>
            </a:extLst>
          </p:cNvPr>
          <p:cNvGrpSpPr/>
          <p:nvPr/>
        </p:nvGrpSpPr>
        <p:grpSpPr>
          <a:xfrm>
            <a:off x="289560" y="849806"/>
            <a:ext cx="8260080" cy="3935553"/>
            <a:chOff x="142844" y="1133075"/>
            <a:chExt cx="8688058" cy="3661613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8A7A403-3D59-4781-8076-A409531F5F7E}"/>
                </a:ext>
              </a:extLst>
            </p:cNvPr>
            <p:cNvSpPr txBox="1"/>
            <p:nvPr/>
          </p:nvSpPr>
          <p:spPr>
            <a:xfrm>
              <a:off x="6234118" y="1252339"/>
              <a:ext cx="1630679" cy="325952"/>
            </a:xfrm>
            <a:prstGeom prst="rect">
              <a:avLst/>
            </a:prstGeom>
            <a:noFill/>
          </p:spPr>
          <p:txBody>
            <a:bodyPr wrap="square" lIns="0" tIns="0" rIns="0" bIns="13500" rtlCol="0">
              <a:spAutoFit/>
            </a:bodyPr>
            <a:lstStyle/>
            <a:p>
              <a:r>
                <a:rPr lang="ru-RU" sz="15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езультат</a:t>
              </a:r>
            </a:p>
          </p:txBody>
        </p:sp>
        <p:sp>
          <p:nvSpPr>
            <p:cNvPr id="28" name="Нашивка 26">
              <a:extLst>
                <a:ext uri="{FF2B5EF4-FFF2-40B4-BE49-F238E27FC236}">
                  <a16:creationId xmlns:a16="http://schemas.microsoft.com/office/drawing/2014/main" id="{2570DD71-0872-45E4-8EB5-98BCB22237AC}"/>
                </a:ext>
              </a:extLst>
            </p:cNvPr>
            <p:cNvSpPr/>
            <p:nvPr/>
          </p:nvSpPr>
          <p:spPr>
            <a:xfrm>
              <a:off x="5954152" y="1133075"/>
              <a:ext cx="172635" cy="3661613"/>
            </a:xfrm>
            <a:prstGeom prst="chevron">
              <a:avLst>
                <a:gd name="adj" fmla="val 100000"/>
              </a:avLst>
            </a:prstGeom>
            <a:ln w="7620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n>
                  <a:solidFill>
                    <a:srgbClr val="002060"/>
                  </a:solidFill>
                </a:ln>
                <a:solidFill>
                  <a:schemeClr val="tx1"/>
                </a:solidFill>
              </a:endParaRPr>
            </a:p>
          </p:txBody>
        </p:sp>
        <p:cxnSp>
          <p:nvCxnSpPr>
            <p:cNvPr id="29" name="Straight Connector 38">
              <a:extLst>
                <a:ext uri="{FF2B5EF4-FFF2-40B4-BE49-F238E27FC236}">
                  <a16:creationId xmlns:a16="http://schemas.microsoft.com/office/drawing/2014/main" id="{AA829929-E072-4B78-BDFB-14E7653AEF6F}"/>
                </a:ext>
              </a:extLst>
            </p:cNvPr>
            <p:cNvCxnSpPr/>
            <p:nvPr/>
          </p:nvCxnSpPr>
          <p:spPr>
            <a:xfrm>
              <a:off x="6234118" y="1578291"/>
              <a:ext cx="2596784" cy="0"/>
            </a:xfrm>
            <a:prstGeom prst="line">
              <a:avLst/>
            </a:prstGeom>
            <a:ln w="190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38">
              <a:extLst>
                <a:ext uri="{FF2B5EF4-FFF2-40B4-BE49-F238E27FC236}">
                  <a16:creationId xmlns:a16="http://schemas.microsoft.com/office/drawing/2014/main" id="{42D82ADF-4AE7-49CA-9A5B-1150DED5603A}"/>
                </a:ext>
              </a:extLst>
            </p:cNvPr>
            <p:cNvCxnSpPr/>
            <p:nvPr/>
          </p:nvCxnSpPr>
          <p:spPr>
            <a:xfrm>
              <a:off x="142844" y="1582476"/>
              <a:ext cx="2596784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77AF8513-AD44-49C4-8750-FF755C1DA01E}"/>
                </a:ext>
              </a:extLst>
            </p:cNvPr>
            <p:cNvSpPr txBox="1"/>
            <p:nvPr/>
          </p:nvSpPr>
          <p:spPr>
            <a:xfrm>
              <a:off x="3368872" y="1252339"/>
              <a:ext cx="1630679" cy="325952"/>
            </a:xfrm>
            <a:prstGeom prst="rect">
              <a:avLst/>
            </a:prstGeom>
            <a:noFill/>
          </p:spPr>
          <p:txBody>
            <a:bodyPr wrap="square" lIns="0" tIns="0" rIns="0" bIns="13500" rtlCol="0">
              <a:spAutoFit/>
            </a:bodyPr>
            <a:lstStyle>
              <a:defPPr>
                <a:defRPr lang="ru-RU"/>
              </a:defPPr>
              <a:lvl1pPr>
                <a:defRPr sz="2000" b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ru-RU" sz="1500" dirty="0">
                  <a:solidFill>
                    <a:srgbClr val="00B050"/>
                  </a:solidFill>
                </a:rPr>
                <a:t>Решение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BF234B7D-D508-404E-B3A2-4C36F5ED8634}"/>
                </a:ext>
              </a:extLst>
            </p:cNvPr>
            <p:cNvSpPr txBox="1"/>
            <p:nvPr/>
          </p:nvSpPr>
          <p:spPr>
            <a:xfrm>
              <a:off x="188487" y="1252339"/>
              <a:ext cx="1630679" cy="325952"/>
            </a:xfrm>
            <a:prstGeom prst="rect">
              <a:avLst/>
            </a:prstGeom>
            <a:noFill/>
          </p:spPr>
          <p:txBody>
            <a:bodyPr wrap="square" lIns="0" tIns="0" rIns="0" bIns="13500" rtlCol="0">
              <a:spAutoFit/>
            </a:bodyPr>
            <a:lstStyle>
              <a:defPPr>
                <a:defRPr lang="ru-RU"/>
              </a:defPPr>
              <a:lvl1pPr>
                <a:defRPr sz="2000" b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ru-RU" sz="1500" dirty="0">
                  <a:solidFill>
                    <a:srgbClr val="FF0000"/>
                  </a:solidFill>
                </a:rPr>
                <a:t>Проблема</a:t>
              </a:r>
            </a:p>
          </p:txBody>
        </p:sp>
        <p:cxnSp>
          <p:nvCxnSpPr>
            <p:cNvPr id="33" name="Straight Connector 38">
              <a:extLst>
                <a:ext uri="{FF2B5EF4-FFF2-40B4-BE49-F238E27FC236}">
                  <a16:creationId xmlns:a16="http://schemas.microsoft.com/office/drawing/2014/main" id="{F3BAFA6D-80AF-4BA9-8B8D-EC9E57A302C0}"/>
                </a:ext>
              </a:extLst>
            </p:cNvPr>
            <p:cNvCxnSpPr/>
            <p:nvPr/>
          </p:nvCxnSpPr>
          <p:spPr>
            <a:xfrm>
              <a:off x="3263750" y="1581170"/>
              <a:ext cx="2596784" cy="0"/>
            </a:xfrm>
            <a:prstGeom prst="line">
              <a:avLst/>
            </a:prstGeom>
            <a:ln w="1905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38043381"/>
      </p:ext>
    </p:extLst>
  </p:cSld>
  <p:clrMapOvr>
    <a:masterClrMapping/>
  </p:clrMapOvr>
  <p:transition spd="slow">
    <p:push dir="u"/>
  </p:transition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Рисунок 3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4320" y="2758623"/>
            <a:ext cx="1595554" cy="1494712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561" y="1447151"/>
            <a:ext cx="2470268" cy="2254793"/>
          </a:xfrm>
          <a:prstGeom prst="rect">
            <a:avLst/>
          </a:prstGeom>
        </p:spPr>
      </p:pic>
      <p:sp>
        <p:nvSpPr>
          <p:cNvPr id="19" name="Прямоугольник 18"/>
          <p:cNvSpPr/>
          <p:nvPr/>
        </p:nvSpPr>
        <p:spPr>
          <a:xfrm>
            <a:off x="332955" y="3810672"/>
            <a:ext cx="2053334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05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поиск, перекладку и транспортировку необходимых заготовок и готовых изделий уходило много времени.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9606" y="1431911"/>
            <a:ext cx="2470268" cy="1326712"/>
          </a:xfrm>
          <a:prstGeom prst="rect">
            <a:avLst/>
          </a:prstGeom>
        </p:spPr>
      </p:pic>
      <p:sp>
        <p:nvSpPr>
          <p:cNvPr id="30" name="Прямоугольник 29"/>
          <p:cNvSpPr/>
          <p:nvPr/>
        </p:nvSpPr>
        <p:spPr>
          <a:xfrm>
            <a:off x="2952413" y="4216300"/>
            <a:ext cx="306495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05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зготовили</a:t>
            </a:r>
            <a:r>
              <a:rPr lang="ru-RU" sz="825" b="1" dirty="0">
                <a:latin typeface="+mn-lt"/>
                <a:cs typeface="Arial" panose="020B0604020202020204" pitchFamily="34" charset="0"/>
              </a:rPr>
              <a:t> </a:t>
            </a:r>
            <a:r>
              <a:rPr lang="ru-RU" sz="105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нтейнеры для каждой номенклатуры.</a:t>
            </a:r>
          </a:p>
          <a:p>
            <a:pPr algn="ctr">
              <a:defRPr/>
            </a:pPr>
            <a:r>
              <a:rPr lang="ru-RU" sz="105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зготовили специальные тележки. </a:t>
            </a:r>
          </a:p>
          <a:p>
            <a:pPr algn="ctr">
              <a:defRPr/>
            </a:pPr>
            <a:r>
              <a:rPr lang="ru-RU" sz="105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купили рохли.</a:t>
            </a:r>
            <a:endParaRPr lang="ru-RU" sz="825" b="1" dirty="0"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3842" y="198696"/>
            <a:ext cx="811159" cy="651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8" name="Группа 17"/>
          <p:cNvGrpSpPr/>
          <p:nvPr/>
        </p:nvGrpSpPr>
        <p:grpSpPr>
          <a:xfrm>
            <a:off x="289560" y="849806"/>
            <a:ext cx="8260080" cy="3935553"/>
            <a:chOff x="142844" y="1133075"/>
            <a:chExt cx="8688058" cy="3661613"/>
          </a:xfrm>
        </p:grpSpPr>
        <p:sp>
          <p:nvSpPr>
            <p:cNvPr id="26" name="TextBox 25"/>
            <p:cNvSpPr txBox="1"/>
            <p:nvPr/>
          </p:nvSpPr>
          <p:spPr>
            <a:xfrm>
              <a:off x="6234118" y="1252339"/>
              <a:ext cx="1630679" cy="325952"/>
            </a:xfrm>
            <a:prstGeom prst="rect">
              <a:avLst/>
            </a:prstGeom>
            <a:noFill/>
          </p:spPr>
          <p:txBody>
            <a:bodyPr wrap="square" lIns="0" tIns="0" rIns="0" bIns="13500" rtlCol="0">
              <a:spAutoFit/>
            </a:bodyPr>
            <a:lstStyle/>
            <a:p>
              <a:r>
                <a:rPr lang="ru-RU" sz="15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езультат</a:t>
              </a:r>
            </a:p>
          </p:txBody>
        </p:sp>
        <p:sp>
          <p:nvSpPr>
            <p:cNvPr id="27" name="Нашивка 26">
              <a:extLst>
                <a:ext uri="{FF2B5EF4-FFF2-40B4-BE49-F238E27FC236}">
                  <a16:creationId xmlns:a16="http://schemas.microsoft.com/office/drawing/2014/main" id="{B2011075-00FB-BB46-8FF3-DA27B8A263E4}"/>
                </a:ext>
              </a:extLst>
            </p:cNvPr>
            <p:cNvSpPr/>
            <p:nvPr/>
          </p:nvSpPr>
          <p:spPr>
            <a:xfrm>
              <a:off x="5954152" y="1133075"/>
              <a:ext cx="172635" cy="3661613"/>
            </a:xfrm>
            <a:prstGeom prst="chevron">
              <a:avLst>
                <a:gd name="adj" fmla="val 100000"/>
              </a:avLst>
            </a:prstGeom>
            <a:ln w="7620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n>
                  <a:solidFill>
                    <a:srgbClr val="002060"/>
                  </a:solidFill>
                </a:ln>
                <a:solidFill>
                  <a:schemeClr val="tx1"/>
                </a:solidFill>
              </a:endParaRPr>
            </a:p>
          </p:txBody>
        </p:sp>
        <p:cxnSp>
          <p:nvCxnSpPr>
            <p:cNvPr id="28" name="Straight Connector 38"/>
            <p:cNvCxnSpPr/>
            <p:nvPr/>
          </p:nvCxnSpPr>
          <p:spPr>
            <a:xfrm>
              <a:off x="6234118" y="1578291"/>
              <a:ext cx="2596784" cy="0"/>
            </a:xfrm>
            <a:prstGeom prst="line">
              <a:avLst/>
            </a:prstGeom>
            <a:ln w="190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38"/>
            <p:cNvCxnSpPr/>
            <p:nvPr/>
          </p:nvCxnSpPr>
          <p:spPr>
            <a:xfrm>
              <a:off x="142844" y="1582476"/>
              <a:ext cx="2596784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Box 31"/>
            <p:cNvSpPr txBox="1"/>
            <p:nvPr/>
          </p:nvSpPr>
          <p:spPr>
            <a:xfrm>
              <a:off x="3368872" y="1252339"/>
              <a:ext cx="1630679" cy="325952"/>
            </a:xfrm>
            <a:prstGeom prst="rect">
              <a:avLst/>
            </a:prstGeom>
            <a:noFill/>
          </p:spPr>
          <p:txBody>
            <a:bodyPr wrap="square" lIns="0" tIns="0" rIns="0" bIns="13500" rtlCol="0">
              <a:spAutoFit/>
            </a:bodyPr>
            <a:lstStyle>
              <a:defPPr>
                <a:defRPr lang="ru-RU"/>
              </a:defPPr>
              <a:lvl1pPr>
                <a:defRPr sz="2000" b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ru-RU" sz="1500" dirty="0">
                  <a:solidFill>
                    <a:srgbClr val="00B050"/>
                  </a:solidFill>
                </a:rPr>
                <a:t>Решение</a:t>
              </a: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188487" y="1252339"/>
              <a:ext cx="1630679" cy="325952"/>
            </a:xfrm>
            <a:prstGeom prst="rect">
              <a:avLst/>
            </a:prstGeom>
            <a:noFill/>
          </p:spPr>
          <p:txBody>
            <a:bodyPr wrap="square" lIns="0" tIns="0" rIns="0" bIns="13500" rtlCol="0">
              <a:spAutoFit/>
            </a:bodyPr>
            <a:lstStyle>
              <a:defPPr>
                <a:defRPr lang="ru-RU"/>
              </a:defPPr>
              <a:lvl1pPr>
                <a:defRPr sz="2000" b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ru-RU" sz="1500" dirty="0">
                  <a:solidFill>
                    <a:srgbClr val="FF0000"/>
                  </a:solidFill>
                </a:rPr>
                <a:t>Проблема</a:t>
              </a:r>
            </a:p>
          </p:txBody>
        </p:sp>
        <p:cxnSp>
          <p:nvCxnSpPr>
            <p:cNvPr id="34" name="Straight Connector 38"/>
            <p:cNvCxnSpPr/>
            <p:nvPr/>
          </p:nvCxnSpPr>
          <p:spPr>
            <a:xfrm>
              <a:off x="3263750" y="1581170"/>
              <a:ext cx="2596784" cy="0"/>
            </a:xfrm>
            <a:prstGeom prst="line">
              <a:avLst/>
            </a:prstGeom>
            <a:ln w="1905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Прямоугольник 35"/>
          <p:cNvSpPr/>
          <p:nvPr/>
        </p:nvSpPr>
        <p:spPr>
          <a:xfrm>
            <a:off x="6512501" y="3542259"/>
            <a:ext cx="2035931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2160" b="0" i="0" u="none" strike="noStrike" kern="1200" baseline="0">
                <a:solidFill>
                  <a:srgbClr val="171616"/>
                </a:solidFill>
                <a:latin typeface="+mn-lt"/>
                <a:ea typeface="+mn-ea"/>
                <a:cs typeface="+mn-cs"/>
              </a:defRPr>
            </a:pPr>
            <a:r>
              <a:rPr lang="ru-RU" sz="1500" dirty="0">
                <a:solidFill>
                  <a:srgbClr val="17161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ремя каждого сварщика за которое он создает ценность увеличилось на  </a:t>
            </a:r>
            <a:r>
              <a:rPr lang="ru-RU" sz="150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36 минут.</a:t>
            </a:r>
          </a:p>
        </p:txBody>
      </p:sp>
      <p:sp>
        <p:nvSpPr>
          <p:cNvPr id="20" name="Заголовок 1"/>
          <p:cNvSpPr txBox="1">
            <a:spLocks/>
          </p:cNvSpPr>
          <p:nvPr/>
        </p:nvSpPr>
        <p:spPr bwMode="auto">
          <a:xfrm>
            <a:off x="1234029" y="189412"/>
            <a:ext cx="5698963" cy="538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kern="120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marL="0" lvl="1" defTabSz="685800"/>
            <a:r>
              <a:rPr lang="ru-RU" sz="1800" dirty="0">
                <a:solidFill>
                  <a:srgbClr val="0070C0"/>
                </a:solidFill>
              </a:rPr>
              <a:t>ТОП решений, повлиявших на выработку</a:t>
            </a:r>
            <a:br>
              <a:rPr lang="ru-RU" sz="2100" b="1" dirty="0">
                <a:solidFill>
                  <a:srgbClr val="0070C0"/>
                </a:solidFill>
              </a:rPr>
            </a:br>
            <a:endParaRPr lang="ru-RU" sz="1350" kern="0" dirty="0">
              <a:solidFill>
                <a:srgbClr val="1E86C8"/>
              </a:solidFill>
            </a:endParaRPr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val="3571612151"/>
              </p:ext>
            </p:extLst>
          </p:nvPr>
        </p:nvGraphicFramePr>
        <p:xfrm>
          <a:off x="6217920" y="1447800"/>
          <a:ext cx="2575560" cy="19735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614445912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>
          <a:xfrm>
            <a:off x="808002" y="4128079"/>
            <a:ext cx="202730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05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злишняя транспортировка и обработка металлических листов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3536115" y="3982253"/>
            <a:ext cx="1982381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05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купка пластин по размеру с просверленными и зенкованными  отверстиями 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89560" y="1409691"/>
            <a:ext cx="2458246" cy="1163380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250" y="2649933"/>
            <a:ext cx="2392556" cy="1163380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9401" y="1457794"/>
            <a:ext cx="2272664" cy="2438335"/>
          </a:xfrm>
          <a:prstGeom prst="rect">
            <a:avLst/>
          </a:prstGeom>
        </p:spPr>
      </p:pic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3281" y="166345"/>
            <a:ext cx="811159" cy="651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6191266" y="3474422"/>
            <a:ext cx="257596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2160" b="0" i="0" u="none" strike="noStrike" kern="1200" baseline="0">
                <a:solidFill>
                  <a:srgbClr val="171616"/>
                </a:solidFill>
                <a:latin typeface="+mn-lt"/>
                <a:ea typeface="+mn-ea"/>
                <a:cs typeface="+mn-cs"/>
              </a:defRPr>
            </a:pPr>
            <a:r>
              <a:rPr lang="ru-RU" sz="1500" dirty="0">
                <a:solidFill>
                  <a:srgbClr val="17161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ремя протекания процесса производства закладной детали </a:t>
            </a:r>
            <a:r>
              <a:rPr lang="ru-RU" sz="15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кратилось </a:t>
            </a:r>
            <a:r>
              <a:rPr lang="ru-RU" sz="150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64 мин.</a:t>
            </a:r>
          </a:p>
        </p:txBody>
      </p:sp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1284366" y="260624"/>
            <a:ext cx="5698963" cy="53816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lvl="1"/>
            <a:r>
              <a:rPr lang="ru-RU" sz="1800" kern="1200" dirty="0">
                <a:solidFill>
                  <a:srgbClr val="0070C0"/>
                </a:solidFill>
              </a:rPr>
              <a:t>ТОП решений, повлиявших на выработку</a:t>
            </a:r>
            <a:br>
              <a:rPr lang="ru-RU" b="1" kern="1200" dirty="0">
                <a:solidFill>
                  <a:srgbClr val="0070C0"/>
                </a:solidFill>
              </a:rPr>
            </a:br>
            <a:endParaRPr lang="ru-RU" sz="1350" dirty="0">
              <a:solidFill>
                <a:srgbClr val="1E86C8"/>
              </a:solidFill>
            </a:endParaRPr>
          </a:p>
        </p:txBody>
      </p:sp>
      <p:graphicFrame>
        <p:nvGraphicFramePr>
          <p:cNvPr id="21" name="Диаграмма 20"/>
          <p:cNvGraphicFramePr/>
          <p:nvPr>
            <p:extLst>
              <p:ext uri="{D42A27DB-BD31-4B8C-83A1-F6EECF244321}">
                <p14:modId xmlns:p14="http://schemas.microsoft.com/office/powerpoint/2010/main" val="397436712"/>
              </p:ext>
            </p:extLst>
          </p:nvPr>
        </p:nvGraphicFramePr>
        <p:xfrm>
          <a:off x="6104060" y="1308026"/>
          <a:ext cx="2750380" cy="2046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A570D5ED-7CA1-460F-A017-88633739FC61}"/>
              </a:ext>
            </a:extLst>
          </p:cNvPr>
          <p:cNvGrpSpPr/>
          <p:nvPr/>
        </p:nvGrpSpPr>
        <p:grpSpPr>
          <a:xfrm>
            <a:off x="289560" y="849806"/>
            <a:ext cx="8260080" cy="3935553"/>
            <a:chOff x="142844" y="1133075"/>
            <a:chExt cx="8688058" cy="3661613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6B617B3-3EFB-48FF-87C2-FF4CB31389A9}"/>
                </a:ext>
              </a:extLst>
            </p:cNvPr>
            <p:cNvSpPr txBox="1"/>
            <p:nvPr/>
          </p:nvSpPr>
          <p:spPr>
            <a:xfrm>
              <a:off x="6234118" y="1252339"/>
              <a:ext cx="1630679" cy="325952"/>
            </a:xfrm>
            <a:prstGeom prst="rect">
              <a:avLst/>
            </a:prstGeom>
            <a:noFill/>
          </p:spPr>
          <p:txBody>
            <a:bodyPr wrap="square" lIns="0" tIns="0" rIns="0" bIns="13500" rtlCol="0">
              <a:spAutoFit/>
            </a:bodyPr>
            <a:lstStyle/>
            <a:p>
              <a:r>
                <a:rPr lang="ru-RU" sz="15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езультат</a:t>
              </a:r>
            </a:p>
          </p:txBody>
        </p:sp>
        <p:sp>
          <p:nvSpPr>
            <p:cNvPr id="23" name="Нашивка 26">
              <a:extLst>
                <a:ext uri="{FF2B5EF4-FFF2-40B4-BE49-F238E27FC236}">
                  <a16:creationId xmlns:a16="http://schemas.microsoft.com/office/drawing/2014/main" id="{5F0024F8-3492-4799-8FA1-93040C851BBA}"/>
                </a:ext>
              </a:extLst>
            </p:cNvPr>
            <p:cNvSpPr/>
            <p:nvPr/>
          </p:nvSpPr>
          <p:spPr>
            <a:xfrm>
              <a:off x="5954152" y="1133075"/>
              <a:ext cx="172635" cy="3661613"/>
            </a:xfrm>
            <a:prstGeom prst="chevron">
              <a:avLst>
                <a:gd name="adj" fmla="val 100000"/>
              </a:avLst>
            </a:prstGeom>
            <a:ln w="7620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n>
                  <a:solidFill>
                    <a:srgbClr val="002060"/>
                  </a:solidFill>
                </a:ln>
                <a:solidFill>
                  <a:schemeClr val="tx1"/>
                </a:solidFill>
              </a:endParaRPr>
            </a:p>
          </p:txBody>
        </p:sp>
        <p:cxnSp>
          <p:nvCxnSpPr>
            <p:cNvPr id="24" name="Straight Connector 38">
              <a:extLst>
                <a:ext uri="{FF2B5EF4-FFF2-40B4-BE49-F238E27FC236}">
                  <a16:creationId xmlns:a16="http://schemas.microsoft.com/office/drawing/2014/main" id="{D3C25F69-ABF6-4A83-A171-0C1EED6C616F}"/>
                </a:ext>
              </a:extLst>
            </p:cNvPr>
            <p:cNvCxnSpPr/>
            <p:nvPr/>
          </p:nvCxnSpPr>
          <p:spPr>
            <a:xfrm>
              <a:off x="6234118" y="1578291"/>
              <a:ext cx="2596784" cy="0"/>
            </a:xfrm>
            <a:prstGeom prst="line">
              <a:avLst/>
            </a:prstGeom>
            <a:ln w="190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8">
              <a:extLst>
                <a:ext uri="{FF2B5EF4-FFF2-40B4-BE49-F238E27FC236}">
                  <a16:creationId xmlns:a16="http://schemas.microsoft.com/office/drawing/2014/main" id="{60CA339D-8C26-4CCD-BA34-FD81F73765EB}"/>
                </a:ext>
              </a:extLst>
            </p:cNvPr>
            <p:cNvCxnSpPr/>
            <p:nvPr/>
          </p:nvCxnSpPr>
          <p:spPr>
            <a:xfrm>
              <a:off x="142844" y="1582476"/>
              <a:ext cx="2596784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5A7177B7-2420-4FA1-B229-72074C46EF3D}"/>
                </a:ext>
              </a:extLst>
            </p:cNvPr>
            <p:cNvSpPr txBox="1"/>
            <p:nvPr/>
          </p:nvSpPr>
          <p:spPr>
            <a:xfrm>
              <a:off x="3368872" y="1252339"/>
              <a:ext cx="1630679" cy="325952"/>
            </a:xfrm>
            <a:prstGeom prst="rect">
              <a:avLst/>
            </a:prstGeom>
            <a:noFill/>
          </p:spPr>
          <p:txBody>
            <a:bodyPr wrap="square" lIns="0" tIns="0" rIns="0" bIns="13500" rtlCol="0">
              <a:spAutoFit/>
            </a:bodyPr>
            <a:lstStyle>
              <a:defPPr>
                <a:defRPr lang="ru-RU"/>
              </a:defPPr>
              <a:lvl1pPr>
                <a:defRPr sz="2000" b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ru-RU" sz="1500" dirty="0">
                  <a:solidFill>
                    <a:srgbClr val="00B050"/>
                  </a:solidFill>
                </a:rPr>
                <a:t>Решение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BE9C7B16-1D76-4E86-9FC8-C5B2920C0E9C}"/>
                </a:ext>
              </a:extLst>
            </p:cNvPr>
            <p:cNvSpPr txBox="1"/>
            <p:nvPr/>
          </p:nvSpPr>
          <p:spPr>
            <a:xfrm>
              <a:off x="188487" y="1252339"/>
              <a:ext cx="1630679" cy="325952"/>
            </a:xfrm>
            <a:prstGeom prst="rect">
              <a:avLst/>
            </a:prstGeom>
            <a:noFill/>
          </p:spPr>
          <p:txBody>
            <a:bodyPr wrap="square" lIns="0" tIns="0" rIns="0" bIns="13500" rtlCol="0">
              <a:spAutoFit/>
            </a:bodyPr>
            <a:lstStyle>
              <a:defPPr>
                <a:defRPr lang="ru-RU"/>
              </a:defPPr>
              <a:lvl1pPr>
                <a:defRPr sz="2000" b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ru-RU" sz="1500" dirty="0">
                  <a:solidFill>
                    <a:srgbClr val="FF0000"/>
                  </a:solidFill>
                </a:rPr>
                <a:t>Проблема</a:t>
              </a:r>
            </a:p>
          </p:txBody>
        </p:sp>
        <p:cxnSp>
          <p:nvCxnSpPr>
            <p:cNvPr id="28" name="Straight Connector 38">
              <a:extLst>
                <a:ext uri="{FF2B5EF4-FFF2-40B4-BE49-F238E27FC236}">
                  <a16:creationId xmlns:a16="http://schemas.microsoft.com/office/drawing/2014/main" id="{EFE568B6-DC3F-4103-9CAF-45E271C6E93E}"/>
                </a:ext>
              </a:extLst>
            </p:cNvPr>
            <p:cNvCxnSpPr/>
            <p:nvPr/>
          </p:nvCxnSpPr>
          <p:spPr>
            <a:xfrm>
              <a:off x="3263750" y="1581170"/>
              <a:ext cx="2596784" cy="0"/>
            </a:xfrm>
            <a:prstGeom prst="line">
              <a:avLst/>
            </a:prstGeom>
            <a:ln w="1905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6846844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2188" y="165491"/>
            <a:ext cx="834904" cy="640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Прямоугольник 15"/>
          <p:cNvSpPr/>
          <p:nvPr/>
        </p:nvSpPr>
        <p:spPr>
          <a:xfrm>
            <a:off x="519383" y="4280324"/>
            <a:ext cx="205261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900" b="1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Трудоемкость, связанная с ручной вязкой каркасов до 40 мин. на 1 каркас</a:t>
            </a:r>
          </a:p>
          <a:p>
            <a:pPr marL="214313" indent="-214313">
              <a:buFont typeface="Arial" panose="020B0604020202020204" pitchFamily="34" charset="0"/>
              <a:buChar char="•"/>
              <a:defRPr/>
            </a:pPr>
            <a:endParaRPr lang="ru-RU" sz="900" b="1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422973" y="4255566"/>
            <a:ext cx="209362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b="1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Внедрение пистолетов для автоматической вязки каркасов (24 мин. на 1 каркас)</a:t>
            </a:r>
          </a:p>
        </p:txBody>
      </p:sp>
      <p:graphicFrame>
        <p:nvGraphicFramePr>
          <p:cNvPr id="8" name="Диаграмма 7"/>
          <p:cNvGraphicFramePr/>
          <p:nvPr>
            <p:extLst>
              <p:ext uri="{D42A27DB-BD31-4B8C-83A1-F6EECF244321}">
                <p14:modId xmlns:p14="http://schemas.microsoft.com/office/powerpoint/2010/main" val="2535230724"/>
              </p:ext>
            </p:extLst>
          </p:nvPr>
        </p:nvGraphicFramePr>
        <p:xfrm>
          <a:off x="6151116" y="1463616"/>
          <a:ext cx="2596644" cy="20808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8" name="Прямоугольник 27"/>
          <p:cNvSpPr/>
          <p:nvPr/>
        </p:nvSpPr>
        <p:spPr>
          <a:xfrm>
            <a:off x="6270419" y="3797592"/>
            <a:ext cx="235803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500" dirty="0">
                <a:solidFill>
                  <a:srgbClr val="17161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величение производительности на операции вязки </a:t>
            </a:r>
            <a:r>
              <a:rPr lang="ru-RU" sz="150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60%</a:t>
            </a:r>
          </a:p>
        </p:txBody>
      </p:sp>
      <p:pic>
        <p:nvPicPr>
          <p:cNvPr id="3" name="Рисунок 2" descr="Изображение выглядит как человек, женщина, здание, готовится&#10;&#10;Автоматически созданное описание">
            <a:extLst>
              <a:ext uri="{FF2B5EF4-FFF2-40B4-BE49-F238E27FC236}">
                <a16:creationId xmlns:a16="http://schemas.microsoft.com/office/drawing/2014/main" id="{24E6FD76-9898-4789-987A-43579518FE9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8837" y="1414802"/>
            <a:ext cx="2099300" cy="2769011"/>
          </a:xfrm>
          <a:prstGeom prst="rect">
            <a:avLst/>
          </a:prstGeom>
        </p:spPr>
      </p:pic>
      <p:pic>
        <p:nvPicPr>
          <p:cNvPr id="6" name="Рисунок 5" descr="Изображение выглядит как забор, металлический, овца, провод&#10;&#10;Автоматически созданное описание">
            <a:extLst>
              <a:ext uri="{FF2B5EF4-FFF2-40B4-BE49-F238E27FC236}">
                <a16:creationId xmlns:a16="http://schemas.microsoft.com/office/drawing/2014/main" id="{D82919BC-7682-4292-90B3-40100CD2EE7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000" b="25000"/>
          <a:stretch/>
        </p:blipFill>
        <p:spPr>
          <a:xfrm>
            <a:off x="332955" y="1414804"/>
            <a:ext cx="2425470" cy="2769011"/>
          </a:xfrm>
          <a:prstGeom prst="rect">
            <a:avLst/>
          </a:prstGeom>
        </p:spPr>
      </p:pic>
      <p:sp>
        <p:nvSpPr>
          <p:cNvPr id="21" name="Заголовок 1">
            <a:extLst>
              <a:ext uri="{FF2B5EF4-FFF2-40B4-BE49-F238E27FC236}">
                <a16:creationId xmlns:a16="http://schemas.microsoft.com/office/drawing/2014/main" id="{757BCE87-5923-428A-8DFF-979EDEDCE8C8}"/>
              </a:ext>
            </a:extLst>
          </p:cNvPr>
          <p:cNvSpPr txBox="1">
            <a:spLocks/>
          </p:cNvSpPr>
          <p:nvPr/>
        </p:nvSpPr>
        <p:spPr bwMode="auto">
          <a:xfrm>
            <a:off x="289561" y="216845"/>
            <a:ext cx="7397188" cy="538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kern="120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marL="0" lvl="1" defTabSz="685800"/>
            <a:r>
              <a:rPr lang="ru-RU" sz="1600" dirty="0">
                <a:solidFill>
                  <a:srgbClr val="0070C0"/>
                </a:solidFill>
              </a:rPr>
              <a:t>Решение: </a:t>
            </a:r>
          </a:p>
          <a:p>
            <a:pPr marL="0" lvl="1" defTabSz="685800"/>
            <a:r>
              <a:rPr lang="ru-RU" sz="1600" dirty="0">
                <a:solidFill>
                  <a:srgbClr val="0070C0"/>
                </a:solidFill>
              </a:rPr>
              <a:t>Высокая доля ручного труда (механизация операции вязки)</a:t>
            </a:r>
            <a:endParaRPr lang="ru-RU" sz="1600" kern="0" dirty="0">
              <a:solidFill>
                <a:srgbClr val="1E86C8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6191602" y="1530377"/>
            <a:ext cx="235803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2160" b="0" i="0" u="none" strike="noStrike" kern="1200" baseline="0">
                <a:solidFill>
                  <a:srgbClr val="171616"/>
                </a:solidFill>
                <a:latin typeface="+mn-lt"/>
                <a:ea typeface="+mn-ea"/>
                <a:cs typeface="+mn-cs"/>
              </a:defRPr>
            </a:pPr>
            <a:r>
              <a:rPr lang="ru-RU" sz="900" b="1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Время вязки, мин</a:t>
            </a:r>
          </a:p>
        </p:txBody>
      </p: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67DB0958-AECE-48FF-92B5-37FE9545ACB9}"/>
              </a:ext>
            </a:extLst>
          </p:cNvPr>
          <p:cNvGrpSpPr/>
          <p:nvPr/>
        </p:nvGrpSpPr>
        <p:grpSpPr>
          <a:xfrm>
            <a:off x="289560" y="849806"/>
            <a:ext cx="8260080" cy="3935553"/>
            <a:chOff x="142844" y="1133075"/>
            <a:chExt cx="8688058" cy="3661613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F27CDF2D-3BC3-4B6B-A1B5-B275C4259BC6}"/>
                </a:ext>
              </a:extLst>
            </p:cNvPr>
            <p:cNvSpPr txBox="1"/>
            <p:nvPr/>
          </p:nvSpPr>
          <p:spPr>
            <a:xfrm>
              <a:off x="6234118" y="1252339"/>
              <a:ext cx="1630679" cy="325952"/>
            </a:xfrm>
            <a:prstGeom prst="rect">
              <a:avLst/>
            </a:prstGeom>
            <a:noFill/>
          </p:spPr>
          <p:txBody>
            <a:bodyPr wrap="square" lIns="0" tIns="0" rIns="0" bIns="13500" rtlCol="0">
              <a:spAutoFit/>
            </a:bodyPr>
            <a:lstStyle/>
            <a:p>
              <a:r>
                <a:rPr lang="ru-RU" sz="15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езультат</a:t>
              </a:r>
            </a:p>
          </p:txBody>
        </p:sp>
        <p:sp>
          <p:nvSpPr>
            <p:cNvPr id="26" name="Нашивка 26">
              <a:extLst>
                <a:ext uri="{FF2B5EF4-FFF2-40B4-BE49-F238E27FC236}">
                  <a16:creationId xmlns:a16="http://schemas.microsoft.com/office/drawing/2014/main" id="{84D5A810-9DB6-4239-A697-1799E0599E40}"/>
                </a:ext>
              </a:extLst>
            </p:cNvPr>
            <p:cNvSpPr/>
            <p:nvPr/>
          </p:nvSpPr>
          <p:spPr>
            <a:xfrm>
              <a:off x="5954152" y="1133075"/>
              <a:ext cx="172635" cy="3661613"/>
            </a:xfrm>
            <a:prstGeom prst="chevron">
              <a:avLst>
                <a:gd name="adj" fmla="val 100000"/>
              </a:avLst>
            </a:prstGeom>
            <a:ln w="7620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n>
                  <a:solidFill>
                    <a:srgbClr val="002060"/>
                  </a:solidFill>
                </a:ln>
                <a:solidFill>
                  <a:schemeClr val="tx1"/>
                </a:solidFill>
              </a:endParaRPr>
            </a:p>
          </p:txBody>
        </p:sp>
        <p:cxnSp>
          <p:nvCxnSpPr>
            <p:cNvPr id="27" name="Straight Connector 38">
              <a:extLst>
                <a:ext uri="{FF2B5EF4-FFF2-40B4-BE49-F238E27FC236}">
                  <a16:creationId xmlns:a16="http://schemas.microsoft.com/office/drawing/2014/main" id="{C1472323-0BD3-44E2-8304-A14EE018054E}"/>
                </a:ext>
              </a:extLst>
            </p:cNvPr>
            <p:cNvCxnSpPr/>
            <p:nvPr/>
          </p:nvCxnSpPr>
          <p:spPr>
            <a:xfrm>
              <a:off x="6234118" y="1578291"/>
              <a:ext cx="2596784" cy="0"/>
            </a:xfrm>
            <a:prstGeom prst="line">
              <a:avLst/>
            </a:prstGeom>
            <a:ln w="190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38">
              <a:extLst>
                <a:ext uri="{FF2B5EF4-FFF2-40B4-BE49-F238E27FC236}">
                  <a16:creationId xmlns:a16="http://schemas.microsoft.com/office/drawing/2014/main" id="{6B7DD221-7D9A-4D30-BEBB-F8257C091568}"/>
                </a:ext>
              </a:extLst>
            </p:cNvPr>
            <p:cNvCxnSpPr/>
            <p:nvPr/>
          </p:nvCxnSpPr>
          <p:spPr>
            <a:xfrm>
              <a:off x="142844" y="1582476"/>
              <a:ext cx="2596784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05CD0E0-6FA2-418C-9D89-273049DA0236}"/>
                </a:ext>
              </a:extLst>
            </p:cNvPr>
            <p:cNvSpPr txBox="1"/>
            <p:nvPr/>
          </p:nvSpPr>
          <p:spPr>
            <a:xfrm>
              <a:off x="3368872" y="1252339"/>
              <a:ext cx="1630679" cy="325952"/>
            </a:xfrm>
            <a:prstGeom prst="rect">
              <a:avLst/>
            </a:prstGeom>
            <a:noFill/>
          </p:spPr>
          <p:txBody>
            <a:bodyPr wrap="square" lIns="0" tIns="0" rIns="0" bIns="13500" rtlCol="0">
              <a:spAutoFit/>
            </a:bodyPr>
            <a:lstStyle>
              <a:defPPr>
                <a:defRPr lang="ru-RU"/>
              </a:defPPr>
              <a:lvl1pPr>
                <a:defRPr sz="2000" b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ru-RU" sz="1500" dirty="0">
                  <a:solidFill>
                    <a:srgbClr val="00B050"/>
                  </a:solidFill>
                </a:rPr>
                <a:t>Решение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3E73FB91-A401-4881-88B1-A8E4B9A6FD0E}"/>
                </a:ext>
              </a:extLst>
            </p:cNvPr>
            <p:cNvSpPr txBox="1"/>
            <p:nvPr/>
          </p:nvSpPr>
          <p:spPr>
            <a:xfrm>
              <a:off x="188487" y="1252339"/>
              <a:ext cx="1630679" cy="325952"/>
            </a:xfrm>
            <a:prstGeom prst="rect">
              <a:avLst/>
            </a:prstGeom>
            <a:noFill/>
          </p:spPr>
          <p:txBody>
            <a:bodyPr wrap="square" lIns="0" tIns="0" rIns="0" bIns="13500" rtlCol="0">
              <a:spAutoFit/>
            </a:bodyPr>
            <a:lstStyle>
              <a:defPPr>
                <a:defRPr lang="ru-RU"/>
              </a:defPPr>
              <a:lvl1pPr>
                <a:defRPr sz="2000" b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ru-RU" sz="1500" dirty="0">
                  <a:solidFill>
                    <a:srgbClr val="FF0000"/>
                  </a:solidFill>
                </a:rPr>
                <a:t>Проблема</a:t>
              </a:r>
            </a:p>
          </p:txBody>
        </p:sp>
        <p:cxnSp>
          <p:nvCxnSpPr>
            <p:cNvPr id="32" name="Straight Connector 38">
              <a:extLst>
                <a:ext uri="{FF2B5EF4-FFF2-40B4-BE49-F238E27FC236}">
                  <a16:creationId xmlns:a16="http://schemas.microsoft.com/office/drawing/2014/main" id="{4A08635E-379C-4408-BF2B-D49087B9DA50}"/>
                </a:ext>
              </a:extLst>
            </p:cNvPr>
            <p:cNvCxnSpPr/>
            <p:nvPr/>
          </p:nvCxnSpPr>
          <p:spPr>
            <a:xfrm>
              <a:off x="3263750" y="1581170"/>
              <a:ext cx="2596784" cy="0"/>
            </a:xfrm>
            <a:prstGeom prst="line">
              <a:avLst/>
            </a:prstGeom>
            <a:ln w="1905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28331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2000" b="1" dirty="0"/>
              <a:t>АНО «Федеральный центр компетенций»</a:t>
            </a:r>
          </a:p>
        </p:txBody>
      </p:sp>
    </p:spTree>
    <p:extLst>
      <p:ext uri="{BB962C8B-B14F-4D97-AF65-F5344CB8AC3E}">
        <p14:creationId xmlns:p14="http://schemas.microsoft.com/office/powerpoint/2010/main" val="4071577422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9536" y="162818"/>
            <a:ext cx="834904" cy="640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Прямоугольник 15"/>
          <p:cNvSpPr/>
          <p:nvPr/>
        </p:nvSpPr>
        <p:spPr>
          <a:xfrm>
            <a:off x="497685" y="3795164"/>
            <a:ext cx="2052614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900" b="1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Комплектация паллеты осуществляется в 2-5 захода из-за ручной транспортировки комплектующих на паллету.</a:t>
            </a:r>
          </a:p>
          <a:p>
            <a:pPr marL="214313" indent="-214313">
              <a:buFont typeface="Arial" panose="020B0604020202020204" pitchFamily="34" charset="0"/>
              <a:buChar char="•"/>
              <a:defRPr/>
            </a:pPr>
            <a:endParaRPr lang="ru-RU" sz="900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449143" y="4045942"/>
            <a:ext cx="2093621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900" b="1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Изготовление специальных тележек для транспортировки комплектующих элементов (ЗД, петли, усиления).</a:t>
            </a:r>
          </a:p>
        </p:txBody>
      </p:sp>
      <p:sp>
        <p:nvSpPr>
          <p:cNvPr id="22" name="Заголовок 1"/>
          <p:cNvSpPr txBox="1">
            <a:spLocks/>
          </p:cNvSpPr>
          <p:nvPr/>
        </p:nvSpPr>
        <p:spPr bwMode="auto">
          <a:xfrm>
            <a:off x="289560" y="286507"/>
            <a:ext cx="7469141" cy="538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kern="120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marL="0" lvl="1" defTabSz="685800"/>
            <a:r>
              <a:rPr lang="ru-RU" sz="1600" dirty="0">
                <a:solidFill>
                  <a:srgbClr val="0070C0"/>
                </a:solidFill>
              </a:rPr>
              <a:t>Решение: </a:t>
            </a:r>
          </a:p>
          <a:p>
            <a:pPr marL="0" lvl="1" defTabSz="685800"/>
            <a:r>
              <a:rPr lang="ru-RU" sz="1600" dirty="0">
                <a:solidFill>
                  <a:srgbClr val="0070C0"/>
                </a:solidFill>
              </a:rPr>
              <a:t>Лишние движения (снижение переходов).</a:t>
            </a:r>
            <a:endParaRPr lang="ru-RU" sz="1800" kern="0" dirty="0">
              <a:solidFill>
                <a:srgbClr val="1E86C8"/>
              </a:solidFill>
            </a:endParaRPr>
          </a:p>
        </p:txBody>
      </p:sp>
      <p:graphicFrame>
        <p:nvGraphicFramePr>
          <p:cNvPr id="8" name="Диаграмма 7"/>
          <p:cNvGraphicFramePr/>
          <p:nvPr>
            <p:extLst>
              <p:ext uri="{D42A27DB-BD31-4B8C-83A1-F6EECF244321}">
                <p14:modId xmlns:p14="http://schemas.microsoft.com/office/powerpoint/2010/main" val="1521787446"/>
              </p:ext>
            </p:extLst>
          </p:nvPr>
        </p:nvGraphicFramePr>
        <p:xfrm>
          <a:off x="6015577" y="1423572"/>
          <a:ext cx="2554352" cy="21724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26" name="Рисунок 2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5976" y="1408333"/>
            <a:ext cx="1851521" cy="2560702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560" y="1416840"/>
            <a:ext cx="2468865" cy="2057044"/>
          </a:xfrm>
          <a:prstGeom prst="rect">
            <a:avLst/>
          </a:prstGeom>
        </p:spPr>
      </p:pic>
      <p:sp>
        <p:nvSpPr>
          <p:cNvPr id="28" name="Прямоугольник 27"/>
          <p:cNvSpPr/>
          <p:nvPr/>
        </p:nvSpPr>
        <p:spPr>
          <a:xfrm>
            <a:off x="5978731" y="3722112"/>
            <a:ext cx="270446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500" dirty="0">
                <a:solidFill>
                  <a:srgbClr val="17161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величение производительности на операции «Установка закладных деталей» </a:t>
            </a:r>
            <a:r>
              <a:rPr lang="ru-RU" sz="150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5%</a:t>
            </a:r>
          </a:p>
        </p:txBody>
      </p: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47AF6536-DA11-4BD8-9790-60FFA5A4C7E7}"/>
              </a:ext>
            </a:extLst>
          </p:cNvPr>
          <p:cNvGrpSpPr/>
          <p:nvPr/>
        </p:nvGrpSpPr>
        <p:grpSpPr>
          <a:xfrm>
            <a:off x="289560" y="849806"/>
            <a:ext cx="8260080" cy="3935553"/>
            <a:chOff x="142844" y="1133075"/>
            <a:chExt cx="8688058" cy="366161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5DDD63A-B0C1-4B20-9084-FC49E9629AB9}"/>
                </a:ext>
              </a:extLst>
            </p:cNvPr>
            <p:cNvSpPr txBox="1"/>
            <p:nvPr/>
          </p:nvSpPr>
          <p:spPr>
            <a:xfrm>
              <a:off x="6234118" y="1252339"/>
              <a:ext cx="1630679" cy="325952"/>
            </a:xfrm>
            <a:prstGeom prst="rect">
              <a:avLst/>
            </a:prstGeom>
            <a:noFill/>
          </p:spPr>
          <p:txBody>
            <a:bodyPr wrap="square" lIns="0" tIns="0" rIns="0" bIns="13500" rtlCol="0">
              <a:spAutoFit/>
            </a:bodyPr>
            <a:lstStyle/>
            <a:p>
              <a:r>
                <a:rPr lang="ru-RU" sz="15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езультат</a:t>
              </a:r>
            </a:p>
          </p:txBody>
        </p:sp>
        <p:sp>
          <p:nvSpPr>
            <p:cNvPr id="25" name="Нашивка 26">
              <a:extLst>
                <a:ext uri="{FF2B5EF4-FFF2-40B4-BE49-F238E27FC236}">
                  <a16:creationId xmlns:a16="http://schemas.microsoft.com/office/drawing/2014/main" id="{E10C8DC9-4147-48FF-9F04-32E3AD073396}"/>
                </a:ext>
              </a:extLst>
            </p:cNvPr>
            <p:cNvSpPr/>
            <p:nvPr/>
          </p:nvSpPr>
          <p:spPr>
            <a:xfrm>
              <a:off x="5954152" y="1133075"/>
              <a:ext cx="172635" cy="3661613"/>
            </a:xfrm>
            <a:prstGeom prst="chevron">
              <a:avLst>
                <a:gd name="adj" fmla="val 100000"/>
              </a:avLst>
            </a:prstGeom>
            <a:ln w="7620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n>
                  <a:solidFill>
                    <a:srgbClr val="002060"/>
                  </a:solidFill>
                </a:ln>
                <a:solidFill>
                  <a:schemeClr val="tx1"/>
                </a:solidFill>
              </a:endParaRPr>
            </a:p>
          </p:txBody>
        </p:sp>
        <p:cxnSp>
          <p:nvCxnSpPr>
            <p:cNvPr id="29" name="Straight Connector 38">
              <a:extLst>
                <a:ext uri="{FF2B5EF4-FFF2-40B4-BE49-F238E27FC236}">
                  <a16:creationId xmlns:a16="http://schemas.microsoft.com/office/drawing/2014/main" id="{94EF29BF-D8C4-4179-8FAC-DC255E1683AB}"/>
                </a:ext>
              </a:extLst>
            </p:cNvPr>
            <p:cNvCxnSpPr/>
            <p:nvPr/>
          </p:nvCxnSpPr>
          <p:spPr>
            <a:xfrm>
              <a:off x="6234118" y="1578291"/>
              <a:ext cx="2596784" cy="0"/>
            </a:xfrm>
            <a:prstGeom prst="line">
              <a:avLst/>
            </a:prstGeom>
            <a:ln w="190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38">
              <a:extLst>
                <a:ext uri="{FF2B5EF4-FFF2-40B4-BE49-F238E27FC236}">
                  <a16:creationId xmlns:a16="http://schemas.microsoft.com/office/drawing/2014/main" id="{C6EE5553-CC40-49C3-B9BA-33C681D241D0}"/>
                </a:ext>
              </a:extLst>
            </p:cNvPr>
            <p:cNvCxnSpPr/>
            <p:nvPr/>
          </p:nvCxnSpPr>
          <p:spPr>
            <a:xfrm>
              <a:off x="142844" y="1582476"/>
              <a:ext cx="2596784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B1AE62DC-42F8-43C9-8449-5F061B0AEAAC}"/>
                </a:ext>
              </a:extLst>
            </p:cNvPr>
            <p:cNvSpPr txBox="1"/>
            <p:nvPr/>
          </p:nvSpPr>
          <p:spPr>
            <a:xfrm>
              <a:off x="3368872" y="1252339"/>
              <a:ext cx="1630679" cy="325952"/>
            </a:xfrm>
            <a:prstGeom prst="rect">
              <a:avLst/>
            </a:prstGeom>
            <a:noFill/>
          </p:spPr>
          <p:txBody>
            <a:bodyPr wrap="square" lIns="0" tIns="0" rIns="0" bIns="13500" rtlCol="0">
              <a:spAutoFit/>
            </a:bodyPr>
            <a:lstStyle>
              <a:defPPr>
                <a:defRPr lang="ru-RU"/>
              </a:defPPr>
              <a:lvl1pPr>
                <a:defRPr sz="2000" b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ru-RU" sz="1500" dirty="0">
                  <a:solidFill>
                    <a:srgbClr val="00B050"/>
                  </a:solidFill>
                </a:rPr>
                <a:t>Решение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8C9B8DE1-67F0-4347-BD5A-87EBD67919E1}"/>
                </a:ext>
              </a:extLst>
            </p:cNvPr>
            <p:cNvSpPr txBox="1"/>
            <p:nvPr/>
          </p:nvSpPr>
          <p:spPr>
            <a:xfrm>
              <a:off x="188487" y="1252339"/>
              <a:ext cx="1630679" cy="325952"/>
            </a:xfrm>
            <a:prstGeom prst="rect">
              <a:avLst/>
            </a:prstGeom>
            <a:noFill/>
          </p:spPr>
          <p:txBody>
            <a:bodyPr wrap="square" lIns="0" tIns="0" rIns="0" bIns="13500" rtlCol="0">
              <a:spAutoFit/>
            </a:bodyPr>
            <a:lstStyle>
              <a:defPPr>
                <a:defRPr lang="ru-RU"/>
              </a:defPPr>
              <a:lvl1pPr>
                <a:defRPr sz="2000" b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ru-RU" sz="1500" dirty="0">
                  <a:solidFill>
                    <a:srgbClr val="FF0000"/>
                  </a:solidFill>
                </a:rPr>
                <a:t>Проблема</a:t>
              </a:r>
            </a:p>
          </p:txBody>
        </p:sp>
        <p:cxnSp>
          <p:nvCxnSpPr>
            <p:cNvPr id="33" name="Straight Connector 38">
              <a:extLst>
                <a:ext uri="{FF2B5EF4-FFF2-40B4-BE49-F238E27FC236}">
                  <a16:creationId xmlns:a16="http://schemas.microsoft.com/office/drawing/2014/main" id="{9AA4867A-9A1D-48FB-B63B-3A4E20C37CB5}"/>
                </a:ext>
              </a:extLst>
            </p:cNvPr>
            <p:cNvCxnSpPr/>
            <p:nvPr/>
          </p:nvCxnSpPr>
          <p:spPr>
            <a:xfrm>
              <a:off x="3263750" y="1581170"/>
              <a:ext cx="2596784" cy="0"/>
            </a:xfrm>
            <a:prstGeom prst="line">
              <a:avLst/>
            </a:prstGeom>
            <a:ln w="1905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6696681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3093" y="191858"/>
            <a:ext cx="834904" cy="640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Прямоугольник 15"/>
          <p:cNvSpPr/>
          <p:nvPr/>
        </p:nvSpPr>
        <p:spPr>
          <a:xfrm>
            <a:off x="168086" y="3595116"/>
            <a:ext cx="2711809" cy="12234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050" b="1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Ожидание на рабочих местах фиксации элементов из пенопласта, связанное из-за отсутствие клеевых станций на каждом рабочем месте (до 5 мин)</a:t>
            </a:r>
          </a:p>
          <a:p>
            <a:pPr marL="214313" indent="-214313">
              <a:buFont typeface="Arial" panose="020B0604020202020204" pitchFamily="34" charset="0"/>
              <a:buChar char="•"/>
              <a:defRPr/>
            </a:pPr>
            <a:endParaRPr lang="ru-RU" sz="1050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299169" y="3889376"/>
            <a:ext cx="209362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50" b="1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Установка клеевых станций на каждом рабочем месте </a:t>
            </a:r>
            <a:r>
              <a:rPr lang="ru-RU" sz="1050" b="1" dirty="0" err="1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фик</a:t>
            </a:r>
            <a:r>
              <a:rPr lang="en-US" sz="1050" b="1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c</a:t>
            </a:r>
            <a:r>
              <a:rPr lang="ru-RU" sz="1050" b="1" dirty="0" err="1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ации</a:t>
            </a:r>
            <a:r>
              <a:rPr lang="ru-RU" sz="1050" b="1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пенопласта. </a:t>
            </a:r>
          </a:p>
        </p:txBody>
      </p:sp>
      <p:graphicFrame>
        <p:nvGraphicFramePr>
          <p:cNvPr id="8" name="Диаграмма 7"/>
          <p:cNvGraphicFramePr/>
          <p:nvPr>
            <p:extLst>
              <p:ext uri="{D42A27DB-BD31-4B8C-83A1-F6EECF244321}">
                <p14:modId xmlns:p14="http://schemas.microsoft.com/office/powerpoint/2010/main" val="908365138"/>
              </p:ext>
            </p:extLst>
          </p:nvPr>
        </p:nvGraphicFramePr>
        <p:xfrm>
          <a:off x="6136188" y="1413216"/>
          <a:ext cx="2554352" cy="20808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8" name="Прямоугольник 27"/>
          <p:cNvSpPr/>
          <p:nvPr/>
        </p:nvSpPr>
        <p:spPr>
          <a:xfrm>
            <a:off x="6136188" y="3583575"/>
            <a:ext cx="2711809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500" dirty="0">
                <a:solidFill>
                  <a:srgbClr val="17161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вышение производительности на операции «Фиксация 1 элемента из пенопласта </a:t>
            </a:r>
          </a:p>
          <a:p>
            <a:pPr algn="ctr"/>
            <a:r>
              <a:rPr lang="ru-RU" sz="150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66,4%»</a:t>
            </a: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7B68E3C3-E3F8-4018-8223-BA5672FC86D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012" y="1413216"/>
            <a:ext cx="2727959" cy="1964253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E93AA7FB-CF0B-4545-831A-D42CF3AB30D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7187" y="1413216"/>
            <a:ext cx="2757586" cy="2170350"/>
          </a:xfrm>
          <a:prstGeom prst="rect">
            <a:avLst/>
          </a:prstGeom>
        </p:spPr>
      </p:pic>
      <p:sp>
        <p:nvSpPr>
          <p:cNvPr id="26" name="Заголовок 1">
            <a:extLst>
              <a:ext uri="{FF2B5EF4-FFF2-40B4-BE49-F238E27FC236}">
                <a16:creationId xmlns:a16="http://schemas.microsoft.com/office/drawing/2014/main" id="{DC506386-2736-4456-85F8-C1FB33B5B64A}"/>
              </a:ext>
            </a:extLst>
          </p:cNvPr>
          <p:cNvSpPr txBox="1">
            <a:spLocks/>
          </p:cNvSpPr>
          <p:nvPr/>
        </p:nvSpPr>
        <p:spPr bwMode="auto">
          <a:xfrm>
            <a:off x="296004" y="199911"/>
            <a:ext cx="7461156" cy="538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kern="120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marL="0" lvl="1" defTabSz="685800"/>
            <a:r>
              <a:rPr lang="ru-RU" sz="1600" dirty="0">
                <a:solidFill>
                  <a:srgbClr val="0070C0"/>
                </a:solidFill>
              </a:rPr>
              <a:t>Решение: </a:t>
            </a:r>
          </a:p>
          <a:p>
            <a:pPr marL="0" lvl="1" defTabSz="685800"/>
            <a:r>
              <a:rPr lang="ru-RU" sz="1600" dirty="0">
                <a:solidFill>
                  <a:srgbClr val="0070C0"/>
                </a:solidFill>
              </a:rPr>
              <a:t>Ожидание (исключение ожиданий).</a:t>
            </a:r>
            <a:endParaRPr lang="ru-RU" sz="1600" kern="0" dirty="0">
              <a:solidFill>
                <a:srgbClr val="1E86C8"/>
              </a:solidFill>
            </a:endParaRPr>
          </a:p>
        </p:txBody>
      </p: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8E6088B4-C022-432A-80AD-DC791B8317B4}"/>
              </a:ext>
            </a:extLst>
          </p:cNvPr>
          <p:cNvGrpSpPr/>
          <p:nvPr/>
        </p:nvGrpSpPr>
        <p:grpSpPr>
          <a:xfrm>
            <a:off x="289560" y="849806"/>
            <a:ext cx="8260080" cy="3935553"/>
            <a:chOff x="142844" y="1133075"/>
            <a:chExt cx="8688058" cy="366161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853C3E53-FA94-4D7D-A8C8-179A41A921F6}"/>
                </a:ext>
              </a:extLst>
            </p:cNvPr>
            <p:cNvSpPr txBox="1"/>
            <p:nvPr/>
          </p:nvSpPr>
          <p:spPr>
            <a:xfrm>
              <a:off x="6234118" y="1252339"/>
              <a:ext cx="1630679" cy="325952"/>
            </a:xfrm>
            <a:prstGeom prst="rect">
              <a:avLst/>
            </a:prstGeom>
            <a:noFill/>
          </p:spPr>
          <p:txBody>
            <a:bodyPr wrap="square" lIns="0" tIns="0" rIns="0" bIns="13500" rtlCol="0">
              <a:spAutoFit/>
            </a:bodyPr>
            <a:lstStyle/>
            <a:p>
              <a:r>
                <a:rPr lang="ru-RU" sz="15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езультат</a:t>
              </a:r>
            </a:p>
          </p:txBody>
        </p:sp>
        <p:sp>
          <p:nvSpPr>
            <p:cNvPr id="27" name="Нашивка 26">
              <a:extLst>
                <a:ext uri="{FF2B5EF4-FFF2-40B4-BE49-F238E27FC236}">
                  <a16:creationId xmlns:a16="http://schemas.microsoft.com/office/drawing/2014/main" id="{C63B1834-CF44-45E6-9CA5-71761D671515}"/>
                </a:ext>
              </a:extLst>
            </p:cNvPr>
            <p:cNvSpPr/>
            <p:nvPr/>
          </p:nvSpPr>
          <p:spPr>
            <a:xfrm>
              <a:off x="5954152" y="1133075"/>
              <a:ext cx="172635" cy="3661613"/>
            </a:xfrm>
            <a:prstGeom prst="chevron">
              <a:avLst>
                <a:gd name="adj" fmla="val 100000"/>
              </a:avLst>
            </a:prstGeom>
            <a:ln w="7620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n>
                  <a:solidFill>
                    <a:srgbClr val="002060"/>
                  </a:solidFill>
                </a:ln>
                <a:solidFill>
                  <a:schemeClr val="tx1"/>
                </a:solidFill>
              </a:endParaRPr>
            </a:p>
          </p:txBody>
        </p:sp>
        <p:cxnSp>
          <p:nvCxnSpPr>
            <p:cNvPr id="29" name="Straight Connector 38">
              <a:extLst>
                <a:ext uri="{FF2B5EF4-FFF2-40B4-BE49-F238E27FC236}">
                  <a16:creationId xmlns:a16="http://schemas.microsoft.com/office/drawing/2014/main" id="{4166F6CE-CFF7-4D94-9E48-C7B8003D565D}"/>
                </a:ext>
              </a:extLst>
            </p:cNvPr>
            <p:cNvCxnSpPr/>
            <p:nvPr/>
          </p:nvCxnSpPr>
          <p:spPr>
            <a:xfrm>
              <a:off x="6234118" y="1578291"/>
              <a:ext cx="2596784" cy="0"/>
            </a:xfrm>
            <a:prstGeom prst="line">
              <a:avLst/>
            </a:prstGeom>
            <a:ln w="190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38">
              <a:extLst>
                <a:ext uri="{FF2B5EF4-FFF2-40B4-BE49-F238E27FC236}">
                  <a16:creationId xmlns:a16="http://schemas.microsoft.com/office/drawing/2014/main" id="{78F44616-C69B-4C05-907D-28AEDF9F320D}"/>
                </a:ext>
              </a:extLst>
            </p:cNvPr>
            <p:cNvCxnSpPr/>
            <p:nvPr/>
          </p:nvCxnSpPr>
          <p:spPr>
            <a:xfrm>
              <a:off x="142844" y="1582476"/>
              <a:ext cx="2596784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1BC3177E-8484-4957-880B-500DCE3971CF}"/>
                </a:ext>
              </a:extLst>
            </p:cNvPr>
            <p:cNvSpPr txBox="1"/>
            <p:nvPr/>
          </p:nvSpPr>
          <p:spPr>
            <a:xfrm>
              <a:off x="3368872" y="1252339"/>
              <a:ext cx="1630679" cy="325952"/>
            </a:xfrm>
            <a:prstGeom prst="rect">
              <a:avLst/>
            </a:prstGeom>
            <a:noFill/>
          </p:spPr>
          <p:txBody>
            <a:bodyPr wrap="square" lIns="0" tIns="0" rIns="0" bIns="13500" rtlCol="0">
              <a:spAutoFit/>
            </a:bodyPr>
            <a:lstStyle>
              <a:defPPr>
                <a:defRPr lang="ru-RU"/>
              </a:defPPr>
              <a:lvl1pPr>
                <a:defRPr sz="2000" b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ru-RU" sz="1500" dirty="0">
                  <a:solidFill>
                    <a:srgbClr val="00B050"/>
                  </a:solidFill>
                </a:rPr>
                <a:t>Решение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815A3970-412D-49EE-A795-E63B9BFCAA85}"/>
                </a:ext>
              </a:extLst>
            </p:cNvPr>
            <p:cNvSpPr txBox="1"/>
            <p:nvPr/>
          </p:nvSpPr>
          <p:spPr>
            <a:xfrm>
              <a:off x="188487" y="1252339"/>
              <a:ext cx="1630679" cy="325952"/>
            </a:xfrm>
            <a:prstGeom prst="rect">
              <a:avLst/>
            </a:prstGeom>
            <a:noFill/>
          </p:spPr>
          <p:txBody>
            <a:bodyPr wrap="square" lIns="0" tIns="0" rIns="0" bIns="13500" rtlCol="0">
              <a:spAutoFit/>
            </a:bodyPr>
            <a:lstStyle>
              <a:defPPr>
                <a:defRPr lang="ru-RU"/>
              </a:defPPr>
              <a:lvl1pPr>
                <a:defRPr sz="2000" b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ru-RU" sz="1500" dirty="0">
                  <a:solidFill>
                    <a:srgbClr val="FF0000"/>
                  </a:solidFill>
                </a:rPr>
                <a:t>Проблема</a:t>
              </a:r>
            </a:p>
          </p:txBody>
        </p:sp>
        <p:cxnSp>
          <p:nvCxnSpPr>
            <p:cNvPr id="33" name="Straight Connector 38">
              <a:extLst>
                <a:ext uri="{FF2B5EF4-FFF2-40B4-BE49-F238E27FC236}">
                  <a16:creationId xmlns:a16="http://schemas.microsoft.com/office/drawing/2014/main" id="{7D26C54E-E244-475B-86B3-4FECA46081CB}"/>
                </a:ext>
              </a:extLst>
            </p:cNvPr>
            <p:cNvCxnSpPr/>
            <p:nvPr/>
          </p:nvCxnSpPr>
          <p:spPr>
            <a:xfrm>
              <a:off x="3263750" y="1581170"/>
              <a:ext cx="2596784" cy="0"/>
            </a:xfrm>
            <a:prstGeom prst="line">
              <a:avLst/>
            </a:prstGeom>
            <a:ln w="1905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A3BC10EB-C537-477D-9EB9-E5EE3DD35BB0}"/>
              </a:ext>
            </a:extLst>
          </p:cNvPr>
          <p:cNvSpPr/>
          <p:nvPr/>
        </p:nvSpPr>
        <p:spPr>
          <a:xfrm>
            <a:off x="6191602" y="1530377"/>
            <a:ext cx="235803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2160" b="0" i="0" u="none" strike="noStrike" kern="1200" baseline="0">
                <a:solidFill>
                  <a:srgbClr val="171616"/>
                </a:solidFill>
                <a:latin typeface="+mn-lt"/>
                <a:ea typeface="+mn-ea"/>
                <a:cs typeface="+mn-cs"/>
              </a:defRPr>
            </a:pPr>
            <a:r>
              <a:rPr lang="ru-RU" sz="1000" b="1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Ожидание, мин</a:t>
            </a:r>
          </a:p>
        </p:txBody>
      </p:sp>
    </p:spTree>
    <p:extLst>
      <p:ext uri="{BB962C8B-B14F-4D97-AF65-F5344CB8AC3E}">
        <p14:creationId xmlns:p14="http://schemas.microsoft.com/office/powerpoint/2010/main" val="1269390350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Динамика показателей проекта</a:t>
            </a:r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val="2742781323"/>
              </p:ext>
            </p:extLst>
          </p:nvPr>
        </p:nvGraphicFramePr>
        <p:xfrm>
          <a:off x="395290" y="755170"/>
          <a:ext cx="4098364" cy="39366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B96B079E-85E3-4CE0-B02A-953E59B74DAA}"/>
              </a:ext>
            </a:extLst>
          </p:cNvPr>
          <p:cNvGrpSpPr/>
          <p:nvPr/>
        </p:nvGrpSpPr>
        <p:grpSpPr>
          <a:xfrm>
            <a:off x="3489587" y="2605478"/>
            <a:ext cx="528530" cy="378643"/>
            <a:chOff x="3923927" y="1129010"/>
            <a:chExt cx="528530" cy="378643"/>
          </a:xfrm>
        </p:grpSpPr>
        <p:sp>
          <p:nvSpPr>
            <p:cNvPr id="7" name="Овал 6"/>
            <p:cNvSpPr/>
            <p:nvPr/>
          </p:nvSpPr>
          <p:spPr>
            <a:xfrm>
              <a:off x="3923927" y="1129010"/>
              <a:ext cx="446736" cy="378643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72" tIns="34286" rIns="68572" bIns="34286" rtlCol="0" anchor="ctr"/>
            <a:lstStyle/>
            <a:p>
              <a:pPr algn="ctr"/>
              <a:endParaRPr lang="ru-RU" sz="1500" b="1" dirty="0">
                <a:solidFill>
                  <a:schemeClr val="bg1"/>
                </a:solidFill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3940060" y="1171017"/>
              <a:ext cx="512397" cy="253908"/>
            </a:xfrm>
            <a:prstGeom prst="rect">
              <a:avLst/>
            </a:prstGeom>
            <a:noFill/>
          </p:spPr>
          <p:txBody>
            <a:bodyPr wrap="square" lIns="68572" tIns="34286" rIns="68572" bIns="34286" rtlCol="0">
              <a:spAutoFit/>
            </a:bodyPr>
            <a:lstStyle/>
            <a:p>
              <a:r>
                <a:rPr lang="en-US" sz="1200" b="1" dirty="0">
                  <a:solidFill>
                    <a:schemeClr val="bg1"/>
                  </a:solidFill>
                </a:rPr>
                <a:t>67</a:t>
              </a:r>
              <a:r>
                <a:rPr lang="ru-RU" sz="1200" b="1" dirty="0">
                  <a:solidFill>
                    <a:schemeClr val="bg1"/>
                  </a:solidFill>
                </a:rPr>
                <a:t>%</a:t>
              </a:r>
            </a:p>
          </p:txBody>
        </p:sp>
      </p:grpSp>
      <p:graphicFrame>
        <p:nvGraphicFramePr>
          <p:cNvPr id="10" name="Диаграмма 9"/>
          <p:cNvGraphicFramePr/>
          <p:nvPr>
            <p:extLst>
              <p:ext uri="{D42A27DB-BD31-4B8C-83A1-F6EECF244321}">
                <p14:modId xmlns:p14="http://schemas.microsoft.com/office/powerpoint/2010/main" val="2729928549"/>
              </p:ext>
            </p:extLst>
          </p:nvPr>
        </p:nvGraphicFramePr>
        <p:xfrm>
          <a:off x="4493654" y="755170"/>
          <a:ext cx="4098364" cy="39366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FDF9ABF0-7F75-4078-802D-F0D703D31A7E}"/>
              </a:ext>
            </a:extLst>
          </p:cNvPr>
          <p:cNvGrpSpPr/>
          <p:nvPr/>
        </p:nvGrpSpPr>
        <p:grpSpPr>
          <a:xfrm>
            <a:off x="7657306" y="1376729"/>
            <a:ext cx="407788" cy="350303"/>
            <a:chOff x="7657306" y="1376729"/>
            <a:chExt cx="407788" cy="350303"/>
          </a:xfrm>
        </p:grpSpPr>
        <p:sp>
          <p:nvSpPr>
            <p:cNvPr id="13" name="Овал 12"/>
            <p:cNvSpPr/>
            <p:nvPr/>
          </p:nvSpPr>
          <p:spPr>
            <a:xfrm>
              <a:off x="7676144" y="1376729"/>
              <a:ext cx="363347" cy="350303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72" tIns="34286" rIns="68572" bIns="34286" rtlCol="0" anchor="ctr"/>
            <a:lstStyle/>
            <a:p>
              <a:pPr algn="ctr"/>
              <a:endParaRPr lang="ru-RU" sz="1500" b="1" dirty="0">
                <a:solidFill>
                  <a:schemeClr val="bg1"/>
                </a:solidFill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7657306" y="1424925"/>
              <a:ext cx="407788" cy="253908"/>
            </a:xfrm>
            <a:prstGeom prst="rect">
              <a:avLst/>
            </a:prstGeom>
            <a:noFill/>
          </p:spPr>
          <p:txBody>
            <a:bodyPr wrap="none" lIns="68572" tIns="34286" rIns="68572" bIns="34286" rtlCol="0">
              <a:spAutoFit/>
            </a:bodyPr>
            <a:lstStyle/>
            <a:p>
              <a:r>
                <a:rPr lang="en-US" sz="1200" b="1" dirty="0">
                  <a:solidFill>
                    <a:schemeClr val="bg1"/>
                  </a:solidFill>
                </a:rPr>
                <a:t>60</a:t>
              </a:r>
              <a:r>
                <a:rPr lang="ru-RU" sz="1200" b="1" dirty="0">
                  <a:solidFill>
                    <a:schemeClr val="bg1"/>
                  </a:solidFill>
                </a:rPr>
                <a:t>%</a:t>
              </a:r>
            </a:p>
          </p:txBody>
        </p:sp>
      </p:grpSp>
      <p:pic>
        <p:nvPicPr>
          <p:cNvPr id="17" name="Picture 2">
            <a:extLst>
              <a:ext uri="{FF2B5EF4-FFF2-40B4-BE49-F238E27FC236}">
                <a16:creationId xmlns:a16="http://schemas.microsoft.com/office/drawing/2014/main" id="{F260C12F-07E3-438E-A4D1-6E9E766346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058" y="114301"/>
            <a:ext cx="834904" cy="640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5524544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Равнобедренный треугольник 52"/>
          <p:cNvSpPr/>
          <p:nvPr/>
        </p:nvSpPr>
        <p:spPr>
          <a:xfrm rot="16200000" flipH="1">
            <a:off x="5380805" y="3298084"/>
            <a:ext cx="2732735" cy="260166"/>
          </a:xfrm>
          <a:prstGeom prst="triangle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endParaRPr lang="ru-RU" sz="825">
              <a:solidFill>
                <a:prstClr val="white"/>
              </a:solidFill>
            </a:endParaRPr>
          </a:p>
        </p:txBody>
      </p:sp>
      <p:graphicFrame>
        <p:nvGraphicFramePr>
          <p:cNvPr id="63" name="Диаграмма 62"/>
          <p:cNvGraphicFramePr/>
          <p:nvPr>
            <p:extLst>
              <p:ext uri="{D42A27DB-BD31-4B8C-83A1-F6EECF244321}">
                <p14:modId xmlns:p14="http://schemas.microsoft.com/office/powerpoint/2010/main" val="710809579"/>
              </p:ext>
            </p:extLst>
          </p:nvPr>
        </p:nvGraphicFramePr>
        <p:xfrm>
          <a:off x="7047950" y="3112250"/>
          <a:ext cx="1800224" cy="13973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graphicFrame>
        <p:nvGraphicFramePr>
          <p:cNvPr id="51" name="Диаграмма 50"/>
          <p:cNvGraphicFramePr/>
          <p:nvPr>
            <p:extLst>
              <p:ext uri="{D42A27DB-BD31-4B8C-83A1-F6EECF244321}">
                <p14:modId xmlns:p14="http://schemas.microsoft.com/office/powerpoint/2010/main" val="2212733634"/>
              </p:ext>
            </p:extLst>
          </p:nvPr>
        </p:nvGraphicFramePr>
        <p:xfrm>
          <a:off x="443746" y="3812241"/>
          <a:ext cx="1853319" cy="10434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graphicFrame>
        <p:nvGraphicFramePr>
          <p:cNvPr id="2" name="Диаграмма 1"/>
          <p:cNvGraphicFramePr/>
          <p:nvPr>
            <p:extLst>
              <p:ext uri="{D42A27DB-BD31-4B8C-83A1-F6EECF244321}">
                <p14:modId xmlns:p14="http://schemas.microsoft.com/office/powerpoint/2010/main" val="2290893741"/>
              </p:ext>
            </p:extLst>
          </p:nvPr>
        </p:nvGraphicFramePr>
        <p:xfrm>
          <a:off x="426567" y="2210217"/>
          <a:ext cx="1853323" cy="11013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5" name="Заголовок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26567" y="0"/>
            <a:ext cx="7759961" cy="746928"/>
          </a:xfrm>
          <a:solidFill>
            <a:schemeClr val="bg1"/>
          </a:solidFill>
          <a:ln>
            <a:solidFill>
              <a:schemeClr val="bg1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2400" dirty="0"/>
              <a:t>Результаты реализации проекта по РТ</a:t>
            </a:r>
          </a:p>
        </p:txBody>
      </p:sp>
      <p:sp>
        <p:nvSpPr>
          <p:cNvPr id="6" name="Прямоугольник 5"/>
          <p:cNvSpPr/>
          <p:nvPr>
            <p:custDataLst>
              <p:tags r:id="rId2"/>
            </p:custDataLst>
          </p:nvPr>
        </p:nvSpPr>
        <p:spPr>
          <a:xfrm>
            <a:off x="3562683" y="662325"/>
            <a:ext cx="2473376" cy="7617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50" dirty="0">
                <a:solidFill>
                  <a:srgbClr val="000000"/>
                </a:solidFill>
                <a:cs typeface="Arial" panose="020B0604020202020204" pitchFamily="34" charset="0"/>
              </a:rPr>
              <a:t>       г. Набережные Челны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>
                <a:solidFill>
                  <a:srgbClr val="000000"/>
                </a:solidFill>
                <a:cs typeface="Arial" panose="020B0604020202020204" pitchFamily="34" charset="0"/>
              </a:rPr>
              <a:t>ООО «НПО «РОСТАР»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6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900" dirty="0">
                <a:solidFill>
                  <a:srgbClr val="000000"/>
                </a:solidFill>
                <a:cs typeface="Arial" panose="020B0604020202020204" pitchFamily="34" charset="0"/>
              </a:rPr>
              <a:t>Поток: производство рулевой тяги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198964" y="1683773"/>
            <a:ext cx="2166281" cy="430887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265510" algn="ctr"/>
            <a:r>
              <a:rPr lang="ru-RU" sz="1100" dirty="0">
                <a:solidFill>
                  <a:srgbClr val="000000"/>
                </a:solidFill>
                <a:cs typeface="Arial" panose="020B0604020202020204" pitchFamily="34" charset="0"/>
              </a:rPr>
              <a:t>ВПП производства потока, </a:t>
            </a:r>
            <a:r>
              <a:rPr lang="ru-RU" sz="1100" dirty="0" err="1">
                <a:solidFill>
                  <a:srgbClr val="000000"/>
                </a:solidFill>
                <a:cs typeface="Arial" panose="020B0604020202020204" pitchFamily="34" charset="0"/>
              </a:rPr>
              <a:t>раб.дни</a:t>
            </a:r>
            <a:endParaRPr lang="ru-RU" sz="1100" i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cxnSp>
        <p:nvCxnSpPr>
          <p:cNvPr id="8" name="Прямая со стрелкой 7"/>
          <p:cNvCxnSpPr/>
          <p:nvPr>
            <p:custDataLst>
              <p:tags r:id="rId4"/>
            </p:custDataLst>
          </p:nvPr>
        </p:nvCxnSpPr>
        <p:spPr>
          <a:xfrm>
            <a:off x="2072512" y="2557717"/>
            <a:ext cx="0" cy="286707"/>
          </a:xfrm>
          <a:prstGeom prst="straightConnector1">
            <a:avLst/>
          </a:prstGeom>
          <a:ln w="34925">
            <a:solidFill>
              <a:srgbClr val="00B050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>
            <p:custDataLst>
              <p:tags r:id="rId5"/>
            </p:custDataLst>
          </p:nvPr>
        </p:nvSpPr>
        <p:spPr>
          <a:xfrm>
            <a:off x="503066" y="3448013"/>
            <a:ext cx="1683619" cy="552450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265510"/>
            <a:r>
              <a:rPr lang="ru-RU" sz="1200" dirty="0">
                <a:solidFill>
                  <a:srgbClr val="000000"/>
                </a:solidFill>
                <a:cs typeface="Arial" panose="020B0604020202020204" pitchFamily="34" charset="0"/>
              </a:rPr>
              <a:t>НЗП в потоке, </a:t>
            </a:r>
            <a:r>
              <a:rPr lang="ru-RU" sz="1200" i="1" dirty="0">
                <a:solidFill>
                  <a:srgbClr val="000000"/>
                </a:solidFill>
                <a:cs typeface="Arial" panose="020B0604020202020204" pitchFamily="34" charset="0"/>
              </a:rPr>
              <a:t>шт.</a:t>
            </a:r>
          </a:p>
        </p:txBody>
      </p:sp>
      <p:cxnSp>
        <p:nvCxnSpPr>
          <p:cNvPr id="10" name="Прямая со стрелкой 9"/>
          <p:cNvCxnSpPr/>
          <p:nvPr>
            <p:custDataLst>
              <p:tags r:id="rId6"/>
            </p:custDataLst>
          </p:nvPr>
        </p:nvCxnSpPr>
        <p:spPr>
          <a:xfrm>
            <a:off x="2073688" y="4084373"/>
            <a:ext cx="0" cy="286707"/>
          </a:xfrm>
          <a:prstGeom prst="straightConnector1">
            <a:avLst/>
          </a:prstGeom>
          <a:ln w="34925">
            <a:solidFill>
              <a:srgbClr val="00B050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>
            <p:custDataLst>
              <p:tags r:id="rId7"/>
            </p:custDataLst>
          </p:nvPr>
        </p:nvSpPr>
        <p:spPr>
          <a:xfrm>
            <a:off x="7048736" y="2568199"/>
            <a:ext cx="1677594" cy="552450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265510"/>
            <a:r>
              <a:rPr lang="ru-RU" sz="1200" dirty="0">
                <a:solidFill>
                  <a:srgbClr val="000000"/>
                </a:solidFill>
                <a:cs typeface="Arial" panose="020B0604020202020204" pitchFamily="34" charset="0"/>
              </a:rPr>
              <a:t>Выработка, </a:t>
            </a:r>
            <a:r>
              <a:rPr lang="ru-RU" sz="1200" i="1" dirty="0" err="1">
                <a:solidFill>
                  <a:srgbClr val="000000"/>
                </a:solidFill>
                <a:cs typeface="Arial" panose="020B0604020202020204" pitchFamily="34" charset="0"/>
              </a:rPr>
              <a:t>шт</a:t>
            </a:r>
            <a:r>
              <a:rPr lang="ru-RU" sz="1200" i="1" dirty="0">
                <a:solidFill>
                  <a:srgbClr val="000000"/>
                </a:solidFill>
                <a:cs typeface="Arial" panose="020B0604020202020204" pitchFamily="34" charset="0"/>
              </a:rPr>
              <a:t>/чел</a:t>
            </a:r>
          </a:p>
        </p:txBody>
      </p:sp>
      <p:cxnSp>
        <p:nvCxnSpPr>
          <p:cNvPr id="13" name="Прямая со стрелкой 12"/>
          <p:cNvCxnSpPr/>
          <p:nvPr>
            <p:custDataLst>
              <p:tags r:id="rId8"/>
            </p:custDataLst>
          </p:nvPr>
        </p:nvCxnSpPr>
        <p:spPr>
          <a:xfrm>
            <a:off x="8811783" y="3525534"/>
            <a:ext cx="0" cy="286707"/>
          </a:xfrm>
          <a:prstGeom prst="straightConnector1">
            <a:avLst/>
          </a:prstGeom>
          <a:ln w="34925">
            <a:solidFill>
              <a:srgbClr val="00B050"/>
            </a:solidFill>
            <a:headEnd type="arrow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/>
          <p:cNvSpPr/>
          <p:nvPr>
            <p:custDataLst>
              <p:tags r:id="rId9"/>
            </p:custDataLst>
          </p:nvPr>
        </p:nvSpPr>
        <p:spPr>
          <a:xfrm>
            <a:off x="2842325" y="1888176"/>
            <a:ext cx="2952054" cy="307777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66675" algn="ctr"/>
            <a:r>
              <a:rPr lang="ru-RU" sz="1400" b="1" dirty="0">
                <a:solidFill>
                  <a:srgbClr val="2A77B0"/>
                </a:solidFill>
                <a:cs typeface="Arial" panose="020B0604020202020204" pitchFamily="34" charset="0"/>
              </a:rPr>
              <a:t>ОСНОВНЫЕ МЕРОПРИЯТИЯ</a:t>
            </a:r>
            <a:r>
              <a:rPr lang="ru-RU" sz="1400" dirty="0">
                <a:solidFill>
                  <a:srgbClr val="2A77B0"/>
                </a:solidFill>
                <a:cs typeface="Arial" panose="020B0604020202020204" pitchFamily="34" charset="0"/>
              </a:rPr>
              <a:t>:</a:t>
            </a:r>
            <a:endParaRPr lang="ru-RU" sz="1400" i="1" dirty="0">
              <a:solidFill>
                <a:srgbClr val="2A77B0"/>
              </a:solidFill>
              <a:cs typeface="Arial" panose="020B0604020202020204" pitchFamily="34" charset="0"/>
            </a:endParaRPr>
          </a:p>
        </p:txBody>
      </p:sp>
      <p:sp>
        <p:nvSpPr>
          <p:cNvPr id="18" name="Прямоугольник 17"/>
          <p:cNvSpPr/>
          <p:nvPr>
            <p:custDataLst>
              <p:tags r:id="rId10"/>
            </p:custDataLst>
          </p:nvPr>
        </p:nvSpPr>
        <p:spPr>
          <a:xfrm>
            <a:off x="2843784" y="2258529"/>
            <a:ext cx="3641747" cy="2251065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174279" indent="-115838" defTabSz="601104">
              <a:lnSpc>
                <a:spcPct val="200000"/>
              </a:lnSpc>
              <a:buAutoNum type="arabicPeriod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Перестановки оборудования в потоке</a:t>
            </a:r>
          </a:p>
          <a:p>
            <a:pPr marL="174279" indent="-115838" defTabSz="601104">
              <a:lnSpc>
                <a:spcPct val="200000"/>
              </a:lnSpc>
              <a:buAutoNum type="arabicPeriod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Организация производственных ячеек</a:t>
            </a:r>
          </a:p>
          <a:p>
            <a:pPr marL="174279" indent="-115838" defTabSz="601104">
              <a:lnSpc>
                <a:spcPct val="200000"/>
              </a:lnSpc>
              <a:buAutoNum type="arabicPeriod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Организация работы минимальными партиями</a:t>
            </a:r>
          </a:p>
          <a:p>
            <a:pPr marL="174279" indent="-115838" defTabSz="601104">
              <a:lnSpc>
                <a:spcPct val="200000"/>
              </a:lnSpc>
              <a:buAutoNum type="arabicPeriod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Сокращение дистанции транспортировки</a:t>
            </a:r>
          </a:p>
          <a:p>
            <a:pPr marL="174279" indent="-115838" defTabSz="601104">
              <a:lnSpc>
                <a:spcPct val="200000"/>
              </a:lnSpc>
              <a:buAutoNum type="arabicPeriod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Стандартизация работы ячейки</a:t>
            </a:r>
          </a:p>
          <a:p>
            <a:pPr marL="174279" indent="-115838" defTabSz="601104">
              <a:lnSpc>
                <a:spcPct val="200000"/>
              </a:lnSpc>
              <a:buAutoNum type="arabicPeriod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Сокращение переналадок</a:t>
            </a:r>
          </a:p>
        </p:txBody>
      </p:sp>
      <p:cxnSp>
        <p:nvCxnSpPr>
          <p:cNvPr id="26" name="Прямая соединительная линия 25"/>
          <p:cNvCxnSpPr/>
          <p:nvPr>
            <p:custDataLst>
              <p:tags r:id="rId11"/>
            </p:custDataLst>
          </p:nvPr>
        </p:nvCxnSpPr>
        <p:spPr bwMode="auto">
          <a:xfrm flipH="1">
            <a:off x="1856554" y="2220711"/>
            <a:ext cx="2" cy="383332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>
            <p:custDataLst>
              <p:tags r:id="rId12"/>
            </p:custDataLst>
          </p:nvPr>
        </p:nvCxnSpPr>
        <p:spPr bwMode="auto">
          <a:xfrm>
            <a:off x="873118" y="2220711"/>
            <a:ext cx="975566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>
            <p:custDataLst>
              <p:tags r:id="rId13"/>
            </p:custDataLst>
          </p:nvPr>
        </p:nvCxnSpPr>
        <p:spPr bwMode="auto">
          <a:xfrm flipV="1">
            <a:off x="872040" y="2220712"/>
            <a:ext cx="0" cy="162017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Овал 28"/>
          <p:cNvSpPr/>
          <p:nvPr>
            <p:custDataLst>
              <p:tags r:id="rId14"/>
            </p:custDataLst>
          </p:nvPr>
        </p:nvSpPr>
        <p:spPr bwMode="gray">
          <a:xfrm>
            <a:off x="1099298" y="2112700"/>
            <a:ext cx="510779" cy="250793"/>
          </a:xfrm>
          <a:prstGeom prst="ellipse">
            <a:avLst/>
          </a:prstGeom>
          <a:solidFill>
            <a:schemeClr val="accent5">
              <a:lumMod val="75000"/>
            </a:schemeClr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 defTabSz="342900">
              <a:lnSpc>
                <a:spcPct val="90000"/>
              </a:lnSpc>
            </a:pPr>
            <a:r>
              <a:rPr lang="ru-RU" sz="1050" b="1" dirty="0">
                <a:solidFill>
                  <a:prstClr val="white"/>
                </a:solidFill>
                <a:cs typeface="Arial"/>
              </a:rPr>
              <a:t>-63%</a:t>
            </a:r>
            <a:endParaRPr lang="ru-RU" sz="1050" b="1" dirty="0">
              <a:solidFill>
                <a:prstClr val="white"/>
              </a:solidFill>
              <a:cs typeface="Arial"/>
              <a:sym typeface="Arial"/>
            </a:endParaRPr>
          </a:p>
        </p:txBody>
      </p:sp>
      <p:cxnSp>
        <p:nvCxnSpPr>
          <p:cNvPr id="30" name="Прямая соединительная линия 29"/>
          <p:cNvCxnSpPr/>
          <p:nvPr>
            <p:custDataLst>
              <p:tags r:id="rId15"/>
            </p:custDataLst>
          </p:nvPr>
        </p:nvCxnSpPr>
        <p:spPr bwMode="auto">
          <a:xfrm>
            <a:off x="1848684" y="3875967"/>
            <a:ext cx="0" cy="248993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>
            <p:custDataLst>
              <p:tags r:id="rId16"/>
            </p:custDataLst>
          </p:nvPr>
        </p:nvCxnSpPr>
        <p:spPr bwMode="auto">
          <a:xfrm>
            <a:off x="872039" y="3877085"/>
            <a:ext cx="98451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>
            <p:custDataLst>
              <p:tags r:id="rId17"/>
            </p:custDataLst>
          </p:nvPr>
        </p:nvCxnSpPr>
        <p:spPr bwMode="auto">
          <a:xfrm flipV="1">
            <a:off x="872039" y="3877088"/>
            <a:ext cx="1" cy="20728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Овал 32"/>
          <p:cNvSpPr/>
          <p:nvPr>
            <p:custDataLst>
              <p:tags r:id="rId18"/>
            </p:custDataLst>
          </p:nvPr>
        </p:nvSpPr>
        <p:spPr bwMode="gray">
          <a:xfrm>
            <a:off x="1116276" y="3750571"/>
            <a:ext cx="457200" cy="250793"/>
          </a:xfrm>
          <a:prstGeom prst="ellipse">
            <a:avLst/>
          </a:prstGeom>
          <a:solidFill>
            <a:schemeClr val="accent5">
              <a:lumMod val="75000"/>
            </a:schemeClr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 defTabSz="342900">
              <a:lnSpc>
                <a:spcPct val="90000"/>
              </a:lnSpc>
            </a:pPr>
            <a:r>
              <a:rPr lang="ru-RU" sz="1050" b="1" dirty="0">
                <a:solidFill>
                  <a:prstClr val="white"/>
                </a:solidFill>
                <a:cs typeface="Arial"/>
              </a:rPr>
              <a:t>-71%</a:t>
            </a:r>
            <a:endParaRPr lang="ru-RU" sz="1050" b="1" dirty="0">
              <a:solidFill>
                <a:prstClr val="white"/>
              </a:solidFill>
              <a:cs typeface="Arial"/>
              <a:sym typeface="Arial"/>
            </a:endParaRPr>
          </a:p>
        </p:txBody>
      </p:sp>
      <p:cxnSp>
        <p:nvCxnSpPr>
          <p:cNvPr id="41" name="Прямая соединительная линия 40"/>
          <p:cNvCxnSpPr/>
          <p:nvPr>
            <p:custDataLst>
              <p:tags r:id="rId19"/>
            </p:custDataLst>
          </p:nvPr>
        </p:nvCxnSpPr>
        <p:spPr bwMode="auto">
          <a:xfrm>
            <a:off x="8426279" y="3112251"/>
            <a:ext cx="0" cy="199347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>
            <p:custDataLst>
              <p:tags r:id="rId20"/>
            </p:custDataLst>
          </p:nvPr>
        </p:nvCxnSpPr>
        <p:spPr bwMode="auto">
          <a:xfrm>
            <a:off x="7467049" y="3112251"/>
            <a:ext cx="95923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>
            <p:custDataLst>
              <p:tags r:id="rId21"/>
            </p:custDataLst>
          </p:nvPr>
        </p:nvCxnSpPr>
        <p:spPr bwMode="auto">
          <a:xfrm flipV="1">
            <a:off x="7466164" y="3112254"/>
            <a:ext cx="1" cy="199344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Овал 43"/>
          <p:cNvSpPr/>
          <p:nvPr>
            <p:custDataLst>
              <p:tags r:id="rId22"/>
            </p:custDataLst>
          </p:nvPr>
        </p:nvSpPr>
        <p:spPr bwMode="gray">
          <a:xfrm>
            <a:off x="7729329" y="3004240"/>
            <a:ext cx="457200" cy="250793"/>
          </a:xfrm>
          <a:prstGeom prst="ellipse">
            <a:avLst/>
          </a:prstGeom>
          <a:solidFill>
            <a:schemeClr val="accent5">
              <a:lumMod val="75000"/>
            </a:schemeClr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 defTabSz="342900">
              <a:lnSpc>
                <a:spcPct val="90000"/>
              </a:lnSpc>
            </a:pPr>
            <a:r>
              <a:rPr lang="ru-RU" sz="1050" b="1" dirty="0">
                <a:solidFill>
                  <a:prstClr val="white"/>
                </a:solidFill>
                <a:cs typeface="Arial"/>
              </a:rPr>
              <a:t>+90%</a:t>
            </a:r>
            <a:endParaRPr lang="ru-RU" sz="1050" b="1" dirty="0">
              <a:solidFill>
                <a:prstClr val="white"/>
              </a:solidFill>
              <a:cs typeface="Arial"/>
              <a:sym typeface="Arial"/>
            </a:endParaRPr>
          </a:p>
        </p:txBody>
      </p:sp>
      <p:sp>
        <p:nvSpPr>
          <p:cNvPr id="48" name="Slide Number Placeholder 6"/>
          <p:cNvSpPr txBox="1">
            <a:spLocks/>
          </p:cNvSpPr>
          <p:nvPr/>
        </p:nvSpPr>
        <p:spPr>
          <a:xfrm>
            <a:off x="7604455" y="4869657"/>
            <a:ext cx="282739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b="1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33C34FD-A43B-634A-9B8C-9626670F7CE8}" type="slidenum">
              <a:rPr lang="en-US" sz="900">
                <a:solidFill>
                  <a:prstClr val="white"/>
                </a:solidFill>
              </a:rPr>
              <a:pPr/>
              <a:t>63</a:t>
            </a:fld>
            <a:endParaRPr lang="en-US" sz="900">
              <a:solidFill>
                <a:prstClr val="white"/>
              </a:solidFill>
            </a:endParaRPr>
          </a:p>
        </p:txBody>
      </p:sp>
      <p:sp>
        <p:nvSpPr>
          <p:cNvPr id="49" name="Равнобедренный треугольник 48"/>
          <p:cNvSpPr/>
          <p:nvPr/>
        </p:nvSpPr>
        <p:spPr>
          <a:xfrm rot="5400000">
            <a:off x="1214316" y="3293439"/>
            <a:ext cx="2732735" cy="260166"/>
          </a:xfrm>
          <a:prstGeom prst="triangle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r>
              <a:rPr lang="ru-RU" sz="825" dirty="0">
                <a:solidFill>
                  <a:prstClr val="white"/>
                </a:solidFill>
              </a:rPr>
              <a:t>   </a:t>
            </a:r>
          </a:p>
        </p:txBody>
      </p:sp>
      <p:pic>
        <p:nvPicPr>
          <p:cNvPr id="47" name="Picture 7" descr="ÐÐ°ÑÑÐ¸Ð½ÐºÐ¸ Ð¿Ð¾ Ð·Ð°Ð¿ÑÐ¾ÑÑ ÑÐ¾ÑÑÐ°Ñ"/>
          <p:cNvPicPr>
            <a:picLocks noChangeAspect="1" noChangeArrowheads="1"/>
          </p:cNvPicPr>
          <p:nvPr/>
        </p:nvPicPr>
        <p:blipFill rotWithShape="1"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680208" y="736463"/>
            <a:ext cx="882474" cy="691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Рисунок 2" descr="Вырезка экрана"/>
          <p:cNvPicPr>
            <a:picLocks noChangeAspect="1"/>
          </p:cNvPicPr>
          <p:nvPr/>
        </p:nvPicPr>
        <p:blipFill rotWithShape="1"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4069" y="600209"/>
            <a:ext cx="1556864" cy="1021894"/>
          </a:xfrm>
          <a:prstGeom prst="rect">
            <a:avLst/>
          </a:prstGeom>
        </p:spPr>
      </p:pic>
      <p:pic>
        <p:nvPicPr>
          <p:cNvPr id="46" name="Picture 11"/>
          <p:cNvPicPr>
            <a:picLocks noChangeAspect="1" noChangeArrowheads="1"/>
          </p:cNvPicPr>
          <p:nvPr/>
        </p:nvPicPr>
        <p:blipFill rotWithShape="1"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455" b="29093"/>
          <a:stretch/>
        </p:blipFill>
        <p:spPr bwMode="auto">
          <a:xfrm rot="20938607">
            <a:off x="6761853" y="470645"/>
            <a:ext cx="2033906" cy="5242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21961376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>
            <p:custDataLst>
              <p:tags r:id="rId1"/>
            </p:custDataLst>
          </p:nvPr>
        </p:nvSpPr>
        <p:spPr>
          <a:xfrm>
            <a:off x="3100735" y="1856950"/>
            <a:ext cx="2944850" cy="3000821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66675"/>
            <a:r>
              <a:rPr lang="ru-RU" sz="1050" dirty="0">
                <a:solidFill>
                  <a:srgbClr val="000000"/>
                </a:solidFill>
                <a:cs typeface="Arial" panose="020B0604020202020204" pitchFamily="34" charset="0"/>
              </a:rPr>
              <a:t>1. Создание буферной зоны комплектования кузова на заготовительном участке и внедрение цветовой принадлежности тары к следующей операции – снижение ожиданий и уровня запасов.</a:t>
            </a:r>
          </a:p>
          <a:p>
            <a:pPr marL="66675"/>
            <a:r>
              <a:rPr lang="ru-RU" sz="1050" dirty="0">
                <a:solidFill>
                  <a:srgbClr val="000000"/>
                </a:solidFill>
                <a:cs typeface="Arial" panose="020B0604020202020204" pitchFamily="34" charset="0"/>
              </a:rPr>
              <a:t>2. Перенос звена изготовления малых узлов для исключения </a:t>
            </a:r>
            <a:r>
              <a:rPr lang="ru-RU" sz="1050" dirty="0" err="1">
                <a:solidFill>
                  <a:srgbClr val="000000"/>
                </a:solidFill>
                <a:cs typeface="Arial" panose="020B0604020202020204" pitchFamily="34" charset="0"/>
              </a:rPr>
              <a:t>противопотоков</a:t>
            </a:r>
            <a:r>
              <a:rPr lang="ru-RU" sz="1050" dirty="0">
                <a:solidFill>
                  <a:srgbClr val="000000"/>
                </a:solidFill>
                <a:cs typeface="Arial" panose="020B0604020202020204" pitchFamily="34" charset="0"/>
              </a:rPr>
              <a:t> и освобождения площадей. Организация участка сборки основания кузова потоком в одну линию, создание зон хранения и внедрение правил движения материалов и заготовок.</a:t>
            </a:r>
          </a:p>
          <a:p>
            <a:pPr marL="66675"/>
            <a:r>
              <a:rPr lang="ru-RU" sz="1050" dirty="0">
                <a:solidFill>
                  <a:srgbClr val="000000"/>
                </a:solidFill>
                <a:cs typeface="Arial" panose="020B0604020202020204" pitchFamily="34" charset="0"/>
              </a:rPr>
              <a:t>3. Внедрение калибров проверки геометрии заготовок, периодическая проверка «проблемных» заготовок – снижение количества операций доработок</a:t>
            </a:r>
          </a:p>
          <a:p>
            <a:pPr marL="66675"/>
            <a:r>
              <a:rPr lang="ru-RU" sz="1050" dirty="0">
                <a:solidFill>
                  <a:srgbClr val="000000"/>
                </a:solidFill>
                <a:cs typeface="Arial" panose="020B0604020202020204" pitchFamily="34" charset="0"/>
              </a:rPr>
              <a:t>4. Стандартизирована работа слесаря и сварщика на звеньях сборки, обучение слесарей сварочным работам – снижены ожидания и простои в работе.</a:t>
            </a:r>
          </a:p>
        </p:txBody>
      </p:sp>
      <p:sp>
        <p:nvSpPr>
          <p:cNvPr id="15" name="Равнобедренный треугольник 14"/>
          <p:cNvSpPr/>
          <p:nvPr/>
        </p:nvSpPr>
        <p:spPr>
          <a:xfrm rot="5400000">
            <a:off x="1604284" y="3293439"/>
            <a:ext cx="2732735" cy="260166"/>
          </a:xfrm>
          <a:prstGeom prst="triangl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r>
              <a:rPr lang="ru-RU" sz="825" dirty="0">
                <a:solidFill>
                  <a:prstClr val="white"/>
                </a:solidFill>
              </a:rPr>
              <a:t>   </a:t>
            </a:r>
          </a:p>
        </p:txBody>
      </p:sp>
      <p:sp>
        <p:nvSpPr>
          <p:cNvPr id="53" name="Равнобедренный треугольник 52"/>
          <p:cNvSpPr/>
          <p:nvPr/>
        </p:nvSpPr>
        <p:spPr>
          <a:xfrm rot="16200000" flipH="1">
            <a:off x="4809301" y="3298084"/>
            <a:ext cx="2732735" cy="260166"/>
          </a:xfrm>
          <a:prstGeom prst="triangl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endParaRPr lang="ru-RU" sz="825">
              <a:solidFill>
                <a:prstClr val="white"/>
              </a:solidFill>
            </a:endParaRPr>
          </a:p>
        </p:txBody>
      </p:sp>
      <p:sp>
        <p:nvSpPr>
          <p:cNvPr id="17" name="Прямоугольник 16"/>
          <p:cNvSpPr/>
          <p:nvPr>
            <p:custDataLst>
              <p:tags r:id="rId2"/>
            </p:custDataLst>
          </p:nvPr>
        </p:nvSpPr>
        <p:spPr>
          <a:xfrm>
            <a:off x="6280851" y="3412722"/>
            <a:ext cx="1477261" cy="323165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265510"/>
            <a:r>
              <a:rPr lang="ru-RU" sz="750" dirty="0">
                <a:solidFill>
                  <a:srgbClr val="000000"/>
                </a:solidFill>
                <a:cs typeface="Arial" panose="020B0604020202020204" pitchFamily="34" charset="0"/>
              </a:rPr>
              <a:t>Расстояние транспортировки, </a:t>
            </a:r>
            <a:r>
              <a:rPr lang="ru-RU" sz="750" i="1" dirty="0">
                <a:solidFill>
                  <a:srgbClr val="000000"/>
                </a:solidFill>
                <a:cs typeface="Arial" panose="020B0604020202020204" pitchFamily="34" charset="0"/>
              </a:rPr>
              <a:t>метр</a:t>
            </a:r>
            <a:r>
              <a:rPr lang="ru-RU" sz="750" dirty="0">
                <a:solidFill>
                  <a:srgbClr val="000000"/>
                </a:solidFill>
                <a:cs typeface="Arial" panose="020B0604020202020204" pitchFamily="34" charset="0"/>
              </a:rPr>
              <a:t>.</a:t>
            </a:r>
            <a:endParaRPr lang="ru-RU" sz="750" i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64" name="Диаграмма 63"/>
          <p:cNvGraphicFramePr/>
          <p:nvPr/>
        </p:nvGraphicFramePr>
        <p:xfrm>
          <a:off x="6200775" y="3875967"/>
          <a:ext cx="1800225" cy="9721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graphicFrame>
        <p:nvGraphicFramePr>
          <p:cNvPr id="63" name="Диаграмма 62"/>
          <p:cNvGraphicFramePr/>
          <p:nvPr/>
        </p:nvGraphicFramePr>
        <p:xfrm>
          <a:off x="6200776" y="2220711"/>
          <a:ext cx="1800224" cy="9721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graphicFrame>
        <p:nvGraphicFramePr>
          <p:cNvPr id="51" name="Диаграмма 50"/>
          <p:cNvGraphicFramePr/>
          <p:nvPr/>
        </p:nvGraphicFramePr>
        <p:xfrm>
          <a:off x="1143001" y="3883559"/>
          <a:ext cx="1800224" cy="9721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graphicFrame>
        <p:nvGraphicFramePr>
          <p:cNvPr id="2" name="Диаграмма 1"/>
          <p:cNvGraphicFramePr/>
          <p:nvPr/>
        </p:nvGraphicFramePr>
        <p:xfrm>
          <a:off x="1125822" y="2210218"/>
          <a:ext cx="1817404" cy="9721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032951" y="4359798"/>
            <a:ext cx="282739" cy="273844"/>
          </a:xfrm>
        </p:spPr>
        <p:txBody>
          <a:bodyPr/>
          <a:lstStyle/>
          <a:p>
            <a:fld id="{C33C34FD-A43B-634A-9B8C-9626670F7CE8}" type="slidenum">
              <a:rPr lang="en-US" smtClean="0">
                <a:solidFill>
                  <a:prstClr val="white"/>
                </a:solidFill>
              </a:rPr>
              <a:pPr/>
              <a:t>64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572372" y="0"/>
            <a:ext cx="3959749" cy="746928"/>
          </a:xfrm>
        </p:spPr>
        <p:txBody>
          <a:bodyPr>
            <a:noAutofit/>
          </a:bodyPr>
          <a:lstStyle/>
          <a:p>
            <a:r>
              <a:rPr lang="ru-RU" dirty="0"/>
              <a:t>Результаты реализации проекта по РТ</a:t>
            </a:r>
          </a:p>
        </p:txBody>
      </p:sp>
      <p:sp>
        <p:nvSpPr>
          <p:cNvPr id="6" name="Прямоугольник 5"/>
          <p:cNvSpPr/>
          <p:nvPr>
            <p:custDataLst>
              <p:tags r:id="rId4"/>
            </p:custDataLst>
          </p:nvPr>
        </p:nvSpPr>
        <p:spPr>
          <a:xfrm>
            <a:off x="3533472" y="890925"/>
            <a:ext cx="3195055" cy="7617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50" dirty="0">
                <a:solidFill>
                  <a:srgbClr val="000000"/>
                </a:solidFill>
                <a:cs typeface="Arial" panose="020B0604020202020204" pitchFamily="34" charset="0"/>
              </a:rPr>
              <a:t>       г. Набережные Челны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>
                <a:solidFill>
                  <a:srgbClr val="000000"/>
                </a:solidFill>
                <a:cs typeface="Arial" panose="020B0604020202020204" pitchFamily="34" charset="0"/>
              </a:rPr>
              <a:t>ООО «</a:t>
            </a:r>
            <a:r>
              <a:rPr lang="ru-RU" b="1" dirty="0" err="1">
                <a:solidFill>
                  <a:srgbClr val="000000"/>
                </a:solidFill>
                <a:cs typeface="Arial" panose="020B0604020202020204" pitchFamily="34" charset="0"/>
              </a:rPr>
              <a:t>Автомастер</a:t>
            </a:r>
            <a:r>
              <a:rPr lang="ru-RU" b="1" dirty="0">
                <a:solidFill>
                  <a:srgbClr val="000000"/>
                </a:solidFill>
                <a:cs typeface="Arial" panose="020B0604020202020204" pitchFamily="34" charset="0"/>
              </a:rPr>
              <a:t>»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6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900" dirty="0">
                <a:solidFill>
                  <a:srgbClr val="000000"/>
                </a:solidFill>
                <a:cs typeface="Arial" panose="020B0604020202020204" pitchFamily="34" charset="0"/>
              </a:rPr>
              <a:t>Поток: производство полуприцепов-зерновозов</a:t>
            </a:r>
          </a:p>
        </p:txBody>
      </p:sp>
      <p:sp>
        <p:nvSpPr>
          <p:cNvPr id="7" name="Прямоугольник 6"/>
          <p:cNvSpPr/>
          <p:nvPr>
            <p:custDataLst>
              <p:tags r:id="rId5"/>
            </p:custDataLst>
          </p:nvPr>
        </p:nvSpPr>
        <p:spPr>
          <a:xfrm>
            <a:off x="1113388" y="1915307"/>
            <a:ext cx="2166281" cy="207749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265510"/>
            <a:r>
              <a:rPr lang="ru-RU" sz="750" dirty="0">
                <a:solidFill>
                  <a:srgbClr val="000000"/>
                </a:solidFill>
                <a:cs typeface="Arial" panose="020B0604020202020204" pitchFamily="34" charset="0"/>
              </a:rPr>
              <a:t>ВПП производства потока, </a:t>
            </a:r>
            <a:r>
              <a:rPr lang="ru-RU" sz="750" i="1" dirty="0">
                <a:solidFill>
                  <a:srgbClr val="000000"/>
                </a:solidFill>
                <a:cs typeface="Arial" panose="020B0604020202020204" pitchFamily="34" charset="0"/>
              </a:rPr>
              <a:t>дни.</a:t>
            </a:r>
          </a:p>
        </p:txBody>
      </p:sp>
      <p:cxnSp>
        <p:nvCxnSpPr>
          <p:cNvPr id="8" name="Прямая со стрелкой 7"/>
          <p:cNvCxnSpPr/>
          <p:nvPr>
            <p:custDataLst>
              <p:tags r:id="rId6"/>
            </p:custDataLst>
          </p:nvPr>
        </p:nvCxnSpPr>
        <p:spPr>
          <a:xfrm>
            <a:off x="1265695" y="1975233"/>
            <a:ext cx="0" cy="286707"/>
          </a:xfrm>
          <a:prstGeom prst="straightConnector1">
            <a:avLst/>
          </a:prstGeom>
          <a:ln w="34925">
            <a:solidFill>
              <a:schemeClr val="accent5">
                <a:lumMod val="50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>
            <p:custDataLst>
              <p:tags r:id="rId7"/>
            </p:custDataLst>
          </p:nvPr>
        </p:nvSpPr>
        <p:spPr>
          <a:xfrm>
            <a:off x="1156243" y="3430285"/>
            <a:ext cx="1760525" cy="552450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265510"/>
            <a:r>
              <a:rPr lang="ru-RU" sz="750" dirty="0" err="1">
                <a:solidFill>
                  <a:srgbClr val="000000"/>
                </a:solidFill>
                <a:cs typeface="Arial" panose="020B0604020202020204" pitchFamily="34" charset="0"/>
              </a:rPr>
              <a:t>Машкомплекты</a:t>
            </a:r>
            <a:r>
              <a:rPr lang="ru-RU" sz="750" dirty="0">
                <a:solidFill>
                  <a:srgbClr val="000000"/>
                </a:solidFill>
                <a:cs typeface="Arial" panose="020B0604020202020204" pitchFamily="34" charset="0"/>
              </a:rPr>
              <a:t> на сборочном участке, </a:t>
            </a:r>
            <a:r>
              <a:rPr lang="ru-RU" sz="750" i="1" dirty="0">
                <a:solidFill>
                  <a:srgbClr val="000000"/>
                </a:solidFill>
                <a:cs typeface="Arial" panose="020B0604020202020204" pitchFamily="34" charset="0"/>
              </a:rPr>
              <a:t>шт.</a:t>
            </a:r>
          </a:p>
        </p:txBody>
      </p:sp>
      <p:cxnSp>
        <p:nvCxnSpPr>
          <p:cNvPr id="10" name="Прямая со стрелкой 9"/>
          <p:cNvCxnSpPr/>
          <p:nvPr>
            <p:custDataLst>
              <p:tags r:id="rId8"/>
            </p:custDataLst>
          </p:nvPr>
        </p:nvCxnSpPr>
        <p:spPr>
          <a:xfrm>
            <a:off x="1265695" y="3488095"/>
            <a:ext cx="0" cy="286707"/>
          </a:xfrm>
          <a:prstGeom prst="straightConnector1">
            <a:avLst/>
          </a:prstGeom>
          <a:ln w="34925">
            <a:solidFill>
              <a:schemeClr val="accent5">
                <a:lumMod val="50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 стрелкой 10"/>
          <p:cNvCxnSpPr/>
          <p:nvPr>
            <p:custDataLst>
              <p:tags r:id="rId9"/>
            </p:custDataLst>
          </p:nvPr>
        </p:nvCxnSpPr>
        <p:spPr>
          <a:xfrm flipV="1">
            <a:off x="6421764" y="3500201"/>
            <a:ext cx="0" cy="260610"/>
          </a:xfrm>
          <a:prstGeom prst="straightConnector1">
            <a:avLst/>
          </a:prstGeom>
          <a:ln w="34925">
            <a:solidFill>
              <a:schemeClr val="accent5">
                <a:lumMod val="50000"/>
              </a:schemeClr>
            </a:solidFill>
            <a:headEnd type="arrow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>
            <p:custDataLst>
              <p:tags r:id="rId10"/>
            </p:custDataLst>
          </p:nvPr>
        </p:nvSpPr>
        <p:spPr>
          <a:xfrm>
            <a:off x="6271019" y="1817192"/>
            <a:ext cx="1677594" cy="552450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265510"/>
            <a:r>
              <a:rPr lang="ru-RU" sz="750" dirty="0">
                <a:solidFill>
                  <a:srgbClr val="000000"/>
                </a:solidFill>
                <a:cs typeface="Arial" panose="020B0604020202020204" pitchFamily="34" charset="0"/>
              </a:rPr>
              <a:t>Время сборки основания кузова, </a:t>
            </a:r>
            <a:r>
              <a:rPr lang="ru-RU" sz="750" i="1" dirty="0">
                <a:solidFill>
                  <a:srgbClr val="000000"/>
                </a:solidFill>
                <a:cs typeface="Arial" panose="020B0604020202020204" pitchFamily="34" charset="0"/>
              </a:rPr>
              <a:t>час.</a:t>
            </a:r>
          </a:p>
        </p:txBody>
      </p:sp>
      <p:cxnSp>
        <p:nvCxnSpPr>
          <p:cNvPr id="13" name="Прямая со стрелкой 12"/>
          <p:cNvCxnSpPr/>
          <p:nvPr>
            <p:custDataLst>
              <p:tags r:id="rId11"/>
            </p:custDataLst>
          </p:nvPr>
        </p:nvCxnSpPr>
        <p:spPr>
          <a:xfrm>
            <a:off x="6411036" y="1883588"/>
            <a:ext cx="0" cy="286707"/>
          </a:xfrm>
          <a:prstGeom prst="straightConnector1">
            <a:avLst/>
          </a:prstGeom>
          <a:ln w="34925">
            <a:solidFill>
              <a:schemeClr val="accent5">
                <a:lumMod val="50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/>
          <p:cNvSpPr/>
          <p:nvPr>
            <p:custDataLst>
              <p:tags r:id="rId12"/>
            </p:custDataLst>
          </p:nvPr>
        </p:nvSpPr>
        <p:spPr>
          <a:xfrm>
            <a:off x="3473840" y="1669500"/>
            <a:ext cx="2166281" cy="23083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66675" algn="ctr"/>
            <a:r>
              <a:rPr lang="ru-RU" sz="900" b="1" dirty="0">
                <a:solidFill>
                  <a:srgbClr val="2A77B0"/>
                </a:solidFill>
                <a:cs typeface="Arial" panose="020B0604020202020204" pitchFamily="34" charset="0"/>
              </a:rPr>
              <a:t>ОСНОВНЫЕ МЕРОПРИЯТИЯ:</a:t>
            </a:r>
            <a:endParaRPr lang="ru-RU" sz="900" b="1" i="1" dirty="0">
              <a:solidFill>
                <a:srgbClr val="2A77B0"/>
              </a:solidFill>
              <a:cs typeface="Arial" panose="020B0604020202020204" pitchFamily="34" charset="0"/>
            </a:endParaRPr>
          </a:p>
        </p:txBody>
      </p:sp>
      <p:cxnSp>
        <p:nvCxnSpPr>
          <p:cNvPr id="22" name="Прямая соединительная линия 21"/>
          <p:cNvCxnSpPr/>
          <p:nvPr>
            <p:custDataLst>
              <p:tags r:id="rId13"/>
            </p:custDataLst>
          </p:nvPr>
        </p:nvCxnSpPr>
        <p:spPr bwMode="auto">
          <a:xfrm>
            <a:off x="7564388" y="3867894"/>
            <a:ext cx="0" cy="513057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>
            <p:custDataLst>
              <p:tags r:id="rId14"/>
            </p:custDataLst>
          </p:nvPr>
        </p:nvCxnSpPr>
        <p:spPr bwMode="auto">
          <a:xfrm>
            <a:off x="6619875" y="3867894"/>
            <a:ext cx="944513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>
            <p:custDataLst>
              <p:tags r:id="rId15"/>
            </p:custDataLst>
          </p:nvPr>
        </p:nvCxnSpPr>
        <p:spPr bwMode="auto">
          <a:xfrm flipV="1">
            <a:off x="6619875" y="3875967"/>
            <a:ext cx="0" cy="396972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Овал 24"/>
          <p:cNvSpPr/>
          <p:nvPr>
            <p:custDataLst>
              <p:tags r:id="rId16"/>
            </p:custDataLst>
          </p:nvPr>
        </p:nvSpPr>
        <p:spPr bwMode="gray">
          <a:xfrm>
            <a:off x="6876348" y="3752116"/>
            <a:ext cx="457200" cy="250793"/>
          </a:xfrm>
          <a:prstGeom prst="ellipse">
            <a:avLst/>
          </a:prstGeom>
          <a:solidFill>
            <a:schemeClr val="accent5">
              <a:lumMod val="75000"/>
            </a:schemeClr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 defTabSz="342900">
              <a:lnSpc>
                <a:spcPct val="90000"/>
              </a:lnSpc>
            </a:pPr>
            <a:r>
              <a:rPr lang="ru-RU" sz="1050" b="1" dirty="0">
                <a:solidFill>
                  <a:prstClr val="white"/>
                </a:solidFill>
                <a:cs typeface="Arial"/>
              </a:rPr>
              <a:t>-10%</a:t>
            </a:r>
            <a:endParaRPr lang="ru-RU" sz="1050" b="1" dirty="0">
              <a:solidFill>
                <a:prstClr val="white"/>
              </a:solidFill>
              <a:cs typeface="Arial"/>
              <a:sym typeface="Arial"/>
            </a:endParaRPr>
          </a:p>
        </p:txBody>
      </p:sp>
      <p:cxnSp>
        <p:nvCxnSpPr>
          <p:cNvPr id="26" name="Прямая соединительная линия 25"/>
          <p:cNvCxnSpPr/>
          <p:nvPr>
            <p:custDataLst>
              <p:tags r:id="rId17"/>
            </p:custDataLst>
          </p:nvPr>
        </p:nvCxnSpPr>
        <p:spPr bwMode="auto">
          <a:xfrm flipH="1">
            <a:off x="2555808" y="2220711"/>
            <a:ext cx="1" cy="622502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>
            <p:custDataLst>
              <p:tags r:id="rId18"/>
            </p:custDataLst>
          </p:nvPr>
        </p:nvCxnSpPr>
        <p:spPr bwMode="auto">
          <a:xfrm>
            <a:off x="1572372" y="2220711"/>
            <a:ext cx="975566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>
            <p:custDataLst>
              <p:tags r:id="rId19"/>
            </p:custDataLst>
          </p:nvPr>
        </p:nvCxnSpPr>
        <p:spPr bwMode="auto">
          <a:xfrm flipV="1">
            <a:off x="1571294" y="2220712"/>
            <a:ext cx="0" cy="188171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Овал 28"/>
          <p:cNvSpPr/>
          <p:nvPr>
            <p:custDataLst>
              <p:tags r:id="rId20"/>
            </p:custDataLst>
          </p:nvPr>
        </p:nvSpPr>
        <p:spPr bwMode="gray">
          <a:xfrm>
            <a:off x="1798552" y="2112700"/>
            <a:ext cx="510779" cy="250793"/>
          </a:xfrm>
          <a:prstGeom prst="ellipse">
            <a:avLst/>
          </a:prstGeom>
          <a:solidFill>
            <a:schemeClr val="accent5">
              <a:lumMod val="75000"/>
            </a:schemeClr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 defTabSz="342900">
              <a:lnSpc>
                <a:spcPct val="90000"/>
              </a:lnSpc>
            </a:pPr>
            <a:r>
              <a:rPr lang="ru-RU" sz="1050" b="1" dirty="0">
                <a:solidFill>
                  <a:prstClr val="white"/>
                </a:solidFill>
                <a:cs typeface="Arial"/>
              </a:rPr>
              <a:t>-52%</a:t>
            </a:r>
            <a:endParaRPr lang="ru-RU" sz="1050" b="1" dirty="0">
              <a:solidFill>
                <a:prstClr val="white"/>
              </a:solidFill>
              <a:cs typeface="Arial"/>
              <a:sym typeface="Arial"/>
            </a:endParaRPr>
          </a:p>
        </p:txBody>
      </p:sp>
      <p:cxnSp>
        <p:nvCxnSpPr>
          <p:cNvPr id="30" name="Прямая соединительная линия 29"/>
          <p:cNvCxnSpPr/>
          <p:nvPr>
            <p:custDataLst>
              <p:tags r:id="rId21"/>
            </p:custDataLst>
          </p:nvPr>
        </p:nvCxnSpPr>
        <p:spPr bwMode="auto">
          <a:xfrm>
            <a:off x="2547938" y="3875967"/>
            <a:ext cx="0" cy="450978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>
            <p:custDataLst>
              <p:tags r:id="rId22"/>
            </p:custDataLst>
          </p:nvPr>
        </p:nvCxnSpPr>
        <p:spPr bwMode="auto">
          <a:xfrm>
            <a:off x="1571293" y="3877085"/>
            <a:ext cx="98451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>
            <p:custDataLst>
              <p:tags r:id="rId23"/>
            </p:custDataLst>
          </p:nvPr>
        </p:nvCxnSpPr>
        <p:spPr bwMode="auto">
          <a:xfrm flipV="1">
            <a:off x="1571294" y="3877086"/>
            <a:ext cx="0" cy="151277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Овал 32"/>
          <p:cNvSpPr/>
          <p:nvPr>
            <p:custDataLst>
              <p:tags r:id="rId24"/>
            </p:custDataLst>
          </p:nvPr>
        </p:nvSpPr>
        <p:spPr bwMode="gray">
          <a:xfrm>
            <a:off x="1815530" y="3750571"/>
            <a:ext cx="457200" cy="250793"/>
          </a:xfrm>
          <a:prstGeom prst="ellipse">
            <a:avLst/>
          </a:prstGeom>
          <a:solidFill>
            <a:schemeClr val="accent5">
              <a:lumMod val="75000"/>
            </a:schemeClr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 defTabSz="342900">
              <a:lnSpc>
                <a:spcPct val="90000"/>
              </a:lnSpc>
            </a:pPr>
            <a:r>
              <a:rPr lang="ru-RU" sz="1050" b="1" dirty="0">
                <a:solidFill>
                  <a:prstClr val="white"/>
                </a:solidFill>
                <a:cs typeface="Arial"/>
              </a:rPr>
              <a:t>-56%</a:t>
            </a:r>
            <a:endParaRPr lang="ru-RU" sz="1050" b="1" dirty="0">
              <a:solidFill>
                <a:prstClr val="white"/>
              </a:solidFill>
              <a:cs typeface="Arial"/>
              <a:sym typeface="Arial"/>
            </a:endParaRPr>
          </a:p>
        </p:txBody>
      </p:sp>
      <p:cxnSp>
        <p:nvCxnSpPr>
          <p:cNvPr id="41" name="Прямая соединительная линия 40"/>
          <p:cNvCxnSpPr/>
          <p:nvPr>
            <p:custDataLst>
              <p:tags r:id="rId25"/>
            </p:custDataLst>
          </p:nvPr>
        </p:nvCxnSpPr>
        <p:spPr bwMode="auto">
          <a:xfrm>
            <a:off x="7579105" y="2220711"/>
            <a:ext cx="0" cy="398664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>
            <p:custDataLst>
              <p:tags r:id="rId26"/>
            </p:custDataLst>
          </p:nvPr>
        </p:nvCxnSpPr>
        <p:spPr bwMode="auto">
          <a:xfrm>
            <a:off x="6619875" y="2220711"/>
            <a:ext cx="95923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>
            <p:custDataLst>
              <p:tags r:id="rId27"/>
            </p:custDataLst>
          </p:nvPr>
        </p:nvCxnSpPr>
        <p:spPr bwMode="auto">
          <a:xfrm flipV="1">
            <a:off x="6618989" y="2220713"/>
            <a:ext cx="0" cy="229524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Овал 43"/>
          <p:cNvSpPr/>
          <p:nvPr>
            <p:custDataLst>
              <p:tags r:id="rId28"/>
            </p:custDataLst>
          </p:nvPr>
        </p:nvSpPr>
        <p:spPr bwMode="gray">
          <a:xfrm>
            <a:off x="6882155" y="2112700"/>
            <a:ext cx="457200" cy="250793"/>
          </a:xfrm>
          <a:prstGeom prst="ellipse">
            <a:avLst/>
          </a:prstGeom>
          <a:solidFill>
            <a:schemeClr val="accent5">
              <a:lumMod val="75000"/>
            </a:schemeClr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 defTabSz="342900">
              <a:lnSpc>
                <a:spcPct val="90000"/>
              </a:lnSpc>
            </a:pPr>
            <a:r>
              <a:rPr lang="ru-RU" sz="1050" b="1" dirty="0">
                <a:solidFill>
                  <a:prstClr val="white"/>
                </a:solidFill>
                <a:cs typeface="Arial"/>
              </a:rPr>
              <a:t>-29%</a:t>
            </a:r>
            <a:endParaRPr lang="ru-RU" sz="1050" b="1" dirty="0">
              <a:solidFill>
                <a:prstClr val="white"/>
              </a:solidFill>
              <a:cs typeface="Arial"/>
              <a:sym typeface="Arial"/>
            </a:endParaRPr>
          </a:p>
        </p:txBody>
      </p:sp>
      <p:sp>
        <p:nvSpPr>
          <p:cNvPr id="48" name="Slide Number Placeholder 6"/>
          <p:cNvSpPr txBox="1">
            <a:spLocks/>
          </p:cNvSpPr>
          <p:nvPr/>
        </p:nvSpPr>
        <p:spPr>
          <a:xfrm>
            <a:off x="7032951" y="4869657"/>
            <a:ext cx="282739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b="1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33C34FD-A43B-634A-9B8C-9626670F7CE8}" type="slidenum">
              <a:rPr lang="en-US" sz="900">
                <a:solidFill>
                  <a:prstClr val="white"/>
                </a:solidFill>
              </a:rPr>
              <a:pPr/>
              <a:t>64</a:t>
            </a:fld>
            <a:endParaRPr lang="en-US" sz="900">
              <a:solidFill>
                <a:prstClr val="white"/>
              </a:solidFill>
            </a:endParaRPr>
          </a:p>
        </p:txBody>
      </p:sp>
      <p:pic>
        <p:nvPicPr>
          <p:cNvPr id="49" name="Picture 2" descr="C:\Users\user\Desktop\Татарстан\Набережные Челны\Автомастер\О продукте\1.png"/>
          <p:cNvPicPr>
            <a:picLocks noChangeAspect="1" noChangeArrowheads="1"/>
          </p:cNvPicPr>
          <p:nvPr/>
        </p:nvPicPr>
        <p:blipFill rotWithShape="1">
          <a:blip r:embed="rId3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 flipH="1">
            <a:off x="6259717" y="853475"/>
            <a:ext cx="1652547" cy="929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19" descr="ÐÐ¾ÑÐ¾Ð¶ÐµÐµ Ð¸Ð·Ð¾Ð±ÑÐ°Ð¶ÐµÐ½Ð¸Ðµ"/>
          <p:cNvPicPr>
            <a:picLocks noChangeAspect="1" noChangeArrowheads="1"/>
          </p:cNvPicPr>
          <p:nvPr/>
        </p:nvPicPr>
        <p:blipFill rotWithShape="1"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691" b="40619"/>
          <a:stretch/>
        </p:blipFill>
        <p:spPr bwMode="auto">
          <a:xfrm>
            <a:off x="5553186" y="180869"/>
            <a:ext cx="1213894" cy="3604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5" descr="C:\Users\user\Pictures\амкар.jpg"/>
          <p:cNvPicPr>
            <a:picLocks noChangeAspect="1" noChangeArrowheads="1"/>
          </p:cNvPicPr>
          <p:nvPr/>
        </p:nvPicPr>
        <p:blipFill rotWithShape="1"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200151" y="823933"/>
            <a:ext cx="2240279" cy="1033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281" descr="C:\Users\user\Desktop\Татарстан\Набережные Челны\Автомастер\О продукте\SUx120_2x-1.jpg"/>
          <p:cNvPicPr>
            <a:picLocks noChangeAspect="1" noChangeArrowheads="1"/>
          </p:cNvPicPr>
          <p:nvPr/>
        </p:nvPicPr>
        <p:blipFill>
          <a:blip r:embed="rId3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5849" y="800293"/>
            <a:ext cx="222750" cy="270000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4286659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Равнобедренный треугольник 14"/>
          <p:cNvSpPr/>
          <p:nvPr/>
        </p:nvSpPr>
        <p:spPr>
          <a:xfrm rot="5400000">
            <a:off x="1640660" y="3129316"/>
            <a:ext cx="3260530" cy="260166"/>
          </a:xfrm>
          <a:prstGeom prst="triangl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endParaRPr lang="ru-RU" sz="825">
              <a:solidFill>
                <a:prstClr val="white"/>
              </a:solidFill>
            </a:endParaRPr>
          </a:p>
        </p:txBody>
      </p:sp>
      <p:sp>
        <p:nvSpPr>
          <p:cNvPr id="16" name="Равнобедренный треугольник 15"/>
          <p:cNvSpPr/>
          <p:nvPr/>
        </p:nvSpPr>
        <p:spPr>
          <a:xfrm rot="5400000" flipV="1">
            <a:off x="4264036" y="3096534"/>
            <a:ext cx="3335912" cy="250345"/>
          </a:xfrm>
          <a:prstGeom prst="triangl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endParaRPr lang="ru-RU" sz="825">
              <a:solidFill>
                <a:prstClr val="white"/>
              </a:solidFill>
            </a:endParaRPr>
          </a:p>
        </p:txBody>
      </p:sp>
      <p:sp>
        <p:nvSpPr>
          <p:cNvPr id="17" name="Прямоугольник 16"/>
          <p:cNvSpPr/>
          <p:nvPr>
            <p:custDataLst>
              <p:tags r:id="rId1"/>
            </p:custDataLst>
          </p:nvPr>
        </p:nvSpPr>
        <p:spPr>
          <a:xfrm>
            <a:off x="6051124" y="3336522"/>
            <a:ext cx="1949876" cy="23083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265510"/>
            <a:r>
              <a:rPr lang="ru-RU" sz="900" dirty="0">
                <a:solidFill>
                  <a:srgbClr val="000000"/>
                </a:solidFill>
                <a:cs typeface="Arial" panose="020B0604020202020204" pitchFamily="34" charset="0"/>
              </a:rPr>
              <a:t>Выработка, </a:t>
            </a:r>
            <a:r>
              <a:rPr lang="ru-RU" sz="900" i="1" dirty="0">
                <a:solidFill>
                  <a:srgbClr val="000000"/>
                </a:solidFill>
                <a:cs typeface="Arial" panose="020B0604020202020204" pitchFamily="34" charset="0"/>
              </a:rPr>
              <a:t>шт./мес.</a:t>
            </a:r>
          </a:p>
        </p:txBody>
      </p:sp>
      <p:graphicFrame>
        <p:nvGraphicFramePr>
          <p:cNvPr id="64" name="Диаграмма 63"/>
          <p:cNvGraphicFramePr/>
          <p:nvPr/>
        </p:nvGraphicFramePr>
        <p:xfrm>
          <a:off x="5948217" y="3875967"/>
          <a:ext cx="2052783" cy="9721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graphicFrame>
        <p:nvGraphicFramePr>
          <p:cNvPr id="51" name="Диаграмма 50"/>
          <p:cNvGraphicFramePr/>
          <p:nvPr/>
        </p:nvGraphicFramePr>
        <p:xfrm>
          <a:off x="1143001" y="3883559"/>
          <a:ext cx="2103331" cy="9721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graphicFrame>
        <p:nvGraphicFramePr>
          <p:cNvPr id="2" name="Диаграмма 1"/>
          <p:cNvGraphicFramePr/>
          <p:nvPr/>
        </p:nvGraphicFramePr>
        <p:xfrm>
          <a:off x="1125822" y="2210218"/>
          <a:ext cx="2120510" cy="9721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032951" y="4359798"/>
            <a:ext cx="282739" cy="273844"/>
          </a:xfrm>
        </p:spPr>
        <p:txBody>
          <a:bodyPr/>
          <a:lstStyle/>
          <a:p>
            <a:fld id="{C33C34FD-A43B-634A-9B8C-9626670F7CE8}" type="slidenum">
              <a:rPr lang="en-US" smtClean="0">
                <a:solidFill>
                  <a:prstClr val="white"/>
                </a:solidFill>
              </a:rPr>
              <a:pPr/>
              <a:t>65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794589" y="0"/>
            <a:ext cx="4889035" cy="746928"/>
          </a:xfrm>
        </p:spPr>
        <p:txBody>
          <a:bodyPr>
            <a:normAutofit fontScale="90000"/>
          </a:bodyPr>
          <a:lstStyle/>
          <a:p>
            <a:r>
              <a:rPr lang="ru-RU" sz="2100" dirty="0"/>
              <a:t>Пример вскрытия резервов производительности в Республике Татарстан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1143001" y="1720045"/>
            <a:ext cx="1997840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65510" algn="ctr"/>
            <a:r>
              <a:rPr lang="ru-RU" sz="900" dirty="0">
                <a:solidFill>
                  <a:srgbClr val="000000"/>
                </a:solidFill>
                <a:cs typeface="Arial" panose="020B0604020202020204" pitchFamily="34" charset="0"/>
              </a:rPr>
              <a:t>ВПП производства потока, </a:t>
            </a:r>
            <a:r>
              <a:rPr lang="ru-RU" sz="900" i="1" dirty="0">
                <a:solidFill>
                  <a:srgbClr val="000000"/>
                </a:solidFill>
                <a:cs typeface="Arial" panose="020B0604020202020204" pitchFamily="34" charset="0"/>
              </a:rPr>
              <a:t>час.</a:t>
            </a:r>
          </a:p>
        </p:txBody>
      </p:sp>
      <p:cxnSp>
        <p:nvCxnSpPr>
          <p:cNvPr id="8" name="Прямая со стрелкой 7"/>
          <p:cNvCxnSpPr/>
          <p:nvPr>
            <p:custDataLst>
              <p:tags r:id="rId4"/>
            </p:custDataLst>
          </p:nvPr>
        </p:nvCxnSpPr>
        <p:spPr>
          <a:xfrm>
            <a:off x="1265695" y="1770446"/>
            <a:ext cx="0" cy="286707"/>
          </a:xfrm>
          <a:prstGeom prst="straightConnector1">
            <a:avLst/>
          </a:prstGeom>
          <a:ln w="34925">
            <a:solidFill>
              <a:schemeClr val="accent5">
                <a:lumMod val="50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>
            <p:custDataLst>
              <p:tags r:id="rId5"/>
            </p:custDataLst>
          </p:nvPr>
        </p:nvSpPr>
        <p:spPr>
          <a:xfrm>
            <a:off x="1143001" y="3349322"/>
            <a:ext cx="1997840" cy="55245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265510" algn="ctr"/>
            <a:r>
              <a:rPr lang="ru-RU" sz="900" dirty="0">
                <a:solidFill>
                  <a:srgbClr val="000000"/>
                </a:solidFill>
                <a:cs typeface="Arial" panose="020B0604020202020204" pitchFamily="34" charset="0"/>
              </a:rPr>
              <a:t>НЗП в потоке (комплекты), </a:t>
            </a:r>
            <a:r>
              <a:rPr lang="ru-RU" sz="900" i="1" dirty="0">
                <a:solidFill>
                  <a:srgbClr val="000000"/>
                </a:solidFill>
                <a:cs typeface="Arial" panose="020B0604020202020204" pitchFamily="34" charset="0"/>
              </a:rPr>
              <a:t>шт.</a:t>
            </a:r>
          </a:p>
        </p:txBody>
      </p:sp>
      <p:cxnSp>
        <p:nvCxnSpPr>
          <p:cNvPr id="10" name="Прямая со стрелкой 9"/>
          <p:cNvCxnSpPr/>
          <p:nvPr>
            <p:custDataLst>
              <p:tags r:id="rId6"/>
            </p:custDataLst>
          </p:nvPr>
        </p:nvCxnSpPr>
        <p:spPr>
          <a:xfrm>
            <a:off x="1265695" y="3407132"/>
            <a:ext cx="0" cy="286707"/>
          </a:xfrm>
          <a:prstGeom prst="straightConnector1">
            <a:avLst/>
          </a:prstGeom>
          <a:ln w="34925">
            <a:solidFill>
              <a:schemeClr val="accent5">
                <a:lumMod val="50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 стрелкой 10"/>
          <p:cNvCxnSpPr/>
          <p:nvPr>
            <p:custDataLst>
              <p:tags r:id="rId7"/>
            </p:custDataLst>
          </p:nvPr>
        </p:nvCxnSpPr>
        <p:spPr>
          <a:xfrm flipV="1">
            <a:off x="6236768" y="3385901"/>
            <a:ext cx="0" cy="260610"/>
          </a:xfrm>
          <a:prstGeom prst="straightConnector1">
            <a:avLst/>
          </a:prstGeom>
          <a:ln w="34925">
            <a:solidFill>
              <a:schemeClr val="accent5">
                <a:lumMod val="50000"/>
              </a:schemeClr>
            </a:solidFill>
            <a:headEnd type="none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/>
          <p:cNvSpPr/>
          <p:nvPr>
            <p:custDataLst>
              <p:tags r:id="rId8"/>
            </p:custDataLst>
          </p:nvPr>
        </p:nvSpPr>
        <p:spPr>
          <a:xfrm>
            <a:off x="3473840" y="1574789"/>
            <a:ext cx="2166281" cy="23083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66675" algn="ctr"/>
            <a:r>
              <a:rPr lang="ru-RU" sz="900" b="1" dirty="0">
                <a:solidFill>
                  <a:srgbClr val="000000"/>
                </a:solidFill>
                <a:cs typeface="Arial" panose="020B0604020202020204" pitchFamily="34" charset="0"/>
              </a:rPr>
              <a:t>ОСНОВНЫЕ МЕРОПРИЯТИЯ</a:t>
            </a:r>
            <a:r>
              <a:rPr lang="ru-RU" sz="900" dirty="0">
                <a:solidFill>
                  <a:srgbClr val="000000"/>
                </a:solidFill>
                <a:cs typeface="Arial" panose="020B0604020202020204" pitchFamily="34" charset="0"/>
              </a:rPr>
              <a:t>:</a:t>
            </a:r>
            <a:endParaRPr lang="ru-RU" sz="900" i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8" name="Прямоугольник 17"/>
          <p:cNvSpPr/>
          <p:nvPr>
            <p:custDataLst>
              <p:tags r:id="rId9"/>
            </p:custDataLst>
          </p:nvPr>
        </p:nvSpPr>
        <p:spPr>
          <a:xfrm>
            <a:off x="3246332" y="1707655"/>
            <a:ext cx="2701886" cy="3139321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66675"/>
            <a:r>
              <a:rPr lang="ru-RU" sz="900" dirty="0">
                <a:solidFill>
                  <a:srgbClr val="000000"/>
                </a:solidFill>
                <a:cs typeface="Arial" panose="020B0604020202020204" pitchFamily="34" charset="0"/>
              </a:rPr>
              <a:t>1. Организован участок вылежки по принципу </a:t>
            </a:r>
            <a:r>
              <a:rPr lang="en-US" sz="900" dirty="0">
                <a:solidFill>
                  <a:srgbClr val="000000"/>
                </a:solidFill>
                <a:cs typeface="Arial" panose="020B0604020202020204" pitchFamily="34" charset="0"/>
              </a:rPr>
              <a:t>FIFO</a:t>
            </a:r>
            <a:r>
              <a:rPr lang="ru-RU" sz="900" dirty="0">
                <a:solidFill>
                  <a:srgbClr val="000000"/>
                </a:solidFill>
                <a:cs typeface="Arial" panose="020B0604020202020204" pitchFamily="34" charset="0"/>
              </a:rPr>
              <a:t>, на тележках установлены таблички с идентификацией по наименованию продукции и времени выпуска, установлены вентиляторы для ускорения охлаждения, изменена эмульсия для исключения слипания камер – снижено время вылежки камер.</a:t>
            </a:r>
          </a:p>
          <a:p>
            <a:pPr marL="66675"/>
            <a:r>
              <a:rPr lang="ru-RU" sz="900" dirty="0">
                <a:solidFill>
                  <a:srgbClr val="000000"/>
                </a:solidFill>
                <a:cs typeface="Arial" panose="020B0604020202020204" pitchFamily="34" charset="0"/>
              </a:rPr>
              <a:t>2. Тара транспортировки резиновой смеси уменьшена с 4 закладок до 2 (с 480кг до 240 кг) – исключение запутывания резиновой смеси, снижение запасов.</a:t>
            </a:r>
          </a:p>
          <a:p>
            <a:pPr marL="66675"/>
            <a:r>
              <a:rPr lang="ru-RU" sz="900" dirty="0">
                <a:solidFill>
                  <a:srgbClr val="000000"/>
                </a:solidFill>
                <a:cs typeface="Arial" panose="020B0604020202020204" pitchFamily="34" charset="0"/>
              </a:rPr>
              <a:t>3. Организована совместная работа оператора и наладчика при проведении переналадки на шприц-машине, установлен второй инструмент на съемке рукавов с дорнов, изготовлен стеллаж хранения инструмента – снижено время переналадки.</a:t>
            </a:r>
          </a:p>
          <a:p>
            <a:pPr marL="66675"/>
            <a:r>
              <a:rPr lang="ru-RU" sz="900" dirty="0">
                <a:solidFill>
                  <a:srgbClr val="000000"/>
                </a:solidFill>
                <a:cs typeface="Arial" panose="020B0604020202020204" pitchFamily="34" charset="0"/>
              </a:rPr>
              <a:t>4. Изменена конструкция каретки для резки промазанной ткани с винтовой на рычажную.</a:t>
            </a:r>
          </a:p>
          <a:p>
            <a:pPr marL="66675"/>
            <a:r>
              <a:rPr lang="ru-RU" sz="900" dirty="0">
                <a:solidFill>
                  <a:srgbClr val="000000"/>
                </a:solidFill>
                <a:cs typeface="Arial" panose="020B0604020202020204" pitchFamily="34" charset="0"/>
              </a:rPr>
              <a:t>5. Изменена система хранения </a:t>
            </a:r>
            <a:r>
              <a:rPr lang="ru-RU" sz="900" dirty="0" err="1">
                <a:solidFill>
                  <a:srgbClr val="000000"/>
                </a:solidFill>
                <a:cs typeface="Arial" panose="020B0604020202020204" pitchFamily="34" charset="0"/>
              </a:rPr>
              <a:t>бинтоленты</a:t>
            </a:r>
            <a:r>
              <a:rPr lang="ru-RU" sz="900" dirty="0">
                <a:solidFill>
                  <a:srgbClr val="000000"/>
                </a:solidFill>
                <a:cs typeface="Arial" panose="020B0604020202020204" pitchFamily="34" charset="0"/>
              </a:rPr>
              <a:t> на ванного типа с водой для исключения высыхания.</a:t>
            </a:r>
          </a:p>
          <a:p>
            <a:pPr marL="66675"/>
            <a:r>
              <a:rPr lang="ru-RU" sz="900" dirty="0">
                <a:solidFill>
                  <a:srgbClr val="000000"/>
                </a:solidFill>
                <a:cs typeface="Arial" panose="020B0604020202020204" pitchFamily="34" charset="0"/>
              </a:rPr>
              <a:t>6. </a:t>
            </a:r>
            <a:r>
              <a:rPr lang="ru-RU" sz="900" dirty="0" err="1">
                <a:solidFill>
                  <a:srgbClr val="000000"/>
                </a:solidFill>
                <a:cs typeface="Arial" panose="020B0604020202020204" pitchFamily="34" charset="0"/>
              </a:rPr>
              <a:t>Укдка</a:t>
            </a:r>
            <a:r>
              <a:rPr lang="ru-RU" sz="900" dirty="0">
                <a:solidFill>
                  <a:srgbClr val="000000"/>
                </a:solidFill>
                <a:cs typeface="Arial" panose="020B0604020202020204" pitchFamily="34" charset="0"/>
              </a:rPr>
              <a:t> готовой продукции в изготовленные транспортировочные поддоны.</a:t>
            </a:r>
          </a:p>
        </p:txBody>
      </p:sp>
      <p:cxnSp>
        <p:nvCxnSpPr>
          <p:cNvPr id="22" name="Прямая соединительная линия 21"/>
          <p:cNvCxnSpPr/>
          <p:nvPr>
            <p:custDataLst>
              <p:tags r:id="rId10"/>
            </p:custDataLst>
          </p:nvPr>
        </p:nvCxnSpPr>
        <p:spPr bwMode="auto">
          <a:xfrm>
            <a:off x="7481458" y="3867894"/>
            <a:ext cx="0" cy="180116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>
            <p:custDataLst>
              <p:tags r:id="rId11"/>
            </p:custDataLst>
          </p:nvPr>
        </p:nvCxnSpPr>
        <p:spPr bwMode="auto">
          <a:xfrm>
            <a:off x="6460187" y="3867894"/>
            <a:ext cx="1021271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>
            <p:custDataLst>
              <p:tags r:id="rId12"/>
            </p:custDataLst>
          </p:nvPr>
        </p:nvCxnSpPr>
        <p:spPr bwMode="auto">
          <a:xfrm flipV="1">
            <a:off x="6460187" y="3875967"/>
            <a:ext cx="0" cy="396972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Овал 24"/>
          <p:cNvSpPr/>
          <p:nvPr>
            <p:custDataLst>
              <p:tags r:id="rId13"/>
            </p:custDataLst>
          </p:nvPr>
        </p:nvSpPr>
        <p:spPr bwMode="gray">
          <a:xfrm>
            <a:off x="6709661" y="3752116"/>
            <a:ext cx="457200" cy="250793"/>
          </a:xfrm>
          <a:prstGeom prst="ellipse">
            <a:avLst/>
          </a:prstGeom>
          <a:solidFill>
            <a:schemeClr val="accent5">
              <a:lumMod val="75000"/>
            </a:schemeClr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 defTabSz="342900">
              <a:lnSpc>
                <a:spcPct val="90000"/>
              </a:lnSpc>
            </a:pPr>
            <a:r>
              <a:rPr lang="ru-RU" sz="1050" b="1" dirty="0">
                <a:solidFill>
                  <a:prstClr val="white"/>
                </a:solidFill>
                <a:cs typeface="Arial"/>
              </a:rPr>
              <a:t>+65%</a:t>
            </a:r>
            <a:endParaRPr lang="ru-RU" sz="1050" b="1" dirty="0">
              <a:solidFill>
                <a:prstClr val="white"/>
              </a:solidFill>
              <a:cs typeface="Arial"/>
              <a:sym typeface="Arial"/>
            </a:endParaRPr>
          </a:p>
        </p:txBody>
      </p:sp>
      <p:cxnSp>
        <p:nvCxnSpPr>
          <p:cNvPr id="26" name="Прямая соединительная линия 25"/>
          <p:cNvCxnSpPr/>
          <p:nvPr>
            <p:custDataLst>
              <p:tags r:id="rId14"/>
            </p:custDataLst>
          </p:nvPr>
        </p:nvCxnSpPr>
        <p:spPr bwMode="auto">
          <a:xfrm flipH="1">
            <a:off x="2679633" y="2220711"/>
            <a:ext cx="1" cy="54006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>
            <p:custDataLst>
              <p:tags r:id="rId15"/>
            </p:custDataLst>
          </p:nvPr>
        </p:nvCxnSpPr>
        <p:spPr bwMode="auto">
          <a:xfrm>
            <a:off x="1665202" y="2220711"/>
            <a:ext cx="1014413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>
            <p:custDataLst>
              <p:tags r:id="rId16"/>
            </p:custDataLst>
          </p:nvPr>
        </p:nvCxnSpPr>
        <p:spPr bwMode="auto">
          <a:xfrm flipV="1">
            <a:off x="1665797" y="2220713"/>
            <a:ext cx="0" cy="229524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Овал 28"/>
          <p:cNvSpPr/>
          <p:nvPr>
            <p:custDataLst>
              <p:tags r:id="rId17"/>
            </p:custDataLst>
          </p:nvPr>
        </p:nvSpPr>
        <p:spPr bwMode="gray">
          <a:xfrm>
            <a:off x="1917614" y="2112700"/>
            <a:ext cx="510779" cy="250793"/>
          </a:xfrm>
          <a:prstGeom prst="ellipse">
            <a:avLst/>
          </a:prstGeom>
          <a:solidFill>
            <a:schemeClr val="accent5">
              <a:lumMod val="75000"/>
            </a:schemeClr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 defTabSz="342900">
              <a:lnSpc>
                <a:spcPct val="90000"/>
              </a:lnSpc>
            </a:pPr>
            <a:r>
              <a:rPr lang="ru-RU" sz="1050" b="1" dirty="0">
                <a:solidFill>
                  <a:prstClr val="white"/>
                </a:solidFill>
                <a:cs typeface="Arial"/>
              </a:rPr>
              <a:t>-31%</a:t>
            </a:r>
            <a:endParaRPr lang="ru-RU" sz="1050" b="1" dirty="0">
              <a:solidFill>
                <a:prstClr val="white"/>
              </a:solidFill>
              <a:cs typeface="Arial"/>
              <a:sym typeface="Arial"/>
            </a:endParaRPr>
          </a:p>
        </p:txBody>
      </p:sp>
      <p:cxnSp>
        <p:nvCxnSpPr>
          <p:cNvPr id="30" name="Прямая соединительная линия 29"/>
          <p:cNvCxnSpPr/>
          <p:nvPr>
            <p:custDataLst>
              <p:tags r:id="rId18"/>
            </p:custDataLst>
          </p:nvPr>
        </p:nvCxnSpPr>
        <p:spPr bwMode="auto">
          <a:xfrm>
            <a:off x="2722029" y="3875967"/>
            <a:ext cx="0" cy="55899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>
            <p:custDataLst>
              <p:tags r:id="rId19"/>
            </p:custDataLst>
          </p:nvPr>
        </p:nvCxnSpPr>
        <p:spPr bwMode="auto">
          <a:xfrm>
            <a:off x="1685118" y="3877085"/>
            <a:ext cx="1036912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>
            <p:custDataLst>
              <p:tags r:id="rId20"/>
            </p:custDataLst>
          </p:nvPr>
        </p:nvCxnSpPr>
        <p:spPr bwMode="auto">
          <a:xfrm flipV="1">
            <a:off x="1685118" y="3877086"/>
            <a:ext cx="0" cy="395853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Овал 32"/>
          <p:cNvSpPr/>
          <p:nvPr>
            <p:custDataLst>
              <p:tags r:id="rId21"/>
            </p:custDataLst>
          </p:nvPr>
        </p:nvSpPr>
        <p:spPr bwMode="gray">
          <a:xfrm>
            <a:off x="1934592" y="3750571"/>
            <a:ext cx="457200" cy="250793"/>
          </a:xfrm>
          <a:prstGeom prst="ellipse">
            <a:avLst/>
          </a:prstGeom>
          <a:solidFill>
            <a:schemeClr val="accent5">
              <a:lumMod val="75000"/>
            </a:schemeClr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 defTabSz="342900">
              <a:lnSpc>
                <a:spcPct val="90000"/>
              </a:lnSpc>
            </a:pPr>
            <a:r>
              <a:rPr lang="ru-RU" sz="1050" b="1" dirty="0">
                <a:solidFill>
                  <a:prstClr val="white"/>
                </a:solidFill>
                <a:cs typeface="Arial"/>
              </a:rPr>
              <a:t>-15%</a:t>
            </a:r>
            <a:endParaRPr lang="ru-RU" sz="1050" b="1" dirty="0">
              <a:solidFill>
                <a:prstClr val="white"/>
              </a:solidFill>
              <a:cs typeface="Arial"/>
              <a:sym typeface="Arial"/>
            </a:endParaRPr>
          </a:p>
        </p:txBody>
      </p:sp>
      <p:sp>
        <p:nvSpPr>
          <p:cNvPr id="48" name="Slide Number Placeholder 6"/>
          <p:cNvSpPr txBox="1">
            <a:spLocks/>
          </p:cNvSpPr>
          <p:nvPr/>
        </p:nvSpPr>
        <p:spPr>
          <a:xfrm>
            <a:off x="7032951" y="4869657"/>
            <a:ext cx="282739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b="1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33C34FD-A43B-634A-9B8C-9626670F7CE8}" type="slidenum">
              <a:rPr lang="en-US" sz="900">
                <a:solidFill>
                  <a:prstClr val="white"/>
                </a:solidFill>
              </a:rPr>
              <a:pPr/>
              <a:t>65</a:t>
            </a:fld>
            <a:endParaRPr lang="en-US" sz="900">
              <a:solidFill>
                <a:prstClr val="white"/>
              </a:solidFill>
            </a:endParaRPr>
          </a:p>
        </p:txBody>
      </p:sp>
      <p:pic>
        <p:nvPicPr>
          <p:cNvPr id="1026" name="Picture 2" descr="D:\Распечатать\Рисунок1.jp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BEBA8EAE-BF5A-486C-A8C5-ECC9F3942E4B}">
                <a14:imgProps xmlns:a14="http://schemas.microsoft.com/office/drawing/2010/main">
                  <a14:imgLayer r:embed="rId34">
                    <a14:imgEffect>
                      <a14:sharpenSoften amount="25000"/>
                    </a14:imgEffect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9674" y="789553"/>
            <a:ext cx="1506066" cy="854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Прямоугольник 33"/>
          <p:cNvSpPr/>
          <p:nvPr>
            <p:custDataLst>
              <p:tags r:id="rId22"/>
            </p:custDataLst>
          </p:nvPr>
        </p:nvSpPr>
        <p:spPr>
          <a:xfrm>
            <a:off x="6052060" y="1680651"/>
            <a:ext cx="1949876" cy="23083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265510"/>
            <a:r>
              <a:rPr lang="ru-RU" sz="900" dirty="0">
                <a:solidFill>
                  <a:srgbClr val="000000"/>
                </a:solidFill>
                <a:cs typeface="Arial" panose="020B0604020202020204" pitchFamily="34" charset="0"/>
              </a:rPr>
              <a:t>Перекладки заготовок, </a:t>
            </a:r>
            <a:r>
              <a:rPr lang="ru-RU" sz="900" i="1" dirty="0">
                <a:solidFill>
                  <a:srgbClr val="000000"/>
                </a:solidFill>
                <a:cs typeface="Arial" panose="020B0604020202020204" pitchFamily="34" charset="0"/>
              </a:rPr>
              <a:t>раз.</a:t>
            </a:r>
          </a:p>
        </p:txBody>
      </p:sp>
      <p:graphicFrame>
        <p:nvGraphicFramePr>
          <p:cNvPr id="35" name="Диаграмма 34"/>
          <p:cNvGraphicFramePr/>
          <p:nvPr/>
        </p:nvGraphicFramePr>
        <p:xfrm>
          <a:off x="5949153" y="2220096"/>
          <a:ext cx="2052783" cy="9721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36" name="Номер слайда 3"/>
          <p:cNvSpPr txBox="1">
            <a:spLocks/>
          </p:cNvSpPr>
          <p:nvPr/>
        </p:nvSpPr>
        <p:spPr>
          <a:xfrm>
            <a:off x="7033887" y="2703927"/>
            <a:ext cx="282739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200" b="1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33C34FD-A43B-634A-9B8C-9626670F7CE8}" type="slidenum">
              <a:rPr lang="en-US" sz="900">
                <a:solidFill>
                  <a:prstClr val="white"/>
                </a:solidFill>
              </a:rPr>
              <a:pPr/>
              <a:t>65</a:t>
            </a:fld>
            <a:endParaRPr lang="en-US" sz="900">
              <a:solidFill>
                <a:prstClr val="white"/>
              </a:solidFill>
            </a:endParaRPr>
          </a:p>
        </p:txBody>
      </p:sp>
      <p:cxnSp>
        <p:nvCxnSpPr>
          <p:cNvPr id="37" name="Прямая со стрелкой 36"/>
          <p:cNvCxnSpPr/>
          <p:nvPr>
            <p:custDataLst>
              <p:tags r:id="rId23"/>
            </p:custDataLst>
          </p:nvPr>
        </p:nvCxnSpPr>
        <p:spPr>
          <a:xfrm flipV="1">
            <a:off x="6237704" y="1730030"/>
            <a:ext cx="0" cy="260610"/>
          </a:xfrm>
          <a:prstGeom prst="straightConnector1">
            <a:avLst/>
          </a:prstGeom>
          <a:ln w="34925">
            <a:solidFill>
              <a:schemeClr val="accent5">
                <a:lumMod val="50000"/>
              </a:schemeClr>
            </a:solidFill>
            <a:headEnd type="arrow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>
            <p:custDataLst>
              <p:tags r:id="rId24"/>
            </p:custDataLst>
          </p:nvPr>
        </p:nvCxnSpPr>
        <p:spPr bwMode="auto">
          <a:xfrm>
            <a:off x="7482394" y="2212024"/>
            <a:ext cx="0" cy="491903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>
            <p:custDataLst>
              <p:tags r:id="rId25"/>
            </p:custDataLst>
          </p:nvPr>
        </p:nvCxnSpPr>
        <p:spPr bwMode="auto">
          <a:xfrm>
            <a:off x="6461123" y="2212023"/>
            <a:ext cx="1021271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>
            <p:custDataLst>
              <p:tags r:id="rId26"/>
            </p:custDataLst>
          </p:nvPr>
        </p:nvCxnSpPr>
        <p:spPr bwMode="auto">
          <a:xfrm flipV="1">
            <a:off x="6461123" y="2220096"/>
            <a:ext cx="0" cy="27064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Овал 40"/>
          <p:cNvSpPr/>
          <p:nvPr>
            <p:custDataLst>
              <p:tags r:id="rId27"/>
            </p:custDataLst>
          </p:nvPr>
        </p:nvSpPr>
        <p:spPr bwMode="gray">
          <a:xfrm>
            <a:off x="6710597" y="2096245"/>
            <a:ext cx="457200" cy="250793"/>
          </a:xfrm>
          <a:prstGeom prst="ellipse">
            <a:avLst/>
          </a:prstGeom>
          <a:solidFill>
            <a:schemeClr val="accent5">
              <a:lumMod val="75000"/>
            </a:schemeClr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 defTabSz="342900">
              <a:lnSpc>
                <a:spcPct val="90000"/>
              </a:lnSpc>
            </a:pPr>
            <a:r>
              <a:rPr lang="ru-RU" sz="1050" b="1" dirty="0">
                <a:solidFill>
                  <a:prstClr val="white"/>
                </a:solidFill>
                <a:cs typeface="Arial"/>
              </a:rPr>
              <a:t>-9%</a:t>
            </a:r>
            <a:endParaRPr lang="ru-RU" sz="1050" b="1" dirty="0">
              <a:solidFill>
                <a:prstClr val="white"/>
              </a:solidFill>
              <a:cs typeface="Arial"/>
              <a:sym typeface="Arial"/>
            </a:endParaRPr>
          </a:p>
        </p:txBody>
      </p:sp>
      <p:sp>
        <p:nvSpPr>
          <p:cNvPr id="42" name="Прямоугольник 41"/>
          <p:cNvSpPr/>
          <p:nvPr>
            <p:custDataLst>
              <p:tags r:id="rId28"/>
            </p:custDataLst>
          </p:nvPr>
        </p:nvSpPr>
        <p:spPr>
          <a:xfrm>
            <a:off x="3270060" y="841221"/>
            <a:ext cx="3195055" cy="7617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50" dirty="0">
                <a:solidFill>
                  <a:srgbClr val="000000"/>
                </a:solidFill>
                <a:cs typeface="Arial" panose="020B0604020202020204" pitchFamily="34" charset="0"/>
              </a:rPr>
              <a:t>       г. Казань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>
                <a:solidFill>
                  <a:srgbClr val="000000"/>
                </a:solidFill>
                <a:cs typeface="Arial" panose="020B0604020202020204" pitchFamily="34" charset="0"/>
              </a:rPr>
              <a:t>АО «КВАРТ»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6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900" dirty="0">
                <a:solidFill>
                  <a:srgbClr val="000000"/>
                </a:solidFill>
                <a:cs typeface="Arial" panose="020B0604020202020204" pitchFamily="34" charset="0"/>
              </a:rPr>
              <a:t>Поток: производство  резиновых рукавов ПАР2-25</a:t>
            </a:r>
          </a:p>
        </p:txBody>
      </p:sp>
      <p:pic>
        <p:nvPicPr>
          <p:cNvPr id="12" name="Picture 2" descr="C:\Users\user\Desktop\Разное\333.jpg"/>
          <p:cNvPicPr>
            <a:picLocks noChangeAspect="1" noChangeArrowheads="1"/>
          </p:cNvPicPr>
          <p:nvPr/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215718" y="789552"/>
            <a:ext cx="1879157" cy="9019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Users\user\Desktop\Разное\Coat_of_Arms_of_Kazan_(Tatarstan).svg.png"/>
          <p:cNvPicPr>
            <a:picLocks noChangeAspect="1" noChangeArrowheads="1"/>
          </p:cNvPicPr>
          <p:nvPr/>
        </p:nvPicPr>
        <p:blipFill rotWithShape="1"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343276" y="799313"/>
            <a:ext cx="209474" cy="256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5959132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Равнобедренный треугольник 14"/>
          <p:cNvSpPr/>
          <p:nvPr/>
        </p:nvSpPr>
        <p:spPr>
          <a:xfrm rot="5400000">
            <a:off x="1640660" y="3129316"/>
            <a:ext cx="3260530" cy="260166"/>
          </a:xfrm>
          <a:prstGeom prst="triangl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endParaRPr lang="ru-RU" sz="825">
              <a:solidFill>
                <a:prstClr val="white"/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 rotWithShape="1">
          <a:blip r:embed="rId2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25"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986186" y="708543"/>
            <a:ext cx="1960808" cy="2106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Равнобедренный треугольник 15"/>
          <p:cNvSpPr/>
          <p:nvPr/>
        </p:nvSpPr>
        <p:spPr>
          <a:xfrm rot="5400000" flipV="1">
            <a:off x="4264036" y="3096534"/>
            <a:ext cx="3335912" cy="250345"/>
          </a:xfrm>
          <a:prstGeom prst="triangl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endParaRPr lang="ru-RU" sz="825">
              <a:solidFill>
                <a:prstClr val="white"/>
              </a:solidFill>
            </a:endParaRPr>
          </a:p>
        </p:txBody>
      </p:sp>
      <p:sp>
        <p:nvSpPr>
          <p:cNvPr id="17" name="Прямоугольник 16"/>
          <p:cNvSpPr/>
          <p:nvPr>
            <p:custDataLst>
              <p:tags r:id="rId1"/>
            </p:custDataLst>
          </p:nvPr>
        </p:nvSpPr>
        <p:spPr>
          <a:xfrm>
            <a:off x="6051124" y="3336522"/>
            <a:ext cx="1949876" cy="23083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265510"/>
            <a:r>
              <a:rPr lang="ru-RU" sz="900" dirty="0">
                <a:solidFill>
                  <a:srgbClr val="000000"/>
                </a:solidFill>
                <a:cs typeface="Arial" panose="020B0604020202020204" pitchFamily="34" charset="0"/>
              </a:rPr>
              <a:t>Выработка, </a:t>
            </a:r>
            <a:r>
              <a:rPr lang="ru-RU" sz="900" i="1" dirty="0">
                <a:solidFill>
                  <a:srgbClr val="000000"/>
                </a:solidFill>
                <a:cs typeface="Arial" panose="020B0604020202020204" pitchFamily="34" charset="0"/>
              </a:rPr>
              <a:t>шт./мес.</a:t>
            </a:r>
          </a:p>
        </p:txBody>
      </p:sp>
      <p:graphicFrame>
        <p:nvGraphicFramePr>
          <p:cNvPr id="64" name="Диаграмма 63"/>
          <p:cNvGraphicFramePr/>
          <p:nvPr/>
        </p:nvGraphicFramePr>
        <p:xfrm>
          <a:off x="5948217" y="3875967"/>
          <a:ext cx="2052783" cy="9721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graphicFrame>
        <p:nvGraphicFramePr>
          <p:cNvPr id="51" name="Диаграмма 50"/>
          <p:cNvGraphicFramePr/>
          <p:nvPr/>
        </p:nvGraphicFramePr>
        <p:xfrm>
          <a:off x="1143001" y="3883559"/>
          <a:ext cx="2103331" cy="9721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graphicFrame>
        <p:nvGraphicFramePr>
          <p:cNvPr id="2" name="Диаграмма 1"/>
          <p:cNvGraphicFramePr/>
          <p:nvPr/>
        </p:nvGraphicFramePr>
        <p:xfrm>
          <a:off x="1125822" y="2210218"/>
          <a:ext cx="2120510" cy="9721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032951" y="4359798"/>
            <a:ext cx="282739" cy="273844"/>
          </a:xfrm>
        </p:spPr>
        <p:txBody>
          <a:bodyPr/>
          <a:lstStyle/>
          <a:p>
            <a:fld id="{C33C34FD-A43B-634A-9B8C-9626670F7CE8}" type="slidenum">
              <a:rPr lang="en-US" smtClean="0">
                <a:solidFill>
                  <a:prstClr val="white"/>
                </a:solidFill>
              </a:rPr>
              <a:pPr/>
              <a:t>66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794589" y="0"/>
            <a:ext cx="4889035" cy="746928"/>
          </a:xfrm>
        </p:spPr>
        <p:txBody>
          <a:bodyPr>
            <a:normAutofit fontScale="90000"/>
          </a:bodyPr>
          <a:lstStyle/>
          <a:p>
            <a:r>
              <a:rPr lang="ru-RU" sz="2100" dirty="0"/>
              <a:t>Пример вскрытия резервов производительности в Республике Татарстан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1143001" y="1720045"/>
            <a:ext cx="1997840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65510" algn="ctr"/>
            <a:r>
              <a:rPr lang="ru-RU" sz="900" dirty="0">
                <a:solidFill>
                  <a:srgbClr val="000000"/>
                </a:solidFill>
                <a:cs typeface="Arial" panose="020B0604020202020204" pitchFamily="34" charset="0"/>
              </a:rPr>
              <a:t>ВПП производства потока, </a:t>
            </a:r>
            <a:r>
              <a:rPr lang="ru-RU" sz="900" i="1" dirty="0">
                <a:solidFill>
                  <a:srgbClr val="000000"/>
                </a:solidFill>
                <a:cs typeface="Arial" panose="020B0604020202020204" pitchFamily="34" charset="0"/>
              </a:rPr>
              <a:t>час.</a:t>
            </a:r>
          </a:p>
        </p:txBody>
      </p:sp>
      <p:cxnSp>
        <p:nvCxnSpPr>
          <p:cNvPr id="8" name="Прямая со стрелкой 7"/>
          <p:cNvCxnSpPr/>
          <p:nvPr>
            <p:custDataLst>
              <p:tags r:id="rId4"/>
            </p:custDataLst>
          </p:nvPr>
        </p:nvCxnSpPr>
        <p:spPr>
          <a:xfrm>
            <a:off x="1265695" y="1770446"/>
            <a:ext cx="0" cy="286707"/>
          </a:xfrm>
          <a:prstGeom prst="straightConnector1">
            <a:avLst/>
          </a:prstGeom>
          <a:ln w="34925">
            <a:solidFill>
              <a:schemeClr val="accent5">
                <a:lumMod val="50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>
            <p:custDataLst>
              <p:tags r:id="rId5"/>
            </p:custDataLst>
          </p:nvPr>
        </p:nvSpPr>
        <p:spPr>
          <a:xfrm>
            <a:off x="1143001" y="3349322"/>
            <a:ext cx="1997840" cy="55245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265510" algn="ctr"/>
            <a:r>
              <a:rPr lang="ru-RU" sz="900" dirty="0">
                <a:solidFill>
                  <a:srgbClr val="000000"/>
                </a:solidFill>
                <a:cs typeface="Arial" panose="020B0604020202020204" pitchFamily="34" charset="0"/>
              </a:rPr>
              <a:t>НЗП в потоке (комплекты), </a:t>
            </a:r>
            <a:r>
              <a:rPr lang="ru-RU" sz="900" i="1" dirty="0">
                <a:solidFill>
                  <a:srgbClr val="000000"/>
                </a:solidFill>
                <a:cs typeface="Arial" panose="020B0604020202020204" pitchFamily="34" charset="0"/>
              </a:rPr>
              <a:t>шт.</a:t>
            </a:r>
          </a:p>
        </p:txBody>
      </p:sp>
      <p:cxnSp>
        <p:nvCxnSpPr>
          <p:cNvPr id="10" name="Прямая со стрелкой 9"/>
          <p:cNvCxnSpPr/>
          <p:nvPr>
            <p:custDataLst>
              <p:tags r:id="rId6"/>
            </p:custDataLst>
          </p:nvPr>
        </p:nvCxnSpPr>
        <p:spPr>
          <a:xfrm>
            <a:off x="1265695" y="3407132"/>
            <a:ext cx="0" cy="286707"/>
          </a:xfrm>
          <a:prstGeom prst="straightConnector1">
            <a:avLst/>
          </a:prstGeom>
          <a:ln w="34925">
            <a:solidFill>
              <a:schemeClr val="accent5">
                <a:lumMod val="50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 стрелкой 10"/>
          <p:cNvCxnSpPr/>
          <p:nvPr>
            <p:custDataLst>
              <p:tags r:id="rId7"/>
            </p:custDataLst>
          </p:nvPr>
        </p:nvCxnSpPr>
        <p:spPr>
          <a:xfrm flipV="1">
            <a:off x="6236768" y="3385901"/>
            <a:ext cx="0" cy="260610"/>
          </a:xfrm>
          <a:prstGeom prst="straightConnector1">
            <a:avLst/>
          </a:prstGeom>
          <a:ln w="34925">
            <a:solidFill>
              <a:schemeClr val="accent5">
                <a:lumMod val="50000"/>
              </a:schemeClr>
            </a:solidFill>
            <a:headEnd type="arrow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/>
          <p:cNvSpPr/>
          <p:nvPr>
            <p:custDataLst>
              <p:tags r:id="rId8"/>
            </p:custDataLst>
          </p:nvPr>
        </p:nvSpPr>
        <p:spPr>
          <a:xfrm>
            <a:off x="3473840" y="1667889"/>
            <a:ext cx="2166281" cy="23083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66675" algn="ctr"/>
            <a:r>
              <a:rPr lang="ru-RU" sz="900" b="1" dirty="0">
                <a:solidFill>
                  <a:srgbClr val="000000"/>
                </a:solidFill>
                <a:cs typeface="Arial" panose="020B0604020202020204" pitchFamily="34" charset="0"/>
              </a:rPr>
              <a:t>ОСНОВНЫЕ МЕРОПРИЯТИЯ</a:t>
            </a:r>
            <a:r>
              <a:rPr lang="ru-RU" sz="900" dirty="0">
                <a:solidFill>
                  <a:srgbClr val="000000"/>
                </a:solidFill>
                <a:cs typeface="Arial" panose="020B0604020202020204" pitchFamily="34" charset="0"/>
              </a:rPr>
              <a:t>:</a:t>
            </a:r>
            <a:endParaRPr lang="ru-RU" sz="900" i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8" name="Прямоугольник 17"/>
          <p:cNvSpPr/>
          <p:nvPr>
            <p:custDataLst>
              <p:tags r:id="rId9"/>
            </p:custDataLst>
          </p:nvPr>
        </p:nvSpPr>
        <p:spPr>
          <a:xfrm>
            <a:off x="3246332" y="1842669"/>
            <a:ext cx="2701886" cy="244682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66675"/>
            <a:r>
              <a:rPr lang="ru-RU" sz="900" dirty="0">
                <a:solidFill>
                  <a:srgbClr val="000000"/>
                </a:solidFill>
                <a:cs typeface="Arial" panose="020B0604020202020204" pitchFamily="34" charset="0"/>
              </a:rPr>
              <a:t>1. Произведен расчет партии запуска, определены нормативы запасов на всех переделах пилотного потока с учетом времени протекания процессов – </a:t>
            </a:r>
            <a:r>
              <a:rPr lang="ru-RU" sz="900">
                <a:solidFill>
                  <a:srgbClr val="000000"/>
                </a:solidFill>
                <a:cs typeface="Arial" panose="020B0604020202020204" pitchFamily="34" charset="0"/>
              </a:rPr>
              <a:t>снижение межоперационного </a:t>
            </a:r>
            <a:r>
              <a:rPr lang="ru-RU" sz="900" dirty="0">
                <a:solidFill>
                  <a:srgbClr val="000000"/>
                </a:solidFill>
                <a:cs typeface="Arial" panose="020B0604020202020204" pitchFamily="34" charset="0"/>
              </a:rPr>
              <a:t>НЗП</a:t>
            </a:r>
          </a:p>
          <a:p>
            <a:pPr marL="66675"/>
            <a:r>
              <a:rPr lang="ru-RU" sz="900" dirty="0">
                <a:solidFill>
                  <a:srgbClr val="000000"/>
                </a:solidFill>
                <a:cs typeface="Arial" panose="020B0604020202020204" pitchFamily="34" charset="0"/>
              </a:rPr>
              <a:t>2. Перенос звена изготовления малых узлов для исключения </a:t>
            </a:r>
            <a:r>
              <a:rPr lang="ru-RU" sz="900" dirty="0" err="1">
                <a:solidFill>
                  <a:srgbClr val="000000"/>
                </a:solidFill>
                <a:cs typeface="Arial" panose="020B0604020202020204" pitchFamily="34" charset="0"/>
              </a:rPr>
              <a:t>противопотоков</a:t>
            </a:r>
            <a:r>
              <a:rPr lang="ru-RU" sz="900" dirty="0">
                <a:solidFill>
                  <a:srgbClr val="000000"/>
                </a:solidFill>
                <a:cs typeface="Arial" panose="020B0604020202020204" pitchFamily="34" charset="0"/>
              </a:rPr>
              <a:t> и освобождения площадей. Организация участка сборки основания кузова потоком в одну линию, создание зон хранения и внедрение правил движения материалов и заготовок.</a:t>
            </a:r>
          </a:p>
          <a:p>
            <a:pPr marL="66675"/>
            <a:r>
              <a:rPr lang="ru-RU" sz="900" dirty="0">
                <a:solidFill>
                  <a:srgbClr val="000000"/>
                </a:solidFill>
                <a:cs typeface="Arial" panose="020B0604020202020204" pitchFamily="34" charset="0"/>
              </a:rPr>
              <a:t>3. Внедрение калибров проверки геометрии заготовок, периодическая проверка «проблемных» заготовок – снижение количества операций доработок</a:t>
            </a:r>
          </a:p>
          <a:p>
            <a:pPr marL="66675"/>
            <a:r>
              <a:rPr lang="ru-RU" sz="900" dirty="0">
                <a:solidFill>
                  <a:srgbClr val="000000"/>
                </a:solidFill>
                <a:cs typeface="Arial" panose="020B0604020202020204" pitchFamily="34" charset="0"/>
              </a:rPr>
              <a:t>4. Стандартизирована работа слесаря и сварщика на звеньях сборки, обучение слесарей сварочным работам – снижены ожидания и простои в работе.</a:t>
            </a:r>
          </a:p>
        </p:txBody>
      </p:sp>
      <p:cxnSp>
        <p:nvCxnSpPr>
          <p:cNvPr id="22" name="Прямая соединительная линия 21"/>
          <p:cNvCxnSpPr/>
          <p:nvPr>
            <p:custDataLst>
              <p:tags r:id="rId10"/>
            </p:custDataLst>
          </p:nvPr>
        </p:nvCxnSpPr>
        <p:spPr bwMode="auto">
          <a:xfrm>
            <a:off x="7481458" y="3867894"/>
            <a:ext cx="0" cy="180116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>
            <p:custDataLst>
              <p:tags r:id="rId11"/>
            </p:custDataLst>
          </p:nvPr>
        </p:nvCxnSpPr>
        <p:spPr bwMode="auto">
          <a:xfrm>
            <a:off x="6460187" y="3867894"/>
            <a:ext cx="1021271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>
            <p:custDataLst>
              <p:tags r:id="rId12"/>
            </p:custDataLst>
          </p:nvPr>
        </p:nvCxnSpPr>
        <p:spPr bwMode="auto">
          <a:xfrm flipV="1">
            <a:off x="6460187" y="3875967"/>
            <a:ext cx="0" cy="396972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Овал 24"/>
          <p:cNvSpPr/>
          <p:nvPr>
            <p:custDataLst>
              <p:tags r:id="rId13"/>
            </p:custDataLst>
          </p:nvPr>
        </p:nvSpPr>
        <p:spPr bwMode="gray">
          <a:xfrm>
            <a:off x="6709661" y="3752116"/>
            <a:ext cx="457200" cy="250793"/>
          </a:xfrm>
          <a:prstGeom prst="ellipse">
            <a:avLst/>
          </a:prstGeom>
          <a:solidFill>
            <a:schemeClr val="accent5">
              <a:lumMod val="75000"/>
            </a:schemeClr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 defTabSz="342900">
              <a:lnSpc>
                <a:spcPct val="90000"/>
              </a:lnSpc>
            </a:pPr>
            <a:r>
              <a:rPr lang="ru-RU" sz="1050" b="1" dirty="0">
                <a:solidFill>
                  <a:prstClr val="white"/>
                </a:solidFill>
                <a:cs typeface="Arial"/>
              </a:rPr>
              <a:t>+8%</a:t>
            </a:r>
            <a:endParaRPr lang="ru-RU" sz="1050" b="1" dirty="0">
              <a:solidFill>
                <a:prstClr val="white"/>
              </a:solidFill>
              <a:cs typeface="Arial"/>
              <a:sym typeface="Arial"/>
            </a:endParaRPr>
          </a:p>
        </p:txBody>
      </p:sp>
      <p:cxnSp>
        <p:nvCxnSpPr>
          <p:cNvPr id="26" name="Прямая соединительная линия 25"/>
          <p:cNvCxnSpPr/>
          <p:nvPr>
            <p:custDataLst>
              <p:tags r:id="rId14"/>
            </p:custDataLst>
          </p:nvPr>
        </p:nvCxnSpPr>
        <p:spPr bwMode="auto">
          <a:xfrm flipH="1">
            <a:off x="2679633" y="2220711"/>
            <a:ext cx="1" cy="513057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>
            <p:custDataLst>
              <p:tags r:id="rId15"/>
            </p:custDataLst>
          </p:nvPr>
        </p:nvCxnSpPr>
        <p:spPr bwMode="auto">
          <a:xfrm>
            <a:off x="1665202" y="2220711"/>
            <a:ext cx="1014413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>
            <p:custDataLst>
              <p:tags r:id="rId16"/>
            </p:custDataLst>
          </p:nvPr>
        </p:nvCxnSpPr>
        <p:spPr bwMode="auto">
          <a:xfrm flipV="1">
            <a:off x="1665797" y="2220712"/>
            <a:ext cx="0" cy="9408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Овал 28"/>
          <p:cNvSpPr/>
          <p:nvPr>
            <p:custDataLst>
              <p:tags r:id="rId17"/>
            </p:custDataLst>
          </p:nvPr>
        </p:nvSpPr>
        <p:spPr bwMode="gray">
          <a:xfrm>
            <a:off x="1917614" y="2112700"/>
            <a:ext cx="510779" cy="250793"/>
          </a:xfrm>
          <a:prstGeom prst="ellipse">
            <a:avLst/>
          </a:prstGeom>
          <a:solidFill>
            <a:schemeClr val="accent5">
              <a:lumMod val="75000"/>
            </a:schemeClr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 defTabSz="342900">
              <a:lnSpc>
                <a:spcPct val="90000"/>
              </a:lnSpc>
            </a:pPr>
            <a:r>
              <a:rPr lang="ru-RU" sz="1050" b="1" dirty="0">
                <a:solidFill>
                  <a:prstClr val="white"/>
                </a:solidFill>
                <a:cs typeface="Arial"/>
              </a:rPr>
              <a:t>-93%</a:t>
            </a:r>
            <a:endParaRPr lang="ru-RU" sz="1050" b="1" dirty="0">
              <a:solidFill>
                <a:prstClr val="white"/>
              </a:solidFill>
              <a:cs typeface="Arial"/>
              <a:sym typeface="Arial"/>
            </a:endParaRPr>
          </a:p>
        </p:txBody>
      </p:sp>
      <p:cxnSp>
        <p:nvCxnSpPr>
          <p:cNvPr id="30" name="Прямая соединительная линия 29"/>
          <p:cNvCxnSpPr/>
          <p:nvPr>
            <p:custDataLst>
              <p:tags r:id="rId18"/>
            </p:custDataLst>
          </p:nvPr>
        </p:nvCxnSpPr>
        <p:spPr bwMode="auto">
          <a:xfrm>
            <a:off x="2722029" y="3875967"/>
            <a:ext cx="0" cy="504984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>
            <p:custDataLst>
              <p:tags r:id="rId19"/>
            </p:custDataLst>
          </p:nvPr>
        </p:nvCxnSpPr>
        <p:spPr bwMode="auto">
          <a:xfrm>
            <a:off x="1685118" y="3877085"/>
            <a:ext cx="1036912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>
            <p:custDataLst>
              <p:tags r:id="rId20"/>
            </p:custDataLst>
          </p:nvPr>
        </p:nvCxnSpPr>
        <p:spPr bwMode="auto">
          <a:xfrm flipV="1">
            <a:off x="1685118" y="3877086"/>
            <a:ext cx="0" cy="341847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Овал 32"/>
          <p:cNvSpPr/>
          <p:nvPr>
            <p:custDataLst>
              <p:tags r:id="rId21"/>
            </p:custDataLst>
          </p:nvPr>
        </p:nvSpPr>
        <p:spPr bwMode="gray">
          <a:xfrm>
            <a:off x="1934592" y="3750571"/>
            <a:ext cx="457200" cy="250793"/>
          </a:xfrm>
          <a:prstGeom prst="ellipse">
            <a:avLst/>
          </a:prstGeom>
          <a:solidFill>
            <a:schemeClr val="accent5">
              <a:lumMod val="75000"/>
            </a:schemeClr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 defTabSz="342900">
              <a:lnSpc>
                <a:spcPct val="90000"/>
              </a:lnSpc>
            </a:pPr>
            <a:r>
              <a:rPr lang="ru-RU" sz="1050" b="1" dirty="0">
                <a:solidFill>
                  <a:prstClr val="white"/>
                </a:solidFill>
                <a:cs typeface="Arial"/>
              </a:rPr>
              <a:t>-50%</a:t>
            </a:r>
            <a:endParaRPr lang="ru-RU" sz="1050" b="1" dirty="0">
              <a:solidFill>
                <a:prstClr val="white"/>
              </a:solidFill>
              <a:cs typeface="Arial"/>
              <a:sym typeface="Arial"/>
            </a:endParaRPr>
          </a:p>
        </p:txBody>
      </p:sp>
      <p:sp>
        <p:nvSpPr>
          <p:cNvPr id="48" name="Slide Number Placeholder 6"/>
          <p:cNvSpPr txBox="1">
            <a:spLocks/>
          </p:cNvSpPr>
          <p:nvPr/>
        </p:nvSpPr>
        <p:spPr>
          <a:xfrm>
            <a:off x="7032951" y="4869657"/>
            <a:ext cx="282739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b="1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33C34FD-A43B-634A-9B8C-9626670F7CE8}" type="slidenum">
              <a:rPr lang="en-US" sz="900">
                <a:solidFill>
                  <a:prstClr val="white"/>
                </a:solidFill>
              </a:rPr>
              <a:pPr/>
              <a:t>66</a:t>
            </a:fld>
            <a:endParaRPr lang="en-US" sz="900">
              <a:solidFill>
                <a:prstClr val="white"/>
              </a:solidFill>
            </a:endParaRPr>
          </a:p>
        </p:txBody>
      </p:sp>
      <p:sp>
        <p:nvSpPr>
          <p:cNvPr id="34" name="Прямоугольник 33"/>
          <p:cNvSpPr/>
          <p:nvPr>
            <p:custDataLst>
              <p:tags r:id="rId22"/>
            </p:custDataLst>
          </p:nvPr>
        </p:nvSpPr>
        <p:spPr>
          <a:xfrm>
            <a:off x="3270060" y="826933"/>
            <a:ext cx="3195055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50" dirty="0">
                <a:solidFill>
                  <a:srgbClr val="000000"/>
                </a:solidFill>
                <a:cs typeface="Arial" panose="020B0604020202020204" pitchFamily="34" charset="0"/>
              </a:rPr>
              <a:t>       г. Казань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>
                <a:solidFill>
                  <a:srgbClr val="000000"/>
                </a:solidFill>
                <a:cs typeface="Arial" panose="020B0604020202020204" pitchFamily="34" charset="0"/>
              </a:rPr>
              <a:t>ООО «</a:t>
            </a:r>
            <a:r>
              <a:rPr lang="ru-RU" b="1" dirty="0" err="1">
                <a:solidFill>
                  <a:srgbClr val="000000"/>
                </a:solidFill>
                <a:cs typeface="Arial" panose="020B0604020202020204" pitchFamily="34" charset="0"/>
              </a:rPr>
              <a:t>Эйдос</a:t>
            </a:r>
            <a:r>
              <a:rPr lang="ru-RU" b="1" dirty="0">
                <a:solidFill>
                  <a:srgbClr val="000000"/>
                </a:solidFill>
                <a:cs typeface="Arial" panose="020B0604020202020204" pitchFamily="34" charset="0"/>
              </a:rPr>
              <a:t>-Медицина»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6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900" dirty="0">
                <a:solidFill>
                  <a:srgbClr val="000000"/>
                </a:solidFill>
                <a:cs typeface="Arial" panose="020B0604020202020204" pitchFamily="34" charset="0"/>
              </a:rPr>
              <a:t>Поток: производство  тренажера практических навыков в хирургии С.ЛПР.03</a:t>
            </a:r>
          </a:p>
        </p:txBody>
      </p:sp>
      <p:pic>
        <p:nvPicPr>
          <p:cNvPr id="35" name="Picture 3" descr="C:\Users\user\Desktop\Разное\Coat_of_Arms_of_Kazan_(Tatarstan).svg.png"/>
          <p:cNvPicPr>
            <a:picLocks noChangeAspect="1" noChangeArrowheads="1"/>
          </p:cNvPicPr>
          <p:nvPr/>
        </p:nvPicPr>
        <p:blipFill rotWithShape="1"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343276" y="785026"/>
            <a:ext cx="209474" cy="256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C:\Users\user\Desktop\Разное\007.jpg"/>
          <p:cNvPicPr>
            <a:picLocks noChangeAspect="1" noChangeArrowheads="1"/>
          </p:cNvPicPr>
          <p:nvPr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248607" y="807530"/>
            <a:ext cx="1835195" cy="884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92746458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7540" y="1122743"/>
            <a:ext cx="5479557" cy="3082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03515" y="12924"/>
            <a:ext cx="8678387" cy="8534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2000" b="1" dirty="0"/>
              <a:t>Как устраняли потери на предприятиях-участниках проекта</a:t>
            </a:r>
          </a:p>
        </p:txBody>
      </p:sp>
      <p:grpSp>
        <p:nvGrpSpPr>
          <p:cNvPr id="4" name="Группа 3"/>
          <p:cNvGrpSpPr/>
          <p:nvPr/>
        </p:nvGrpSpPr>
        <p:grpSpPr>
          <a:xfrm>
            <a:off x="4255319" y="2427734"/>
            <a:ext cx="684000" cy="684000"/>
            <a:chOff x="7853268" y="2823328"/>
            <a:chExt cx="684000" cy="684000"/>
          </a:xfrm>
        </p:grpSpPr>
        <p:sp>
          <p:nvSpPr>
            <p:cNvPr id="6" name="Овал 5"/>
            <p:cNvSpPr/>
            <p:nvPr/>
          </p:nvSpPr>
          <p:spPr>
            <a:xfrm>
              <a:off x="7853268" y="2823328"/>
              <a:ext cx="684000" cy="684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7" name="Равнобедренный треугольник 6"/>
            <p:cNvSpPr/>
            <p:nvPr/>
          </p:nvSpPr>
          <p:spPr>
            <a:xfrm rot="5400000">
              <a:off x="8048375" y="3005206"/>
              <a:ext cx="360000" cy="324000"/>
            </a:xfrm>
            <a:prstGeom prst="triangle">
              <a:avLst>
                <a:gd name="adj" fmla="val 47955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855478079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03515" y="12924"/>
            <a:ext cx="8678387" cy="8534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2000" b="1" dirty="0"/>
              <a:t>Примеры вскрытия резервов производительности в </a:t>
            </a:r>
            <a:br>
              <a:rPr lang="ru-RU" sz="2000" b="1" dirty="0"/>
            </a:br>
            <a:r>
              <a:rPr lang="ru-RU" sz="2000" b="1" dirty="0"/>
              <a:t>АО «СВМЗ» Самарской области (1-я волна)</a:t>
            </a:r>
          </a:p>
        </p:txBody>
      </p:sp>
      <p:sp>
        <p:nvSpPr>
          <p:cNvPr id="71" name="Прямоугольник 70"/>
          <p:cNvSpPr/>
          <p:nvPr>
            <p:custDataLst>
              <p:tags r:id="rId2"/>
            </p:custDataLst>
          </p:nvPr>
        </p:nvSpPr>
        <p:spPr>
          <a:xfrm>
            <a:off x="57151" y="779374"/>
            <a:ext cx="897934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eaLnBrk="1" hangingPunct="1"/>
            <a:r>
              <a:rPr lang="ru-RU" sz="1400" b="1" dirty="0">
                <a:latin typeface="+mj-lt"/>
                <a:cs typeface="Arial" panose="020B0604020202020204" pitchFamily="34" charset="0"/>
              </a:rPr>
              <a:t>Результаты работы </a:t>
            </a:r>
            <a:r>
              <a:rPr lang="ru-RU" sz="1400" b="1" u="sng" dirty="0">
                <a:latin typeface="+mj-lt"/>
                <a:cs typeface="Arial" panose="020B0604020202020204" pitchFamily="34" charset="0"/>
              </a:rPr>
              <a:t>за 6 мес</a:t>
            </a:r>
            <a:r>
              <a:rPr lang="ru-RU" sz="1400" b="1" dirty="0">
                <a:latin typeface="+mj-lt"/>
                <a:cs typeface="Arial" panose="020B0604020202020204" pitchFamily="34" charset="0"/>
              </a:rPr>
              <a:t>. </a:t>
            </a:r>
          </a:p>
          <a:p>
            <a:pPr defTabSz="914400" eaLnBrk="1" hangingPunct="1"/>
            <a:r>
              <a:rPr lang="ru-RU" sz="1400" b="1" dirty="0">
                <a:latin typeface="+mj-lt"/>
                <a:cs typeface="Arial" panose="020B0604020202020204" pitchFamily="34" charset="0"/>
              </a:rPr>
              <a:t>Поток: Производство корпусов кумулятивных зарядов</a:t>
            </a:r>
          </a:p>
        </p:txBody>
      </p:sp>
      <p:sp>
        <p:nvSpPr>
          <p:cNvPr id="72" name="Равнобедренный треугольник 71"/>
          <p:cNvSpPr/>
          <p:nvPr/>
        </p:nvSpPr>
        <p:spPr>
          <a:xfrm rot="5400000">
            <a:off x="1331808" y="3174844"/>
            <a:ext cx="3312000" cy="288000"/>
          </a:xfrm>
          <a:prstGeom prst="triangle">
            <a:avLst/>
          </a:prstGeom>
          <a:solidFill>
            <a:srgbClr val="1E86C8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73" name="Равнобедренный треугольник 72"/>
          <p:cNvSpPr/>
          <p:nvPr/>
        </p:nvSpPr>
        <p:spPr>
          <a:xfrm rot="5400000" flipV="1">
            <a:off x="4356144" y="3174844"/>
            <a:ext cx="3312000" cy="288000"/>
          </a:xfrm>
          <a:prstGeom prst="triangle">
            <a:avLst/>
          </a:prstGeom>
          <a:solidFill>
            <a:srgbClr val="1E86C8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74" name="Прямоугольник 73"/>
          <p:cNvSpPr/>
          <p:nvPr>
            <p:custDataLst>
              <p:tags r:id="rId3"/>
            </p:custDataLst>
          </p:nvPr>
        </p:nvSpPr>
        <p:spPr>
          <a:xfrm>
            <a:off x="-36512" y="1302436"/>
            <a:ext cx="2888374" cy="646331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354013" defTabSz="914400" eaLnBrk="1" hangingPunct="1"/>
            <a:r>
              <a:rPr lang="ru-RU" sz="120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ВПП производства корпусов </a:t>
            </a:r>
            <a:br>
              <a:rPr lang="ru-RU" sz="120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</a:br>
            <a:r>
              <a:rPr lang="ru-RU" sz="120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кумулятивных зарядов в ПЕИ, </a:t>
            </a:r>
            <a:r>
              <a:rPr lang="ru-RU" sz="1200" i="1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мин.</a:t>
            </a:r>
          </a:p>
        </p:txBody>
      </p:sp>
      <p:cxnSp>
        <p:nvCxnSpPr>
          <p:cNvPr id="75" name="Прямая со стрелкой 74"/>
          <p:cNvCxnSpPr/>
          <p:nvPr>
            <p:custDataLst>
              <p:tags r:id="rId4"/>
            </p:custDataLst>
          </p:nvPr>
        </p:nvCxnSpPr>
        <p:spPr>
          <a:xfrm>
            <a:off x="211013" y="1374444"/>
            <a:ext cx="0" cy="382276"/>
          </a:xfrm>
          <a:prstGeom prst="straightConnector1">
            <a:avLst/>
          </a:prstGeom>
          <a:noFill/>
          <a:ln w="34925" cap="flat" cmpd="sng" algn="ctr">
            <a:solidFill>
              <a:srgbClr val="00B050"/>
            </a:solidFill>
            <a:prstDash val="solid"/>
            <a:tailEnd type="arrow"/>
          </a:ln>
          <a:effectLst/>
        </p:spPr>
      </p:cxnSp>
      <p:graphicFrame>
        <p:nvGraphicFramePr>
          <p:cNvPr id="76" name="Объект 9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936401389"/>
              </p:ext>
            </p:extLst>
          </p:nvPr>
        </p:nvGraphicFramePr>
        <p:xfrm>
          <a:off x="57151" y="2002807"/>
          <a:ext cx="2803504" cy="7790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9"/>
          </a:graphicData>
        </a:graphic>
      </p:graphicFrame>
      <p:cxnSp>
        <p:nvCxnSpPr>
          <p:cNvPr id="77" name="Прямая соединительная линия 76"/>
          <p:cNvCxnSpPr/>
          <p:nvPr>
            <p:custDataLst>
              <p:tags r:id="rId6"/>
            </p:custDataLst>
          </p:nvPr>
        </p:nvCxnSpPr>
        <p:spPr bwMode="auto">
          <a:xfrm>
            <a:off x="2182745" y="1926652"/>
            <a:ext cx="0" cy="117461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</p:cxnSp>
      <p:cxnSp>
        <p:nvCxnSpPr>
          <p:cNvPr id="78" name="Прямая соединительная линия 77"/>
          <p:cNvCxnSpPr/>
          <p:nvPr>
            <p:custDataLst>
              <p:tags r:id="rId7"/>
            </p:custDataLst>
          </p:nvPr>
        </p:nvCxnSpPr>
        <p:spPr bwMode="auto">
          <a:xfrm>
            <a:off x="830195" y="1926606"/>
            <a:ext cx="1352550" cy="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</p:cxnSp>
      <p:cxnSp>
        <p:nvCxnSpPr>
          <p:cNvPr id="79" name="Прямая соединительная линия 78"/>
          <p:cNvCxnSpPr/>
          <p:nvPr>
            <p:custDataLst>
              <p:tags r:id="rId8"/>
            </p:custDataLst>
          </p:nvPr>
        </p:nvCxnSpPr>
        <p:spPr bwMode="auto">
          <a:xfrm flipV="1">
            <a:off x="830195" y="1926607"/>
            <a:ext cx="0" cy="7620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</p:cxnSp>
      <p:sp>
        <p:nvSpPr>
          <p:cNvPr id="80" name="Прямоугольник 79"/>
          <p:cNvSpPr/>
          <p:nvPr>
            <p:custDataLst>
              <p:tags r:id="rId9"/>
            </p:custDataLst>
          </p:nvPr>
        </p:nvSpPr>
        <p:spPr bwMode="auto">
          <a:xfrm>
            <a:off x="1829543" y="2310548"/>
            <a:ext cx="642721" cy="1825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  <a:tileRect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A7C259-581C-4DCD-9627-1F69010A70A3}" type="datetime'''''1.6''.''''''''''''''''''''''''1''8'''''''''''''''''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.6.18</a:t>
            </a:fld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Arial"/>
              <a:sym typeface="Arial"/>
            </a:endParaRPr>
          </a:p>
        </p:txBody>
      </p:sp>
      <p:sp>
        <p:nvSpPr>
          <p:cNvPr id="81" name="Прямоугольник 80"/>
          <p:cNvSpPr/>
          <p:nvPr>
            <p:custDataLst>
              <p:tags r:id="rId10"/>
            </p:custDataLst>
          </p:nvPr>
        </p:nvSpPr>
        <p:spPr bwMode="auto">
          <a:xfrm>
            <a:off x="395536" y="2310548"/>
            <a:ext cx="767044" cy="1825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  <a:tileRect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EF61B4-8201-486A-B6A0-E0E33FB1B832}" type="datetime'''1''''.''1''''''''''2''.1''''''''''''''''7'''''''''''''''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.12.17</a:t>
            </a:fld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Arial"/>
              <a:sym typeface="Arial"/>
            </a:endParaRPr>
          </a:p>
        </p:txBody>
      </p:sp>
      <p:sp>
        <p:nvSpPr>
          <p:cNvPr id="82" name="Прямоугольник 81"/>
          <p:cNvSpPr/>
          <p:nvPr>
            <p:custDataLst>
              <p:tags r:id="rId11"/>
            </p:custDataLst>
          </p:nvPr>
        </p:nvSpPr>
        <p:spPr bwMode="auto">
          <a:xfrm>
            <a:off x="584153" y="2040909"/>
            <a:ext cx="493713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  <a:tileRect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txBody>
          <a:bodyPr wrap="none" lIns="25400" tIns="0" rIns="25400" bIns="0"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6300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Arial"/>
              <a:sym typeface="Arial"/>
            </a:endParaRPr>
          </a:p>
        </p:txBody>
      </p:sp>
      <p:sp>
        <p:nvSpPr>
          <p:cNvPr id="83" name="Овал 82"/>
          <p:cNvSpPr/>
          <p:nvPr>
            <p:custDataLst>
              <p:tags r:id="rId12"/>
            </p:custDataLst>
          </p:nvPr>
        </p:nvSpPr>
        <p:spPr bwMode="gray">
          <a:xfrm>
            <a:off x="1166745" y="1709722"/>
            <a:ext cx="681038" cy="334391"/>
          </a:xfrm>
          <a:prstGeom prst="ellipse">
            <a:avLst/>
          </a:prstGeom>
          <a:solidFill>
            <a:srgbClr val="00B050"/>
          </a:solidFill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E5FA1B-F6D2-4149-AAD7-CC184F011D0A}" type="datetime'''''-''''''''9''9'''',9%'''''''''''''''''''''''''''''''">
              <a:rPr kumimoji="0" lang="en-US" sz="1200" b="1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-99,9%</a:t>
            </a:fld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Arial"/>
              <a:sym typeface="Arial"/>
            </a:endParaRPr>
          </a:p>
        </p:txBody>
      </p:sp>
      <p:sp>
        <p:nvSpPr>
          <p:cNvPr id="84" name="Прямоугольник 83"/>
          <p:cNvSpPr/>
          <p:nvPr>
            <p:custDataLst>
              <p:tags r:id="rId13"/>
            </p:custDataLst>
          </p:nvPr>
        </p:nvSpPr>
        <p:spPr>
          <a:xfrm>
            <a:off x="-36512" y="2454564"/>
            <a:ext cx="3005060" cy="736600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354013" defTabSz="914400" eaLnBrk="1" hangingPunct="1"/>
            <a:r>
              <a:rPr lang="ru-RU" sz="120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НЗП в потоке производства корпусов, </a:t>
            </a:r>
            <a:r>
              <a:rPr lang="ru-RU" sz="1200" i="1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шт.</a:t>
            </a:r>
          </a:p>
        </p:txBody>
      </p:sp>
      <p:cxnSp>
        <p:nvCxnSpPr>
          <p:cNvPr id="85" name="Прямая со стрелкой 84"/>
          <p:cNvCxnSpPr/>
          <p:nvPr>
            <p:custDataLst>
              <p:tags r:id="rId14"/>
            </p:custDataLst>
          </p:nvPr>
        </p:nvCxnSpPr>
        <p:spPr>
          <a:xfrm>
            <a:off x="211024" y="2471084"/>
            <a:ext cx="0" cy="382276"/>
          </a:xfrm>
          <a:prstGeom prst="straightConnector1">
            <a:avLst/>
          </a:prstGeom>
          <a:noFill/>
          <a:ln w="34925" cap="flat" cmpd="sng" algn="ctr">
            <a:solidFill>
              <a:srgbClr val="00B050"/>
            </a:solidFill>
            <a:prstDash val="solid"/>
            <a:tailEnd type="arrow"/>
          </a:ln>
          <a:effectLst/>
        </p:spPr>
      </p:cxnSp>
      <p:cxnSp>
        <p:nvCxnSpPr>
          <p:cNvPr id="86" name="Прямая соединительная линия 85"/>
          <p:cNvCxnSpPr/>
          <p:nvPr>
            <p:custDataLst>
              <p:tags r:id="rId15"/>
            </p:custDataLst>
          </p:nvPr>
        </p:nvCxnSpPr>
        <p:spPr bwMode="auto">
          <a:xfrm>
            <a:off x="2251075" y="2899632"/>
            <a:ext cx="0" cy="422275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</p:cxnSp>
      <p:cxnSp>
        <p:nvCxnSpPr>
          <p:cNvPr id="87" name="Прямая соединительная линия 86"/>
          <p:cNvCxnSpPr/>
          <p:nvPr>
            <p:custDataLst>
              <p:tags r:id="rId16"/>
            </p:custDataLst>
          </p:nvPr>
        </p:nvCxnSpPr>
        <p:spPr bwMode="auto">
          <a:xfrm>
            <a:off x="898525" y="2899632"/>
            <a:ext cx="1352550" cy="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</p:cxnSp>
      <p:cxnSp>
        <p:nvCxnSpPr>
          <p:cNvPr id="88" name="Прямая соединительная линия 87"/>
          <p:cNvCxnSpPr/>
          <p:nvPr>
            <p:custDataLst>
              <p:tags r:id="rId17"/>
            </p:custDataLst>
          </p:nvPr>
        </p:nvCxnSpPr>
        <p:spPr bwMode="auto">
          <a:xfrm flipV="1">
            <a:off x="898148" y="2888073"/>
            <a:ext cx="0" cy="155575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</p:cxnSp>
      <p:sp>
        <p:nvSpPr>
          <p:cNvPr id="89" name="Прямоугольник 88"/>
          <p:cNvSpPr/>
          <p:nvPr>
            <p:custDataLst>
              <p:tags r:id="rId18"/>
            </p:custDataLst>
          </p:nvPr>
        </p:nvSpPr>
        <p:spPr bwMode="auto">
          <a:xfrm>
            <a:off x="1881212" y="3259672"/>
            <a:ext cx="739775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  <a:tileRect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txBody>
          <a:bodyPr wrap="none" lIns="25400" tIns="0" rIns="25400" bIns="0"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/>
                <a:sym typeface="Arial"/>
              </a:rPr>
              <a:t>1300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Arial"/>
              <a:sym typeface="Arial"/>
            </a:endParaRPr>
          </a:p>
        </p:txBody>
      </p:sp>
      <p:sp>
        <p:nvSpPr>
          <p:cNvPr id="90" name="Прямоугольник 89"/>
          <p:cNvSpPr/>
          <p:nvPr>
            <p:custDataLst>
              <p:tags r:id="rId19"/>
            </p:custDataLst>
          </p:nvPr>
        </p:nvSpPr>
        <p:spPr bwMode="auto">
          <a:xfrm>
            <a:off x="411909" y="3509157"/>
            <a:ext cx="823166" cy="1825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  <a:tileRect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C4AAA6-A47F-4091-BEAB-17BD7D1C1D93}" type="datetime'''''''''1''''.''''''''1''''''''''''''''''''2.1''''''''''7'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.12.17</a:t>
            </a:fld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Arial"/>
              <a:sym typeface="Arial"/>
            </a:endParaRPr>
          </a:p>
        </p:txBody>
      </p:sp>
      <p:sp>
        <p:nvSpPr>
          <p:cNvPr id="91" name="Овал 90"/>
          <p:cNvSpPr/>
          <p:nvPr>
            <p:custDataLst>
              <p:tags r:id="rId20"/>
            </p:custDataLst>
          </p:nvPr>
        </p:nvSpPr>
        <p:spPr bwMode="gray">
          <a:xfrm>
            <a:off x="1235075" y="2755616"/>
            <a:ext cx="681038" cy="334391"/>
          </a:xfrm>
          <a:prstGeom prst="ellipse">
            <a:avLst/>
          </a:prstGeom>
          <a:solidFill>
            <a:srgbClr val="00B050"/>
          </a:solidFill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824C44-AA2D-4A84-B333-F0AD732BF50A}" type="datetime'''''-''9''''7'''''',''6''''''''''''''''''''%'''''''''''''''''">
              <a:rPr kumimoji="0" lang="en-US" sz="1200" b="1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-97,6%</a:t>
            </a:fld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Arial"/>
              <a:sym typeface="Arial"/>
            </a:endParaRPr>
          </a:p>
        </p:txBody>
      </p:sp>
      <p:sp>
        <p:nvSpPr>
          <p:cNvPr id="92" name="Прямоугольник 91"/>
          <p:cNvSpPr/>
          <p:nvPr>
            <p:custDataLst>
              <p:tags r:id="rId21"/>
            </p:custDataLst>
          </p:nvPr>
        </p:nvSpPr>
        <p:spPr bwMode="auto">
          <a:xfrm>
            <a:off x="1916114" y="3509157"/>
            <a:ext cx="704874" cy="1825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  <a:tileRect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A9834F-C52E-4376-B677-98FC961994A0}" type="datetime'''''''''1''''''''''.6.''1''''''''''''''''8'''''''''''''''''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.6.18</a:t>
            </a:fld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Arial"/>
              <a:sym typeface="Arial"/>
            </a:endParaRPr>
          </a:p>
        </p:txBody>
      </p:sp>
      <p:graphicFrame>
        <p:nvGraphicFramePr>
          <p:cNvPr id="93" name="Объект 92"/>
          <p:cNvGraphicFramePr>
            <a:graphicFrameLocks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045534029"/>
              </p:ext>
            </p:extLst>
          </p:nvPr>
        </p:nvGraphicFramePr>
        <p:xfrm>
          <a:off x="127233" y="4353035"/>
          <a:ext cx="3501184" cy="9145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8" name="Диаграмма" r:id="rId70" imgW="3631460" imgH="1143000" progId="MSGraph.Chart.8">
                  <p:embed followColorScheme="full"/>
                </p:oleObj>
              </mc:Choice>
              <mc:Fallback>
                <p:oleObj name="Диаграмма" r:id="rId70" imgW="3631460" imgH="11430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27233" y="4353035"/>
                        <a:ext cx="3501184" cy="91453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4" name="Прямая соединительная линия 93"/>
          <p:cNvCxnSpPr/>
          <p:nvPr>
            <p:custDataLst>
              <p:tags r:id="rId23"/>
            </p:custDataLst>
          </p:nvPr>
        </p:nvCxnSpPr>
        <p:spPr bwMode="auto">
          <a:xfrm>
            <a:off x="2175404" y="4129845"/>
            <a:ext cx="0" cy="15240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</p:cxnSp>
      <p:cxnSp>
        <p:nvCxnSpPr>
          <p:cNvPr id="95" name="Прямая соединительная линия 94"/>
          <p:cNvCxnSpPr/>
          <p:nvPr>
            <p:custDataLst>
              <p:tags r:id="rId24"/>
            </p:custDataLst>
          </p:nvPr>
        </p:nvCxnSpPr>
        <p:spPr bwMode="auto">
          <a:xfrm>
            <a:off x="822854" y="4129845"/>
            <a:ext cx="1352550" cy="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</p:cxnSp>
      <p:cxnSp>
        <p:nvCxnSpPr>
          <p:cNvPr id="96" name="Прямая соединительная линия 95"/>
          <p:cNvCxnSpPr/>
          <p:nvPr>
            <p:custDataLst>
              <p:tags r:id="rId25"/>
            </p:custDataLst>
          </p:nvPr>
        </p:nvCxnSpPr>
        <p:spPr bwMode="auto">
          <a:xfrm flipV="1">
            <a:off x="822854" y="4129851"/>
            <a:ext cx="0" cy="238125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</p:cxnSp>
      <p:sp>
        <p:nvSpPr>
          <p:cNvPr id="97" name="Прямоугольник 96"/>
          <p:cNvSpPr/>
          <p:nvPr>
            <p:custDataLst>
              <p:tags r:id="rId26"/>
            </p:custDataLst>
          </p:nvPr>
        </p:nvSpPr>
        <p:spPr bwMode="auto">
          <a:xfrm>
            <a:off x="553885" y="4433134"/>
            <a:ext cx="592138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  <a:tileRect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txBody>
          <a:bodyPr wrap="none" lIns="25400" tIns="0" rIns="25400" bIns="0"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/>
                <a:sym typeface="Arial"/>
              </a:rPr>
              <a:t>220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Arial"/>
              <a:sym typeface="Arial"/>
            </a:endParaRPr>
          </a:p>
        </p:txBody>
      </p:sp>
      <p:sp>
        <p:nvSpPr>
          <p:cNvPr id="98" name="Прямоугольник 97"/>
          <p:cNvSpPr/>
          <p:nvPr>
            <p:custDataLst>
              <p:tags r:id="rId27"/>
            </p:custDataLst>
          </p:nvPr>
        </p:nvSpPr>
        <p:spPr bwMode="auto">
          <a:xfrm>
            <a:off x="1694881" y="4435209"/>
            <a:ext cx="959555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  <a:tileRect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txBody>
          <a:bodyPr wrap="none" lIns="25400" tIns="0" rIns="25400" bIns="0"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/>
                <a:sym typeface="Arial"/>
              </a:rPr>
              <a:t>314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Arial"/>
              <a:sym typeface="Arial"/>
            </a:endParaRPr>
          </a:p>
        </p:txBody>
      </p:sp>
      <p:sp>
        <p:nvSpPr>
          <p:cNvPr id="99" name="Прямоугольник 98"/>
          <p:cNvSpPr/>
          <p:nvPr>
            <p:custDataLst>
              <p:tags r:id="rId28"/>
            </p:custDataLst>
          </p:nvPr>
        </p:nvSpPr>
        <p:spPr bwMode="auto">
          <a:xfrm>
            <a:off x="411910" y="4686812"/>
            <a:ext cx="838200" cy="1825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  <a:tileRect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839A41-4545-4FB0-B671-5629EA5CE0EB}" type="datetime'''''1''''''''.''''''''''''''''''''''''''''12''.''''''1''''7'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.12.17</a:t>
            </a:fld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Arial"/>
              <a:sym typeface="Arial"/>
            </a:endParaRPr>
          </a:p>
        </p:txBody>
      </p:sp>
      <p:sp>
        <p:nvSpPr>
          <p:cNvPr id="100" name="Прямоугольник 99"/>
          <p:cNvSpPr/>
          <p:nvPr>
            <p:custDataLst>
              <p:tags r:id="rId29"/>
            </p:custDataLst>
          </p:nvPr>
        </p:nvSpPr>
        <p:spPr bwMode="auto">
          <a:xfrm>
            <a:off x="1840443" y="4686812"/>
            <a:ext cx="704874" cy="1825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  <a:tileRect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9AB2D2-0205-4ED9-A606-CDE626157325}" type="datetime'''1''.''6''''.''''''''''''''''''1''''''''''''''8'''''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.6.18</a:t>
            </a:fld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Arial"/>
              <a:sym typeface="Arial"/>
            </a:endParaRPr>
          </a:p>
        </p:txBody>
      </p:sp>
      <p:sp>
        <p:nvSpPr>
          <p:cNvPr id="101" name="Овал 100"/>
          <p:cNvSpPr/>
          <p:nvPr>
            <p:custDataLst>
              <p:tags r:id="rId30"/>
            </p:custDataLst>
          </p:nvPr>
        </p:nvSpPr>
        <p:spPr bwMode="gray">
          <a:xfrm>
            <a:off x="1194329" y="3963762"/>
            <a:ext cx="609600" cy="334391"/>
          </a:xfrm>
          <a:prstGeom prst="ellipse">
            <a:avLst/>
          </a:prstGeom>
          <a:solidFill>
            <a:srgbClr val="00B050"/>
          </a:solidFill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BBE8CB-42ED-41BA-A798-25224B018136}" type="datetime'''''42'''''''''',''''''''''''''''''7''''%'''''''''">
              <a:rPr kumimoji="0" lang="en-US" sz="1200" b="1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,7%</a:t>
            </a:fld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Arial"/>
              <a:sym typeface="Arial"/>
            </a:endParaRPr>
          </a:p>
        </p:txBody>
      </p:sp>
      <p:cxnSp>
        <p:nvCxnSpPr>
          <p:cNvPr id="102" name="Прямая со стрелкой 101"/>
          <p:cNvCxnSpPr/>
          <p:nvPr>
            <p:custDataLst>
              <p:tags r:id="rId31"/>
            </p:custDataLst>
          </p:nvPr>
        </p:nvCxnSpPr>
        <p:spPr>
          <a:xfrm flipV="1">
            <a:off x="179512" y="3619252"/>
            <a:ext cx="0" cy="347480"/>
          </a:xfrm>
          <a:prstGeom prst="straightConnector1">
            <a:avLst/>
          </a:prstGeom>
          <a:noFill/>
          <a:ln w="34925" cap="flat" cmpd="sng" algn="ctr">
            <a:solidFill>
              <a:srgbClr val="00B050"/>
            </a:solidFill>
            <a:prstDash val="solid"/>
            <a:tailEnd type="arrow"/>
          </a:ln>
          <a:effectLst/>
        </p:spPr>
      </p:cxnSp>
      <p:graphicFrame>
        <p:nvGraphicFramePr>
          <p:cNvPr id="103" name="Объект 9"/>
          <p:cNvGraphicFramePr>
            <a:graphicFrameLocks/>
          </p:cNvGraphicFramePr>
          <p:nvPr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3520616296"/>
              </p:ext>
            </p:extLst>
          </p:nvPr>
        </p:nvGraphicFramePr>
        <p:xfrm>
          <a:off x="105512" y="3187664"/>
          <a:ext cx="2803504" cy="7790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2"/>
          </a:graphicData>
        </a:graphic>
      </p:graphicFrame>
      <p:sp>
        <p:nvSpPr>
          <p:cNvPr id="104" name="Прямоугольник 103"/>
          <p:cNvSpPr/>
          <p:nvPr>
            <p:custDataLst>
              <p:tags r:id="rId33"/>
            </p:custDataLst>
          </p:nvPr>
        </p:nvSpPr>
        <p:spPr>
          <a:xfrm>
            <a:off x="-108520" y="3689733"/>
            <a:ext cx="3605138" cy="276999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354013" defTabSz="914400" eaLnBrk="1" hangingPunct="1"/>
            <a:r>
              <a:rPr lang="ru-RU" sz="120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Выработка, </a:t>
            </a:r>
            <a:r>
              <a:rPr lang="ru-RU" sz="1200" i="1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шт./чел. в смену</a:t>
            </a:r>
          </a:p>
        </p:txBody>
      </p:sp>
      <p:pic>
        <p:nvPicPr>
          <p:cNvPr id="105" name="Picture 2" descr="E:\Фото СВМЗ\Фото завода 28.11.2017\Корпусной цех\IMG_6885.jpg"/>
          <p:cNvPicPr>
            <a:picLocks noChangeAspect="1" noChangeArrowheads="1"/>
          </p:cNvPicPr>
          <p:nvPr>
            <p:custDataLst>
              <p:tags r:id="rId34"/>
            </p:custDataLst>
          </p:nvPr>
        </p:nvPicPr>
        <p:blipFill>
          <a:blip r:embed="rId73" cstate="print">
            <a:extLst>
              <a:ext uri="{BEBA8EAE-BF5A-486C-A8C5-ECC9F3942E4B}">
                <a14:imgProps xmlns:a14="http://schemas.microsoft.com/office/drawing/2010/main">
                  <a14:imgLayer r:embed="rId74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6092" y="1447412"/>
            <a:ext cx="1305702" cy="870298"/>
          </a:xfrm>
          <a:prstGeom prst="rect">
            <a:avLst/>
          </a:prstGeom>
          <a:noFill/>
          <a:ln w="19050">
            <a:solidFill>
              <a:sysClr val="window" lastClr="FFFFF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6" name="Прямоугольник 105"/>
          <p:cNvSpPr/>
          <p:nvPr>
            <p:custDataLst>
              <p:tags r:id="rId35"/>
            </p:custDataLst>
          </p:nvPr>
        </p:nvSpPr>
        <p:spPr>
          <a:xfrm>
            <a:off x="3063452" y="3201066"/>
            <a:ext cx="2888374" cy="261610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88900" algn="ctr" defTabSz="914400" eaLnBrk="1" hangingPunct="1"/>
            <a:r>
              <a:rPr lang="ru-RU" sz="1100" b="1" dirty="0">
                <a:latin typeface="+mj-lt"/>
                <a:cs typeface="Arial" panose="020B0604020202020204" pitchFamily="34" charset="0"/>
              </a:rPr>
              <a:t>ОСНОВНЫЕ МЕРОПРИЯТИЯ</a:t>
            </a:r>
            <a:r>
              <a:rPr lang="ru-RU" sz="1100" dirty="0">
                <a:latin typeface="+mj-lt"/>
                <a:cs typeface="Arial" panose="020B0604020202020204" pitchFamily="34" charset="0"/>
              </a:rPr>
              <a:t>:</a:t>
            </a:r>
            <a:endParaRPr lang="ru-RU" sz="1100" i="1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07" name="Прямоугольник 106"/>
          <p:cNvSpPr/>
          <p:nvPr>
            <p:custDataLst>
              <p:tags r:id="rId36"/>
            </p:custDataLst>
          </p:nvPr>
        </p:nvSpPr>
        <p:spPr>
          <a:xfrm>
            <a:off x="3071522" y="3558491"/>
            <a:ext cx="2940638" cy="1384995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265113" indent="-176213" defTabSz="914400" eaLnBrk="1" hangingPunct="1">
              <a:buFontTx/>
              <a:buAutoNum type="arabicPeriod"/>
            </a:pPr>
            <a:r>
              <a:rPr lang="ru-RU" sz="120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Переход от типичного производства партиями к потоку в одно изделие;</a:t>
            </a:r>
          </a:p>
          <a:p>
            <a:pPr marL="265113" indent="-176213" defTabSz="914400" eaLnBrk="1" hangingPunct="1">
              <a:buFontTx/>
              <a:buAutoNum type="arabicPeriod"/>
            </a:pPr>
            <a:r>
              <a:rPr lang="ru-RU" sz="120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Организация производственных ячеек;</a:t>
            </a:r>
          </a:p>
          <a:p>
            <a:pPr marL="265113" indent="-176213" defTabSz="914400" eaLnBrk="1" hangingPunct="1">
              <a:buFontTx/>
              <a:buAutoNum type="arabicPeriod"/>
            </a:pPr>
            <a:r>
              <a:rPr lang="ru-RU" sz="120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Внедрение многостаночного обслуживания.</a:t>
            </a:r>
          </a:p>
        </p:txBody>
      </p:sp>
      <p:pic>
        <p:nvPicPr>
          <p:cNvPr id="108" name="Picture 2" descr="E:\Фото СВМЗ\фото от 26.07.2018\IMG_1652.jpg"/>
          <p:cNvPicPr>
            <a:picLocks noChangeAspect="1" noChangeArrowheads="1"/>
          </p:cNvPicPr>
          <p:nvPr>
            <p:custDataLst>
              <p:tags r:id="rId37"/>
            </p:custDataLst>
          </p:nvPr>
        </p:nvPicPr>
        <p:blipFill rotWithShape="1">
          <a:blip r:embed="rId7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43" r="1937" b="9392"/>
          <a:stretch/>
        </p:blipFill>
        <p:spPr bwMode="auto">
          <a:xfrm>
            <a:off x="4201609" y="2093902"/>
            <a:ext cx="1531105" cy="1002541"/>
          </a:xfrm>
          <a:prstGeom prst="rect">
            <a:avLst/>
          </a:prstGeom>
          <a:noFill/>
          <a:ln w="19050">
            <a:solidFill>
              <a:sysClr val="window" lastClr="FFFFFF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9" name="Прямоугольник 108"/>
          <p:cNvSpPr/>
          <p:nvPr>
            <p:custDataLst>
              <p:tags r:id="rId38"/>
            </p:custDataLst>
          </p:nvPr>
        </p:nvSpPr>
        <p:spPr>
          <a:xfrm>
            <a:off x="6164230" y="1374444"/>
            <a:ext cx="2888374" cy="461665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354013" defTabSz="914400" eaLnBrk="1" hangingPunct="1"/>
            <a:r>
              <a:rPr lang="ru-RU" sz="120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Производственные площади, </a:t>
            </a:r>
            <a:r>
              <a:rPr lang="ru-RU" sz="1200" i="1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м</a:t>
            </a:r>
            <a:r>
              <a:rPr lang="ru-RU" sz="1200" i="1" baseline="3000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2</a:t>
            </a:r>
          </a:p>
        </p:txBody>
      </p:sp>
      <p:cxnSp>
        <p:nvCxnSpPr>
          <p:cNvPr id="110" name="Прямая со стрелкой 109"/>
          <p:cNvCxnSpPr/>
          <p:nvPr>
            <p:custDataLst>
              <p:tags r:id="rId39"/>
            </p:custDataLst>
          </p:nvPr>
        </p:nvCxnSpPr>
        <p:spPr>
          <a:xfrm>
            <a:off x="6411755" y="1450155"/>
            <a:ext cx="0" cy="382276"/>
          </a:xfrm>
          <a:prstGeom prst="straightConnector1">
            <a:avLst/>
          </a:prstGeom>
          <a:noFill/>
          <a:ln w="34925" cap="flat" cmpd="sng" algn="ctr">
            <a:solidFill>
              <a:srgbClr val="00B050"/>
            </a:solidFill>
            <a:prstDash val="solid"/>
            <a:tailEnd type="arrow"/>
          </a:ln>
          <a:effectLst/>
        </p:spPr>
      </p:cxnSp>
      <p:sp>
        <p:nvSpPr>
          <p:cNvPr id="111" name="Прямоугольник 110"/>
          <p:cNvSpPr/>
          <p:nvPr>
            <p:custDataLst>
              <p:tags r:id="rId40"/>
            </p:custDataLst>
          </p:nvPr>
        </p:nvSpPr>
        <p:spPr>
          <a:xfrm>
            <a:off x="6164219" y="2540212"/>
            <a:ext cx="3005060" cy="736600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354013" defTabSz="914400" eaLnBrk="1" hangingPunct="1"/>
            <a:r>
              <a:rPr lang="ru-RU" sz="120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Количество операторов в потоке, </a:t>
            </a:r>
            <a:r>
              <a:rPr lang="ru-RU" sz="1200" i="1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чел.</a:t>
            </a:r>
          </a:p>
        </p:txBody>
      </p:sp>
      <p:cxnSp>
        <p:nvCxnSpPr>
          <p:cNvPr id="112" name="Прямая со стрелкой 111"/>
          <p:cNvCxnSpPr/>
          <p:nvPr>
            <p:custDataLst>
              <p:tags r:id="rId41"/>
            </p:custDataLst>
          </p:nvPr>
        </p:nvCxnSpPr>
        <p:spPr>
          <a:xfrm>
            <a:off x="6403459" y="2628210"/>
            <a:ext cx="0" cy="382276"/>
          </a:xfrm>
          <a:prstGeom prst="straightConnector1">
            <a:avLst/>
          </a:prstGeom>
          <a:noFill/>
          <a:ln w="34925" cap="flat" cmpd="sng" algn="ctr">
            <a:solidFill>
              <a:srgbClr val="00B050"/>
            </a:solidFill>
            <a:prstDash val="solid"/>
            <a:tailEnd type="arrow"/>
          </a:ln>
          <a:effectLst/>
        </p:spPr>
      </p:cxnSp>
      <p:sp>
        <p:nvSpPr>
          <p:cNvPr id="113" name="Прямоугольник 112"/>
          <p:cNvSpPr/>
          <p:nvPr>
            <p:custDataLst>
              <p:tags r:id="rId42"/>
            </p:custDataLst>
          </p:nvPr>
        </p:nvSpPr>
        <p:spPr>
          <a:xfrm>
            <a:off x="6164219" y="3750563"/>
            <a:ext cx="3005060" cy="276999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354013" defTabSz="914400" eaLnBrk="1" hangingPunct="1"/>
            <a:r>
              <a:rPr lang="ru-RU" sz="120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Время наладки станка, </a:t>
            </a:r>
            <a:r>
              <a:rPr lang="ru-RU" sz="1200" i="1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мин.</a:t>
            </a:r>
          </a:p>
        </p:txBody>
      </p:sp>
      <p:cxnSp>
        <p:nvCxnSpPr>
          <p:cNvPr id="114" name="Прямая со стрелкой 113"/>
          <p:cNvCxnSpPr/>
          <p:nvPr>
            <p:custDataLst>
              <p:tags r:id="rId43"/>
            </p:custDataLst>
          </p:nvPr>
        </p:nvCxnSpPr>
        <p:spPr>
          <a:xfrm>
            <a:off x="6411755" y="3746796"/>
            <a:ext cx="0" cy="368480"/>
          </a:xfrm>
          <a:prstGeom prst="straightConnector1">
            <a:avLst/>
          </a:prstGeom>
          <a:noFill/>
          <a:ln w="34925" cap="flat" cmpd="sng" algn="ctr">
            <a:solidFill>
              <a:srgbClr val="00B050"/>
            </a:solidFill>
            <a:prstDash val="solid"/>
            <a:tailEnd type="arrow"/>
          </a:ln>
          <a:effectLst/>
        </p:spPr>
      </p:cxnSp>
      <p:graphicFrame>
        <p:nvGraphicFramePr>
          <p:cNvPr id="115" name="Объект 79"/>
          <p:cNvGraphicFramePr>
            <a:graphicFrameLocks/>
          </p:cNvGraphicFramePr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1915414415"/>
              </p:ext>
            </p:extLst>
          </p:nvPr>
        </p:nvGraphicFramePr>
        <p:xfrm>
          <a:off x="6284914" y="1747504"/>
          <a:ext cx="2803504" cy="7790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6"/>
          </a:graphicData>
        </a:graphic>
      </p:graphicFrame>
      <p:cxnSp>
        <p:nvCxnSpPr>
          <p:cNvPr id="116" name="Прямая соединительная линия 115"/>
          <p:cNvCxnSpPr/>
          <p:nvPr>
            <p:custDataLst>
              <p:tags r:id="rId45"/>
            </p:custDataLst>
          </p:nvPr>
        </p:nvCxnSpPr>
        <p:spPr bwMode="auto">
          <a:xfrm>
            <a:off x="8353425" y="1879370"/>
            <a:ext cx="0" cy="15240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</p:cxnSp>
      <p:cxnSp>
        <p:nvCxnSpPr>
          <p:cNvPr id="117" name="Прямая соединительная линия 116"/>
          <p:cNvCxnSpPr/>
          <p:nvPr>
            <p:custDataLst>
              <p:tags r:id="rId46"/>
            </p:custDataLst>
          </p:nvPr>
        </p:nvCxnSpPr>
        <p:spPr bwMode="auto">
          <a:xfrm>
            <a:off x="7000875" y="1879370"/>
            <a:ext cx="1352550" cy="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</p:cxnSp>
      <p:cxnSp>
        <p:nvCxnSpPr>
          <p:cNvPr id="118" name="Прямая соединительная линия 117"/>
          <p:cNvCxnSpPr/>
          <p:nvPr>
            <p:custDataLst>
              <p:tags r:id="rId47"/>
            </p:custDataLst>
          </p:nvPr>
        </p:nvCxnSpPr>
        <p:spPr bwMode="auto">
          <a:xfrm flipV="1">
            <a:off x="7000875" y="1879414"/>
            <a:ext cx="0" cy="104775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</p:cxnSp>
      <p:sp>
        <p:nvSpPr>
          <p:cNvPr id="119" name="Прямоугольник 118"/>
          <p:cNvSpPr/>
          <p:nvPr>
            <p:custDataLst>
              <p:tags r:id="rId48"/>
            </p:custDataLst>
          </p:nvPr>
        </p:nvSpPr>
        <p:spPr bwMode="auto">
          <a:xfrm>
            <a:off x="6494019" y="2382556"/>
            <a:ext cx="986790" cy="21261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  <a:tileRect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6ED035-25DC-492C-9C70-2FE26282BBEB}" type="datetime'''''''''1''.12''''''''''''''''''''''.''''17'''''''''''''''''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.12.17</a:t>
            </a:fld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Arial"/>
              <a:sym typeface="Arial"/>
            </a:endParaRPr>
          </a:p>
        </p:txBody>
      </p:sp>
      <p:sp>
        <p:nvSpPr>
          <p:cNvPr id="120" name="Овал 119"/>
          <p:cNvSpPr/>
          <p:nvPr>
            <p:custDataLst>
              <p:tags r:id="rId49"/>
            </p:custDataLst>
          </p:nvPr>
        </p:nvSpPr>
        <p:spPr bwMode="gray">
          <a:xfrm>
            <a:off x="7337432" y="1662476"/>
            <a:ext cx="681038" cy="334391"/>
          </a:xfrm>
          <a:prstGeom prst="ellipse">
            <a:avLst/>
          </a:prstGeom>
          <a:solidFill>
            <a:srgbClr val="00B050"/>
          </a:solidFill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0B3FA-FB8A-4444-92F3-6585F331EE17}" type="datetime'''''''''''-''''''''''''''''''''''''17'''''',''''''''''''1''%'">
              <a:rPr kumimoji="0" lang="en-US" sz="1200" b="1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-17,1%</a:t>
            </a:fld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Arial"/>
              <a:sym typeface="Arial"/>
            </a:endParaRPr>
          </a:p>
        </p:txBody>
      </p:sp>
      <p:sp>
        <p:nvSpPr>
          <p:cNvPr id="121" name="Прямоугольник 120"/>
          <p:cNvSpPr/>
          <p:nvPr>
            <p:custDataLst>
              <p:tags r:id="rId50"/>
            </p:custDataLst>
          </p:nvPr>
        </p:nvSpPr>
        <p:spPr bwMode="auto">
          <a:xfrm>
            <a:off x="7928043" y="2382556"/>
            <a:ext cx="826851" cy="21261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  <a:tileRect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C0535D-FE54-4EA3-9375-2C3A44F26F05}" type="datetime'''''''''''''''''''''''1''''''''''.''6.1''''''''''''''8'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.6.18</a:t>
            </a:fld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Arial"/>
              <a:sym typeface="Arial"/>
            </a:endParaRPr>
          </a:p>
        </p:txBody>
      </p:sp>
      <p:graphicFrame>
        <p:nvGraphicFramePr>
          <p:cNvPr id="122" name="Объект 87"/>
          <p:cNvGraphicFramePr>
            <a:graphicFrameLocks/>
          </p:cNvGraphicFramePr>
          <p:nvPr>
            <p:custDataLst>
              <p:tags r:id="rId51"/>
            </p:custDataLst>
            <p:extLst>
              <p:ext uri="{D42A27DB-BD31-4B8C-83A1-F6EECF244321}">
                <p14:modId xmlns:p14="http://schemas.microsoft.com/office/powerpoint/2010/main" val="800077344"/>
              </p:ext>
            </p:extLst>
          </p:nvPr>
        </p:nvGraphicFramePr>
        <p:xfrm>
          <a:off x="6284914" y="2959936"/>
          <a:ext cx="2803504" cy="7790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7"/>
          </a:graphicData>
        </a:graphic>
      </p:graphicFrame>
      <p:cxnSp>
        <p:nvCxnSpPr>
          <p:cNvPr id="123" name="Прямая соединительная линия 122"/>
          <p:cNvCxnSpPr/>
          <p:nvPr>
            <p:custDataLst>
              <p:tags r:id="rId52"/>
            </p:custDataLst>
          </p:nvPr>
        </p:nvCxnSpPr>
        <p:spPr bwMode="auto">
          <a:xfrm flipV="1">
            <a:off x="7000875" y="3122013"/>
            <a:ext cx="0" cy="7620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</p:cxnSp>
      <p:cxnSp>
        <p:nvCxnSpPr>
          <p:cNvPr id="124" name="Прямая соединительная линия 123"/>
          <p:cNvCxnSpPr/>
          <p:nvPr>
            <p:custDataLst>
              <p:tags r:id="rId53"/>
            </p:custDataLst>
          </p:nvPr>
        </p:nvCxnSpPr>
        <p:spPr bwMode="auto">
          <a:xfrm>
            <a:off x="8353425" y="3122016"/>
            <a:ext cx="0" cy="161925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</p:cxnSp>
      <p:cxnSp>
        <p:nvCxnSpPr>
          <p:cNvPr id="125" name="Прямая соединительная линия 124"/>
          <p:cNvCxnSpPr/>
          <p:nvPr>
            <p:custDataLst>
              <p:tags r:id="rId54"/>
            </p:custDataLst>
          </p:nvPr>
        </p:nvCxnSpPr>
        <p:spPr bwMode="auto">
          <a:xfrm>
            <a:off x="7000875" y="3122013"/>
            <a:ext cx="1352550" cy="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</p:cxnSp>
      <p:sp>
        <p:nvSpPr>
          <p:cNvPr id="126" name="Овал 125"/>
          <p:cNvSpPr/>
          <p:nvPr>
            <p:custDataLst>
              <p:tags r:id="rId55"/>
            </p:custDataLst>
          </p:nvPr>
        </p:nvSpPr>
        <p:spPr bwMode="gray">
          <a:xfrm>
            <a:off x="7337432" y="2905127"/>
            <a:ext cx="681038" cy="334391"/>
          </a:xfrm>
          <a:prstGeom prst="ellipse">
            <a:avLst/>
          </a:prstGeom>
          <a:solidFill>
            <a:srgbClr val="00B050"/>
          </a:solidFill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EB1AFE-8A17-44BE-A3CF-EEE3B3758F0D}" type="datetime'''''''''''''''''''''''''''''''-''3''''''2,0''''''''''''%'''">
              <a:rPr kumimoji="0" lang="en-US" sz="1200" b="1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-32,0%</a:t>
            </a:fld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Arial"/>
              <a:sym typeface="Arial"/>
            </a:endParaRPr>
          </a:p>
        </p:txBody>
      </p:sp>
      <p:sp>
        <p:nvSpPr>
          <p:cNvPr id="127" name="Прямоугольник 126"/>
          <p:cNvSpPr/>
          <p:nvPr>
            <p:custDataLst>
              <p:tags r:id="rId56"/>
            </p:custDataLst>
          </p:nvPr>
        </p:nvSpPr>
        <p:spPr bwMode="auto">
          <a:xfrm>
            <a:off x="7928043" y="3564233"/>
            <a:ext cx="826851" cy="19359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  <a:tileRect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CF9FE7-7DE0-4A85-A820-624F43E7B01B}" type="datetime'''''''1''''''''''''''''''.''''6''''''''''''''''''''.''1''''8'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.6.18</a:t>
            </a:fld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Arial"/>
              <a:sym typeface="Arial"/>
            </a:endParaRPr>
          </a:p>
        </p:txBody>
      </p:sp>
      <p:sp>
        <p:nvSpPr>
          <p:cNvPr id="128" name="Прямоугольник 127"/>
          <p:cNvSpPr/>
          <p:nvPr>
            <p:custDataLst>
              <p:tags r:id="rId57"/>
            </p:custDataLst>
          </p:nvPr>
        </p:nvSpPr>
        <p:spPr bwMode="auto">
          <a:xfrm>
            <a:off x="6494019" y="3564233"/>
            <a:ext cx="986790" cy="19359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  <a:tileRect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684D45-81F2-4C3E-B708-FBD9FE55B0D7}" type="datetime'1''''''''''''''''''.1''''2.''''1''7'''''''''''''''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.12.17</a:t>
            </a:fld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Arial"/>
              <a:sym typeface="Arial"/>
            </a:endParaRPr>
          </a:p>
        </p:txBody>
      </p:sp>
      <p:graphicFrame>
        <p:nvGraphicFramePr>
          <p:cNvPr id="129" name="Объект 96"/>
          <p:cNvGraphicFramePr>
            <a:graphicFrameLocks/>
          </p:cNvGraphicFramePr>
          <p:nvPr>
            <p:custDataLst>
              <p:tags r:id="rId58"/>
            </p:custDataLst>
            <p:extLst>
              <p:ext uri="{D42A27DB-BD31-4B8C-83A1-F6EECF244321}">
                <p14:modId xmlns:p14="http://schemas.microsoft.com/office/powerpoint/2010/main" val="4230616696"/>
              </p:ext>
            </p:extLst>
          </p:nvPr>
        </p:nvGraphicFramePr>
        <p:xfrm>
          <a:off x="6302966" y="4317009"/>
          <a:ext cx="2803457" cy="7789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8"/>
          </a:graphicData>
        </a:graphic>
      </p:graphicFrame>
      <p:cxnSp>
        <p:nvCxnSpPr>
          <p:cNvPr id="130" name="Прямая соединительная линия 129"/>
          <p:cNvCxnSpPr/>
          <p:nvPr>
            <p:custDataLst>
              <p:tags r:id="rId59"/>
            </p:custDataLst>
          </p:nvPr>
        </p:nvCxnSpPr>
        <p:spPr bwMode="auto">
          <a:xfrm flipV="1">
            <a:off x="7000875" y="4251711"/>
            <a:ext cx="0" cy="7620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</p:cxnSp>
      <p:cxnSp>
        <p:nvCxnSpPr>
          <p:cNvPr id="131" name="Прямая соединительная линия 130"/>
          <p:cNvCxnSpPr/>
          <p:nvPr>
            <p:custDataLst>
              <p:tags r:id="rId60"/>
            </p:custDataLst>
          </p:nvPr>
        </p:nvCxnSpPr>
        <p:spPr bwMode="auto">
          <a:xfrm>
            <a:off x="8353425" y="4251714"/>
            <a:ext cx="14" cy="157162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</p:cxnSp>
      <p:cxnSp>
        <p:nvCxnSpPr>
          <p:cNvPr id="132" name="Прямая соединительная линия 131"/>
          <p:cNvCxnSpPr/>
          <p:nvPr>
            <p:custDataLst>
              <p:tags r:id="rId61"/>
            </p:custDataLst>
          </p:nvPr>
        </p:nvCxnSpPr>
        <p:spPr bwMode="auto">
          <a:xfrm>
            <a:off x="7000875" y="4251711"/>
            <a:ext cx="1352550" cy="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</p:cxnSp>
      <p:sp>
        <p:nvSpPr>
          <p:cNvPr id="133" name="Овал 132"/>
          <p:cNvSpPr/>
          <p:nvPr>
            <p:custDataLst>
              <p:tags r:id="rId62"/>
            </p:custDataLst>
          </p:nvPr>
        </p:nvSpPr>
        <p:spPr bwMode="gray">
          <a:xfrm>
            <a:off x="7337432" y="4034828"/>
            <a:ext cx="681038" cy="334391"/>
          </a:xfrm>
          <a:prstGeom prst="ellipse">
            <a:avLst/>
          </a:prstGeom>
          <a:solidFill>
            <a:srgbClr val="00B050"/>
          </a:solidFill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5BD5CE-AC51-4DF5-A91D-B59699D424DF}" type="datetime'-''''''''8''''''''7'''',''''''''5''''''%'''''''''''''''''''''">
              <a:rPr kumimoji="0" lang="en-US" sz="1200" b="1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-87,5%</a:t>
            </a:fld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Arial"/>
              <a:sym typeface="Arial"/>
            </a:endParaRPr>
          </a:p>
        </p:txBody>
      </p:sp>
      <p:sp>
        <p:nvSpPr>
          <p:cNvPr id="134" name="Прямоугольник 133"/>
          <p:cNvSpPr/>
          <p:nvPr>
            <p:custDataLst>
              <p:tags r:id="rId63"/>
            </p:custDataLst>
          </p:nvPr>
        </p:nvSpPr>
        <p:spPr bwMode="auto">
          <a:xfrm>
            <a:off x="8018470" y="4680446"/>
            <a:ext cx="736424" cy="16574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  <a:tileRect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96D70B-8BB9-4000-9880-A2334049E23F}" type="datetime'''''''''''''''''''1''''.''''''6''''.''1''''''''''8'''''''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.6.18</a:t>
            </a:fld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Arial"/>
              <a:sym typeface="Arial"/>
            </a:endParaRPr>
          </a:p>
        </p:txBody>
      </p:sp>
      <p:sp>
        <p:nvSpPr>
          <p:cNvPr id="135" name="Прямоугольник 134"/>
          <p:cNvSpPr/>
          <p:nvPr>
            <p:custDataLst>
              <p:tags r:id="rId64"/>
            </p:custDataLst>
          </p:nvPr>
        </p:nvSpPr>
        <p:spPr bwMode="auto">
          <a:xfrm>
            <a:off x="6559857" y="4682480"/>
            <a:ext cx="878872" cy="16574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  <a:tileRect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CF831C-8904-4F2C-BBFD-C98606295D83}" type="datetime'''1''.1''''''''''''''''''''''2''''.17'''''''''''''''''''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.12.17</a:t>
            </a:fld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Arial"/>
              <a:sym typeface="Arial"/>
            </a:endParaRPr>
          </a:p>
        </p:txBody>
      </p:sp>
      <p:sp>
        <p:nvSpPr>
          <p:cNvPr id="136" name="Прямоугольник 135"/>
          <p:cNvSpPr/>
          <p:nvPr>
            <p:custDataLst>
              <p:tags r:id="rId65"/>
            </p:custDataLst>
          </p:nvPr>
        </p:nvSpPr>
        <p:spPr bwMode="auto">
          <a:xfrm>
            <a:off x="6727943" y="4388443"/>
            <a:ext cx="592138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  <a:tileRect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txBody>
          <a:bodyPr wrap="none" lIns="25400" tIns="0" rIns="25400" bIns="0"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/>
                <a:sym typeface="Arial"/>
              </a:rPr>
              <a:t>480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Arial"/>
              <a:sym typeface="Arial"/>
            </a:endParaRPr>
          </a:p>
        </p:txBody>
      </p:sp>
      <p:sp>
        <p:nvSpPr>
          <p:cNvPr id="137" name="Прямоугольник 136"/>
          <p:cNvSpPr/>
          <p:nvPr>
            <p:custDataLst>
              <p:tags r:id="rId66"/>
            </p:custDataLst>
          </p:nvPr>
        </p:nvSpPr>
        <p:spPr bwMode="auto">
          <a:xfrm>
            <a:off x="411909" y="3266471"/>
            <a:ext cx="838200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  <a:tileRect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txBody>
          <a:bodyPr wrap="none" lIns="25400" tIns="0" rIns="25400" bIns="0"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/>
                <a:sym typeface="Arial"/>
              </a:rPr>
              <a:t>54000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80016589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03515" y="12924"/>
            <a:ext cx="8940485" cy="8534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1800" b="1" dirty="0"/>
              <a:t>Примеры вскрытия резервов производительности в </a:t>
            </a:r>
            <a:br>
              <a:rPr lang="ru-RU" sz="1800" b="1" dirty="0"/>
            </a:br>
            <a:r>
              <a:rPr lang="ru-RU" sz="1800" b="1" dirty="0"/>
              <a:t>ОАО «Аэрозоль Новомосковск» Тульской области (1-я волна)</a:t>
            </a:r>
          </a:p>
        </p:txBody>
      </p:sp>
      <p:sp>
        <p:nvSpPr>
          <p:cNvPr id="55" name="Равнобедренный треугольник 54"/>
          <p:cNvSpPr/>
          <p:nvPr/>
        </p:nvSpPr>
        <p:spPr>
          <a:xfrm rot="5400000">
            <a:off x="1546894" y="3054646"/>
            <a:ext cx="3312000" cy="288000"/>
          </a:xfrm>
          <a:prstGeom prst="triangle">
            <a:avLst/>
          </a:prstGeom>
          <a:solidFill>
            <a:srgbClr val="0070C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6" name="Равнобедренный треугольник 55"/>
          <p:cNvSpPr/>
          <p:nvPr/>
        </p:nvSpPr>
        <p:spPr>
          <a:xfrm rot="5400000" flipV="1">
            <a:off x="4644176" y="3054646"/>
            <a:ext cx="3312000" cy="288000"/>
          </a:xfrm>
          <a:prstGeom prst="triangle">
            <a:avLst/>
          </a:prstGeom>
          <a:solidFill>
            <a:srgbClr val="0070C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7" name="Прямоугольник 56"/>
          <p:cNvSpPr/>
          <p:nvPr>
            <p:custDataLst>
              <p:tags r:id="rId1"/>
            </p:custDataLst>
          </p:nvPr>
        </p:nvSpPr>
        <p:spPr>
          <a:xfrm>
            <a:off x="57151" y="750190"/>
            <a:ext cx="908684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eaLnBrk="1" hangingPunct="1"/>
            <a:r>
              <a:rPr lang="ru-RU" sz="1400" b="1" dirty="0">
                <a:latin typeface="+mj-lt"/>
                <a:cs typeface="Arial" panose="020B0604020202020204" pitchFamily="34" charset="0"/>
              </a:rPr>
              <a:t>Результаты работы </a:t>
            </a:r>
            <a:r>
              <a:rPr lang="ru-RU" sz="1400" b="1" u="sng" dirty="0">
                <a:latin typeface="+mj-lt"/>
                <a:cs typeface="Arial" panose="020B0604020202020204" pitchFamily="34" charset="0"/>
              </a:rPr>
              <a:t>за 6 мес</a:t>
            </a:r>
            <a:r>
              <a:rPr lang="ru-RU" sz="1400" b="1" dirty="0">
                <a:latin typeface="+mj-lt"/>
                <a:cs typeface="Arial" panose="020B0604020202020204" pitchFamily="34" charset="0"/>
              </a:rPr>
              <a:t>. </a:t>
            </a:r>
          </a:p>
          <a:p>
            <a:pPr defTabSz="914400" eaLnBrk="1" hangingPunct="1"/>
            <a:r>
              <a:rPr lang="ru-RU" sz="1400" b="1" dirty="0">
                <a:latin typeface="+mj-lt"/>
                <a:cs typeface="Arial" panose="020B0604020202020204" pitchFamily="34" charset="0"/>
              </a:rPr>
              <a:t>Поток: Линия аэрозольной продукции «ПАМАСОЛ»</a:t>
            </a:r>
          </a:p>
        </p:txBody>
      </p:sp>
      <p:sp>
        <p:nvSpPr>
          <p:cNvPr id="58" name="Прямоугольник 57"/>
          <p:cNvSpPr/>
          <p:nvPr>
            <p:custDataLst>
              <p:tags r:id="rId2"/>
            </p:custDataLst>
          </p:nvPr>
        </p:nvSpPr>
        <p:spPr>
          <a:xfrm>
            <a:off x="3202894" y="3466749"/>
            <a:ext cx="3164568" cy="307777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88900" algn="ctr" defTabSz="914400" eaLnBrk="1" hangingPunct="1"/>
            <a:r>
              <a:rPr lang="ru-RU" sz="1400" b="1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ОСНОВНЫЕ МЕРОПРИЯТИЯ</a:t>
            </a:r>
            <a:r>
              <a:rPr lang="ru-RU" sz="140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:</a:t>
            </a:r>
            <a:endParaRPr lang="ru-RU" sz="1400" i="1" dirty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59" name="Прямоугольник 58"/>
          <p:cNvSpPr/>
          <p:nvPr>
            <p:custDataLst>
              <p:tags r:id="rId3"/>
            </p:custDataLst>
          </p:nvPr>
        </p:nvSpPr>
        <p:spPr>
          <a:xfrm>
            <a:off x="3275856" y="3726325"/>
            <a:ext cx="3038766" cy="1200329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265113" indent="-176213" defTabSz="914400" eaLnBrk="1" hangingPunct="1">
              <a:buFontTx/>
              <a:buAutoNum type="arabicPeriod"/>
            </a:pPr>
            <a:r>
              <a:rPr lang="ru-RU" sz="120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Организация работы минимальными партиями;</a:t>
            </a:r>
          </a:p>
          <a:p>
            <a:pPr marL="265113" indent="-176213" defTabSz="914400" eaLnBrk="1" hangingPunct="1">
              <a:buFontTx/>
              <a:buAutoNum type="arabicPeriod"/>
            </a:pPr>
            <a:r>
              <a:rPr lang="ru-RU" sz="120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Сокращение времени переналадок оборудования;</a:t>
            </a:r>
          </a:p>
          <a:p>
            <a:pPr marL="265113" indent="-176213" defTabSz="914400" eaLnBrk="1" hangingPunct="1">
              <a:buFontTx/>
              <a:buAutoNum type="arabicPeriod"/>
            </a:pPr>
            <a:r>
              <a:rPr lang="ru-RU" sz="120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Стандартизация операций, перераспределение персонала</a:t>
            </a:r>
          </a:p>
        </p:txBody>
      </p:sp>
      <p:pic>
        <p:nvPicPr>
          <p:cNvPr id="60" name="Picture 2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51"/>
          <a:srcRect/>
          <a:stretch>
            <a:fillRect/>
          </a:stretch>
        </p:blipFill>
        <p:spPr bwMode="auto">
          <a:xfrm>
            <a:off x="3346812" y="1542646"/>
            <a:ext cx="1581841" cy="1007744"/>
          </a:xfrm>
          <a:prstGeom prst="rect">
            <a:avLst/>
          </a:prstGeom>
          <a:noFill/>
          <a:ln>
            <a:noFill/>
          </a:ln>
        </p:spPr>
      </p:pic>
      <p:sp>
        <p:nvSpPr>
          <p:cNvPr id="61" name="TextBox 60"/>
          <p:cNvSpPr txBox="1"/>
          <p:nvPr>
            <p:custDataLst>
              <p:tags r:id="rId5"/>
            </p:custDataLst>
          </p:nvPr>
        </p:nvSpPr>
        <p:spPr>
          <a:xfrm>
            <a:off x="3346813" y="1542646"/>
            <a:ext cx="695325" cy="261610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</a:rPr>
              <a:t>БЫЛО</a:t>
            </a:r>
          </a:p>
        </p:txBody>
      </p:sp>
      <p:pic>
        <p:nvPicPr>
          <p:cNvPr id="62" name="Picture 2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52"/>
          <a:srcRect/>
          <a:stretch>
            <a:fillRect/>
          </a:stretch>
        </p:blipFill>
        <p:spPr bwMode="auto">
          <a:xfrm>
            <a:off x="4361696" y="2270542"/>
            <a:ext cx="1722472" cy="1132421"/>
          </a:xfrm>
          <a:prstGeom prst="rect">
            <a:avLst/>
          </a:prstGeom>
          <a:noFill/>
          <a:ln>
            <a:noFill/>
          </a:ln>
        </p:spPr>
      </p:pic>
      <p:sp>
        <p:nvSpPr>
          <p:cNvPr id="63" name="TextBox 62"/>
          <p:cNvSpPr txBox="1"/>
          <p:nvPr>
            <p:custDataLst>
              <p:tags r:id="rId7"/>
            </p:custDataLst>
          </p:nvPr>
        </p:nvSpPr>
        <p:spPr>
          <a:xfrm>
            <a:off x="4361696" y="2270542"/>
            <a:ext cx="861236" cy="261610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+mj-lt"/>
              </a:rPr>
              <a:t>СТАЛО</a:t>
            </a:r>
          </a:p>
        </p:txBody>
      </p:sp>
      <p:sp>
        <p:nvSpPr>
          <p:cNvPr id="64" name="Прямоугольник 63"/>
          <p:cNvSpPr/>
          <p:nvPr>
            <p:custDataLst>
              <p:tags r:id="rId8"/>
            </p:custDataLst>
          </p:nvPr>
        </p:nvSpPr>
        <p:spPr>
          <a:xfrm>
            <a:off x="99450" y="1473375"/>
            <a:ext cx="2888374" cy="523220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354013" defTabSz="914400" eaLnBrk="1" hangingPunct="1"/>
            <a:r>
              <a:rPr lang="ru-RU" sz="140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ВПП изготовления 1 единицы, </a:t>
            </a:r>
            <a:r>
              <a:rPr lang="ru-RU" sz="1400" dirty="0">
                <a:solidFill>
                  <a:srgbClr val="000000"/>
                </a:solidFill>
                <a:latin typeface="+mj-lt"/>
              </a:rPr>
              <a:t>час</a:t>
            </a:r>
            <a:endParaRPr lang="ru-RU" sz="1400" i="1" dirty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</p:txBody>
      </p:sp>
      <p:cxnSp>
        <p:nvCxnSpPr>
          <p:cNvPr id="65" name="Прямая со стрелкой 64"/>
          <p:cNvCxnSpPr/>
          <p:nvPr>
            <p:custDataLst>
              <p:tags r:id="rId9"/>
            </p:custDataLst>
          </p:nvPr>
        </p:nvCxnSpPr>
        <p:spPr>
          <a:xfrm>
            <a:off x="279343" y="1541492"/>
            <a:ext cx="0" cy="382276"/>
          </a:xfrm>
          <a:prstGeom prst="straightConnector1">
            <a:avLst/>
          </a:prstGeom>
          <a:noFill/>
          <a:ln w="25400" cap="flat" cmpd="sng" algn="ctr">
            <a:solidFill>
              <a:srgbClr val="00B050"/>
            </a:solidFill>
            <a:prstDash val="solid"/>
            <a:tailEnd type="arrow"/>
          </a:ln>
          <a:effectLst/>
        </p:spPr>
      </p:cxnSp>
      <p:graphicFrame>
        <p:nvGraphicFramePr>
          <p:cNvPr id="66" name="Объект 2"/>
          <p:cNvGraphicFramePr>
            <a:graphicFrameLocks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696211223"/>
              </p:ext>
            </p:extLst>
          </p:nvPr>
        </p:nvGraphicFramePr>
        <p:xfrm>
          <a:off x="182574" y="2448202"/>
          <a:ext cx="2803457" cy="7789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3"/>
          </a:graphicData>
        </a:graphic>
      </p:graphicFrame>
      <p:cxnSp>
        <p:nvCxnSpPr>
          <p:cNvPr id="67" name="Прямая соединительная линия 66"/>
          <p:cNvCxnSpPr/>
          <p:nvPr>
            <p:custDataLst>
              <p:tags r:id="rId11"/>
            </p:custDataLst>
          </p:nvPr>
        </p:nvCxnSpPr>
        <p:spPr bwMode="auto">
          <a:xfrm>
            <a:off x="2214220" y="2211546"/>
            <a:ext cx="0" cy="276225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</p:cxnSp>
      <p:cxnSp>
        <p:nvCxnSpPr>
          <p:cNvPr id="68" name="Прямая соединительная линия 67"/>
          <p:cNvCxnSpPr/>
          <p:nvPr>
            <p:custDataLst>
              <p:tags r:id="rId12"/>
            </p:custDataLst>
          </p:nvPr>
        </p:nvCxnSpPr>
        <p:spPr bwMode="auto">
          <a:xfrm>
            <a:off x="903750" y="2212434"/>
            <a:ext cx="1312030" cy="6129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</p:cxnSp>
      <p:cxnSp>
        <p:nvCxnSpPr>
          <p:cNvPr id="69" name="Прямая соединительная линия 68"/>
          <p:cNvCxnSpPr/>
          <p:nvPr>
            <p:custDataLst>
              <p:tags r:id="rId13"/>
            </p:custDataLst>
          </p:nvPr>
        </p:nvCxnSpPr>
        <p:spPr bwMode="auto">
          <a:xfrm flipV="1">
            <a:off x="905400" y="2218545"/>
            <a:ext cx="0" cy="9600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</p:cxnSp>
      <p:sp>
        <p:nvSpPr>
          <p:cNvPr id="70" name="Овал 69"/>
          <p:cNvSpPr/>
          <p:nvPr>
            <p:custDataLst>
              <p:tags r:id="rId14"/>
            </p:custDataLst>
          </p:nvPr>
        </p:nvSpPr>
        <p:spPr bwMode="gray">
          <a:xfrm>
            <a:off x="1296339" y="2082019"/>
            <a:ext cx="587375" cy="273051"/>
          </a:xfrm>
          <a:prstGeom prst="ellipse">
            <a:avLst/>
          </a:prstGeom>
          <a:solidFill>
            <a:srgbClr val="00B050"/>
          </a:solidFill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Arial"/>
                <a:sym typeface="Arial"/>
              </a:rPr>
              <a:t>-70%</a:t>
            </a:r>
          </a:p>
        </p:txBody>
      </p:sp>
      <p:sp>
        <p:nvSpPr>
          <p:cNvPr id="71" name="Прямоугольник 70"/>
          <p:cNvSpPr/>
          <p:nvPr>
            <p:custDataLst>
              <p:tags r:id="rId15"/>
            </p:custDataLst>
          </p:nvPr>
        </p:nvSpPr>
        <p:spPr bwMode="auto">
          <a:xfrm>
            <a:off x="1602207" y="2910430"/>
            <a:ext cx="1218814" cy="29478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  <a:tileRect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01.06.2018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Arial"/>
              <a:sym typeface="Arial"/>
            </a:endParaRPr>
          </a:p>
        </p:txBody>
      </p:sp>
      <p:sp>
        <p:nvSpPr>
          <p:cNvPr id="72" name="Прямоугольник 71"/>
          <p:cNvSpPr/>
          <p:nvPr>
            <p:custDataLst>
              <p:tags r:id="rId16"/>
            </p:custDataLst>
          </p:nvPr>
        </p:nvSpPr>
        <p:spPr bwMode="auto">
          <a:xfrm>
            <a:off x="457507" y="2910430"/>
            <a:ext cx="811215" cy="18170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  <a:tileRect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01.01.18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Arial"/>
              <a:sym typeface="Arial"/>
            </a:endParaRPr>
          </a:p>
        </p:txBody>
      </p:sp>
      <p:sp>
        <p:nvSpPr>
          <p:cNvPr id="73" name="Прямоугольник 72"/>
          <p:cNvSpPr/>
          <p:nvPr>
            <p:custDataLst>
              <p:tags r:id="rId17"/>
            </p:custDataLst>
          </p:nvPr>
        </p:nvSpPr>
        <p:spPr bwMode="auto">
          <a:xfrm>
            <a:off x="706106" y="2331750"/>
            <a:ext cx="395288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  <a:tileRect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txBody>
          <a:bodyPr wrap="none" lIns="25400" tIns="0" rIns="25400" bIns="0" rtlCol="0" anchor="b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5,1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  <a:sym typeface="Arial"/>
            </a:endParaRPr>
          </a:p>
        </p:txBody>
      </p:sp>
      <p:cxnSp>
        <p:nvCxnSpPr>
          <p:cNvPr id="74" name="Прямая со стрелкой 73"/>
          <p:cNvCxnSpPr/>
          <p:nvPr>
            <p:custDataLst>
              <p:tags r:id="rId18"/>
            </p:custDataLst>
          </p:nvPr>
        </p:nvCxnSpPr>
        <p:spPr>
          <a:xfrm>
            <a:off x="279343" y="3176226"/>
            <a:ext cx="0" cy="382276"/>
          </a:xfrm>
          <a:prstGeom prst="straightConnector1">
            <a:avLst/>
          </a:prstGeom>
          <a:noFill/>
          <a:ln w="25400" cap="flat" cmpd="sng" algn="ctr">
            <a:solidFill>
              <a:srgbClr val="00B050"/>
            </a:solidFill>
            <a:prstDash val="solid"/>
            <a:tailEnd type="arrow"/>
          </a:ln>
          <a:effectLst/>
        </p:spPr>
      </p:cxnSp>
      <p:graphicFrame>
        <p:nvGraphicFramePr>
          <p:cNvPr id="75" name="Объект 70"/>
          <p:cNvGraphicFramePr>
            <a:graphicFrameLocks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984744515"/>
              </p:ext>
            </p:extLst>
          </p:nvPr>
        </p:nvGraphicFramePr>
        <p:xfrm>
          <a:off x="182574" y="4219346"/>
          <a:ext cx="2803457" cy="7789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4"/>
          </a:graphicData>
        </a:graphic>
      </p:graphicFrame>
      <p:cxnSp>
        <p:nvCxnSpPr>
          <p:cNvPr id="76" name="Прямая соединительная линия 75"/>
          <p:cNvCxnSpPr/>
          <p:nvPr>
            <p:custDataLst>
              <p:tags r:id="rId20"/>
            </p:custDataLst>
          </p:nvPr>
        </p:nvCxnSpPr>
        <p:spPr bwMode="auto">
          <a:xfrm>
            <a:off x="2212241" y="3894440"/>
            <a:ext cx="0" cy="276225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</p:cxnSp>
      <p:sp>
        <p:nvSpPr>
          <p:cNvPr id="77" name="Прямоугольник 76"/>
          <p:cNvSpPr/>
          <p:nvPr>
            <p:custDataLst>
              <p:tags r:id="rId21"/>
            </p:custDataLst>
          </p:nvPr>
        </p:nvSpPr>
        <p:spPr bwMode="auto">
          <a:xfrm>
            <a:off x="1881631" y="4208765"/>
            <a:ext cx="739775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  <a:tileRect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txBody>
          <a:bodyPr wrap="none" lIns="25400" tIns="0" rIns="25400" bIns="0"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7 354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Arial"/>
              <a:sym typeface="Arial"/>
            </a:endParaRPr>
          </a:p>
        </p:txBody>
      </p:sp>
      <p:sp>
        <p:nvSpPr>
          <p:cNvPr id="78" name="Прямоугольник 77"/>
          <p:cNvSpPr/>
          <p:nvPr>
            <p:custDataLst>
              <p:tags r:id="rId22"/>
            </p:custDataLst>
          </p:nvPr>
        </p:nvSpPr>
        <p:spPr bwMode="auto">
          <a:xfrm>
            <a:off x="719856" y="3997441"/>
            <a:ext cx="395288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  <a:tileRect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txBody>
          <a:bodyPr wrap="none" lIns="25400" tIns="0" rIns="25400" bIns="0" rtlCol="0" anchor="b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21 189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Arial"/>
              <a:sym typeface="Arial"/>
            </a:endParaRPr>
          </a:p>
        </p:txBody>
      </p:sp>
      <p:cxnSp>
        <p:nvCxnSpPr>
          <p:cNvPr id="79" name="Прямая соединительная линия 78"/>
          <p:cNvCxnSpPr/>
          <p:nvPr>
            <p:custDataLst>
              <p:tags r:id="rId23"/>
            </p:custDataLst>
          </p:nvPr>
        </p:nvCxnSpPr>
        <p:spPr bwMode="auto">
          <a:xfrm flipV="1">
            <a:off x="925345" y="3894424"/>
            <a:ext cx="1288875" cy="17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</p:cxnSp>
      <p:cxnSp>
        <p:nvCxnSpPr>
          <p:cNvPr id="80" name="Прямая соединительная линия 79"/>
          <p:cNvCxnSpPr/>
          <p:nvPr>
            <p:custDataLst>
              <p:tags r:id="rId24"/>
            </p:custDataLst>
          </p:nvPr>
        </p:nvCxnSpPr>
        <p:spPr bwMode="auto">
          <a:xfrm flipV="1">
            <a:off x="931426" y="3885256"/>
            <a:ext cx="0" cy="9600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</p:cxnSp>
      <p:sp>
        <p:nvSpPr>
          <p:cNvPr id="81" name="Овал 80"/>
          <p:cNvSpPr/>
          <p:nvPr>
            <p:custDataLst>
              <p:tags r:id="rId25"/>
            </p:custDataLst>
          </p:nvPr>
        </p:nvSpPr>
        <p:spPr bwMode="gray">
          <a:xfrm>
            <a:off x="1267764" y="3735690"/>
            <a:ext cx="587375" cy="273051"/>
          </a:xfrm>
          <a:prstGeom prst="ellipse">
            <a:avLst/>
          </a:prstGeom>
          <a:solidFill>
            <a:srgbClr val="00B050"/>
          </a:solidFill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-65%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Arial"/>
              <a:sym typeface="Arial"/>
            </a:endParaRPr>
          </a:p>
        </p:txBody>
      </p:sp>
      <p:sp>
        <p:nvSpPr>
          <p:cNvPr id="82" name="Прямоугольник 81"/>
          <p:cNvSpPr/>
          <p:nvPr>
            <p:custDataLst>
              <p:tags r:id="rId26"/>
            </p:custDataLst>
          </p:nvPr>
        </p:nvSpPr>
        <p:spPr>
          <a:xfrm>
            <a:off x="72574" y="3126454"/>
            <a:ext cx="3059266" cy="472352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354013" defTabSz="914400" eaLnBrk="1" hangingPunct="1"/>
            <a:r>
              <a:rPr lang="ru-RU" sz="140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НЗП в потоке производства на линии №1, </a:t>
            </a:r>
            <a:r>
              <a:rPr lang="ru-RU" sz="1400" i="1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шт.</a:t>
            </a:r>
          </a:p>
        </p:txBody>
      </p:sp>
      <p:sp>
        <p:nvSpPr>
          <p:cNvPr id="83" name="Прямоугольник 82"/>
          <p:cNvSpPr/>
          <p:nvPr>
            <p:custDataLst>
              <p:tags r:id="rId27"/>
            </p:custDataLst>
          </p:nvPr>
        </p:nvSpPr>
        <p:spPr>
          <a:xfrm>
            <a:off x="6367462" y="3122350"/>
            <a:ext cx="3605138" cy="307777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354013" defTabSz="914400" eaLnBrk="1" hangingPunct="1"/>
            <a:r>
              <a:rPr lang="ru-RU" sz="140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Выработка, </a:t>
            </a:r>
            <a:r>
              <a:rPr lang="ru-RU" sz="1400" i="1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шт.</a:t>
            </a:r>
            <a:r>
              <a:rPr lang="en-US" sz="1400" i="1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ru-RU" sz="1400" i="1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в час</a:t>
            </a:r>
          </a:p>
        </p:txBody>
      </p:sp>
      <p:cxnSp>
        <p:nvCxnSpPr>
          <p:cNvPr id="84" name="Прямая со стрелкой 83"/>
          <p:cNvCxnSpPr/>
          <p:nvPr>
            <p:custDataLst>
              <p:tags r:id="rId28"/>
            </p:custDataLst>
          </p:nvPr>
        </p:nvCxnSpPr>
        <p:spPr>
          <a:xfrm flipV="1">
            <a:off x="6574535" y="3118613"/>
            <a:ext cx="0" cy="347480"/>
          </a:xfrm>
          <a:prstGeom prst="straightConnector1">
            <a:avLst/>
          </a:prstGeom>
          <a:noFill/>
          <a:ln w="25400" cap="flat" cmpd="sng" algn="ctr">
            <a:solidFill>
              <a:srgbClr val="00B050"/>
            </a:solidFill>
            <a:prstDash val="solid"/>
            <a:tailEnd type="arrow"/>
          </a:ln>
          <a:effectLst/>
        </p:spPr>
      </p:cxnSp>
      <p:sp>
        <p:nvSpPr>
          <p:cNvPr id="85" name="Прямоугольник 84"/>
          <p:cNvSpPr/>
          <p:nvPr>
            <p:custDataLst>
              <p:tags r:id="rId29"/>
            </p:custDataLst>
          </p:nvPr>
        </p:nvSpPr>
        <p:spPr>
          <a:xfrm>
            <a:off x="6367462" y="1524209"/>
            <a:ext cx="2642383" cy="559439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354013" defTabSz="914400" eaLnBrk="1" hangingPunct="1"/>
            <a:r>
              <a:rPr lang="ru-RU" sz="140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Количество операторов в потоке, </a:t>
            </a:r>
            <a:r>
              <a:rPr lang="ru-RU" sz="1400" i="1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чел.</a:t>
            </a:r>
          </a:p>
        </p:txBody>
      </p:sp>
      <p:cxnSp>
        <p:nvCxnSpPr>
          <p:cNvPr id="86" name="Прямая со стрелкой 85"/>
          <p:cNvCxnSpPr/>
          <p:nvPr>
            <p:custDataLst>
              <p:tags r:id="rId30"/>
            </p:custDataLst>
          </p:nvPr>
        </p:nvCxnSpPr>
        <p:spPr>
          <a:xfrm>
            <a:off x="6604597" y="1536588"/>
            <a:ext cx="0" cy="382276"/>
          </a:xfrm>
          <a:prstGeom prst="straightConnector1">
            <a:avLst/>
          </a:prstGeom>
          <a:noFill/>
          <a:ln w="25400" cap="flat" cmpd="sng" algn="ctr">
            <a:solidFill>
              <a:srgbClr val="00B050"/>
            </a:solidFill>
            <a:prstDash val="solid"/>
            <a:tailEnd type="arrow"/>
          </a:ln>
          <a:effectLst/>
        </p:spPr>
      </p:cxnSp>
      <p:graphicFrame>
        <p:nvGraphicFramePr>
          <p:cNvPr id="87" name="Объект 80"/>
          <p:cNvGraphicFramePr>
            <a:graphicFrameLocks/>
          </p:cNvGraphicFramePr>
          <p:nvPr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4118392696"/>
              </p:ext>
            </p:extLst>
          </p:nvPr>
        </p:nvGraphicFramePr>
        <p:xfrm>
          <a:off x="6538921" y="2319474"/>
          <a:ext cx="2605080" cy="7789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5"/>
          </a:graphicData>
        </a:graphic>
      </p:graphicFrame>
      <p:cxnSp>
        <p:nvCxnSpPr>
          <p:cNvPr id="88" name="Прямая соединительная линия 87"/>
          <p:cNvCxnSpPr/>
          <p:nvPr>
            <p:custDataLst>
              <p:tags r:id="rId32"/>
            </p:custDataLst>
          </p:nvPr>
        </p:nvCxnSpPr>
        <p:spPr bwMode="auto">
          <a:xfrm>
            <a:off x="8566443" y="2149474"/>
            <a:ext cx="0" cy="24000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</p:cxnSp>
      <p:cxnSp>
        <p:nvCxnSpPr>
          <p:cNvPr id="89" name="Прямая соединительная линия 88"/>
          <p:cNvCxnSpPr/>
          <p:nvPr>
            <p:custDataLst>
              <p:tags r:id="rId33"/>
            </p:custDataLst>
          </p:nvPr>
        </p:nvCxnSpPr>
        <p:spPr bwMode="auto">
          <a:xfrm>
            <a:off x="7234243" y="2149474"/>
            <a:ext cx="1332000" cy="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</p:cxnSp>
      <p:cxnSp>
        <p:nvCxnSpPr>
          <p:cNvPr id="90" name="Прямая соединительная линия 89"/>
          <p:cNvCxnSpPr/>
          <p:nvPr>
            <p:custDataLst>
              <p:tags r:id="rId34"/>
            </p:custDataLst>
          </p:nvPr>
        </p:nvCxnSpPr>
        <p:spPr bwMode="auto">
          <a:xfrm flipV="1">
            <a:off x="7241118" y="2158641"/>
            <a:ext cx="0" cy="9600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</p:cxnSp>
      <p:sp>
        <p:nvSpPr>
          <p:cNvPr id="91" name="Овал 90"/>
          <p:cNvSpPr/>
          <p:nvPr>
            <p:custDataLst>
              <p:tags r:id="rId35"/>
            </p:custDataLst>
          </p:nvPr>
        </p:nvSpPr>
        <p:spPr bwMode="gray">
          <a:xfrm>
            <a:off x="7645483" y="2012949"/>
            <a:ext cx="587375" cy="273051"/>
          </a:xfrm>
          <a:prstGeom prst="ellipse">
            <a:avLst/>
          </a:prstGeom>
          <a:solidFill>
            <a:srgbClr val="00B050"/>
          </a:solidFill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-2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8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%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Arial"/>
              <a:sym typeface="Arial"/>
            </a:endParaRPr>
          </a:p>
        </p:txBody>
      </p:sp>
      <p:sp>
        <p:nvSpPr>
          <p:cNvPr id="92" name="Прямоугольник 91"/>
          <p:cNvSpPr/>
          <p:nvPr>
            <p:custDataLst>
              <p:tags r:id="rId36"/>
            </p:custDataLst>
          </p:nvPr>
        </p:nvSpPr>
        <p:spPr bwMode="auto">
          <a:xfrm>
            <a:off x="7057238" y="2306412"/>
            <a:ext cx="395288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  <a:tileRect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txBody>
          <a:bodyPr wrap="none" lIns="25400" tIns="0" rIns="25400" bIns="0" rtlCol="0" anchor="b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5,5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Arial"/>
              <a:sym typeface="Arial"/>
            </a:endParaRPr>
          </a:p>
        </p:txBody>
      </p:sp>
      <p:graphicFrame>
        <p:nvGraphicFramePr>
          <p:cNvPr id="93" name="Объект 98"/>
          <p:cNvGraphicFramePr>
            <a:graphicFrameLocks/>
          </p:cNvGraphicFramePr>
          <p:nvPr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1762179649"/>
              </p:ext>
            </p:extLst>
          </p:nvPr>
        </p:nvGraphicFramePr>
        <p:xfrm>
          <a:off x="6528975" y="4147721"/>
          <a:ext cx="2615026" cy="7789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6"/>
          </a:graphicData>
        </a:graphic>
      </p:graphicFrame>
      <p:cxnSp>
        <p:nvCxnSpPr>
          <p:cNvPr id="94" name="Прямая соединительная линия 93"/>
          <p:cNvCxnSpPr/>
          <p:nvPr>
            <p:custDataLst>
              <p:tags r:id="rId38"/>
            </p:custDataLst>
          </p:nvPr>
        </p:nvCxnSpPr>
        <p:spPr bwMode="auto">
          <a:xfrm>
            <a:off x="8566636" y="3770786"/>
            <a:ext cx="0" cy="24000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</p:cxnSp>
      <p:sp>
        <p:nvSpPr>
          <p:cNvPr id="95" name="Прямоугольник 94"/>
          <p:cNvSpPr/>
          <p:nvPr>
            <p:custDataLst>
              <p:tags r:id="rId39"/>
            </p:custDataLst>
          </p:nvPr>
        </p:nvSpPr>
        <p:spPr bwMode="auto">
          <a:xfrm>
            <a:off x="6809770" y="4004340"/>
            <a:ext cx="838200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  <a:tileRect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txBody>
          <a:bodyPr wrap="none" lIns="25400" tIns="0" rIns="25400" bIns="0" rtlCol="0" anchor="b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3 733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Arial"/>
              <a:sym typeface="Arial"/>
            </a:endParaRPr>
          </a:p>
        </p:txBody>
      </p:sp>
      <p:cxnSp>
        <p:nvCxnSpPr>
          <p:cNvPr id="96" name="Прямая соединительная линия 95"/>
          <p:cNvCxnSpPr/>
          <p:nvPr>
            <p:custDataLst>
              <p:tags r:id="rId40"/>
            </p:custDataLst>
          </p:nvPr>
        </p:nvCxnSpPr>
        <p:spPr bwMode="auto">
          <a:xfrm>
            <a:off x="7228870" y="3770787"/>
            <a:ext cx="1332000" cy="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</p:cxnSp>
      <p:cxnSp>
        <p:nvCxnSpPr>
          <p:cNvPr id="97" name="Прямая соединительная линия 96"/>
          <p:cNvCxnSpPr/>
          <p:nvPr>
            <p:custDataLst>
              <p:tags r:id="rId41"/>
            </p:custDataLst>
          </p:nvPr>
        </p:nvCxnSpPr>
        <p:spPr bwMode="auto">
          <a:xfrm flipV="1">
            <a:off x="7235745" y="3779954"/>
            <a:ext cx="0" cy="9600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</p:cxnSp>
      <p:sp>
        <p:nvSpPr>
          <p:cNvPr id="98" name="Прямоугольник 97"/>
          <p:cNvSpPr/>
          <p:nvPr>
            <p:custDataLst>
              <p:tags r:id="rId42"/>
            </p:custDataLst>
          </p:nvPr>
        </p:nvSpPr>
        <p:spPr bwMode="auto">
          <a:xfrm>
            <a:off x="8071650" y="3983500"/>
            <a:ext cx="838200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  <a:tileRect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txBody>
          <a:bodyPr wrap="none" lIns="25400" tIns="0" rIns="25400" bIns="0"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4 900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Arial"/>
              <a:sym typeface="Arial"/>
            </a:endParaRPr>
          </a:p>
        </p:txBody>
      </p:sp>
      <p:sp>
        <p:nvSpPr>
          <p:cNvPr id="99" name="Овал 98"/>
          <p:cNvSpPr/>
          <p:nvPr>
            <p:custDataLst>
              <p:tags r:id="rId43"/>
            </p:custDataLst>
          </p:nvPr>
        </p:nvSpPr>
        <p:spPr bwMode="gray">
          <a:xfrm>
            <a:off x="7606058" y="3634247"/>
            <a:ext cx="649288" cy="273051"/>
          </a:xfrm>
          <a:prstGeom prst="ellipse">
            <a:avLst/>
          </a:prstGeom>
          <a:solidFill>
            <a:srgbClr val="00B050"/>
          </a:solidFill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+31%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Arial"/>
              <a:sym typeface="Arial"/>
            </a:endParaRPr>
          </a:p>
        </p:txBody>
      </p:sp>
      <p:sp>
        <p:nvSpPr>
          <p:cNvPr id="100" name="Прямоугольник 99"/>
          <p:cNvSpPr/>
          <p:nvPr>
            <p:custDataLst>
              <p:tags r:id="rId44"/>
            </p:custDataLst>
          </p:nvPr>
        </p:nvSpPr>
        <p:spPr bwMode="auto">
          <a:xfrm>
            <a:off x="1602206" y="4573000"/>
            <a:ext cx="1385617" cy="28821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  <a:tileRect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01.06.2018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Arial"/>
              <a:sym typeface="Arial"/>
            </a:endParaRPr>
          </a:p>
        </p:txBody>
      </p:sp>
      <p:sp>
        <p:nvSpPr>
          <p:cNvPr id="101" name="Прямоугольник 100"/>
          <p:cNvSpPr/>
          <p:nvPr>
            <p:custDataLst>
              <p:tags r:id="rId45"/>
            </p:custDataLst>
          </p:nvPr>
        </p:nvSpPr>
        <p:spPr bwMode="auto">
          <a:xfrm>
            <a:off x="431627" y="4573000"/>
            <a:ext cx="922236" cy="17765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  <a:tileRect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01.01.18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Arial"/>
              <a:sym typeface="Arial"/>
            </a:endParaRPr>
          </a:p>
        </p:txBody>
      </p:sp>
      <p:sp>
        <p:nvSpPr>
          <p:cNvPr id="102" name="Прямоугольник 101"/>
          <p:cNvSpPr/>
          <p:nvPr>
            <p:custDataLst>
              <p:tags r:id="rId46"/>
            </p:custDataLst>
          </p:nvPr>
        </p:nvSpPr>
        <p:spPr bwMode="auto">
          <a:xfrm>
            <a:off x="7879408" y="2892994"/>
            <a:ext cx="1271273" cy="28821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  <a:tileRect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01.06.2018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Arial"/>
              <a:sym typeface="Arial"/>
            </a:endParaRPr>
          </a:p>
        </p:txBody>
      </p:sp>
      <p:sp>
        <p:nvSpPr>
          <p:cNvPr id="103" name="Прямоугольник 102"/>
          <p:cNvSpPr/>
          <p:nvPr>
            <p:custDataLst>
              <p:tags r:id="rId47"/>
            </p:custDataLst>
          </p:nvPr>
        </p:nvSpPr>
        <p:spPr bwMode="auto">
          <a:xfrm>
            <a:off x="6753909" y="2892994"/>
            <a:ext cx="846132" cy="17765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  <a:tileRect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01.01.18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Arial"/>
              <a:sym typeface="Arial"/>
            </a:endParaRPr>
          </a:p>
        </p:txBody>
      </p:sp>
      <p:sp>
        <p:nvSpPr>
          <p:cNvPr id="104" name="Прямоугольник 103"/>
          <p:cNvSpPr/>
          <p:nvPr>
            <p:custDataLst>
              <p:tags r:id="rId48"/>
            </p:custDataLst>
          </p:nvPr>
        </p:nvSpPr>
        <p:spPr bwMode="auto">
          <a:xfrm>
            <a:off x="7859952" y="4517721"/>
            <a:ext cx="1368553" cy="28821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  <a:tileRect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01.06.2018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Arial"/>
              <a:sym typeface="Arial"/>
            </a:endParaRPr>
          </a:p>
        </p:txBody>
      </p:sp>
      <p:sp>
        <p:nvSpPr>
          <p:cNvPr id="105" name="Прямоугольник 104"/>
          <p:cNvSpPr/>
          <p:nvPr>
            <p:custDataLst>
              <p:tags r:id="rId49"/>
            </p:custDataLst>
          </p:nvPr>
        </p:nvSpPr>
        <p:spPr bwMode="auto">
          <a:xfrm>
            <a:off x="6734585" y="4517721"/>
            <a:ext cx="910878" cy="17765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  <a:tileRect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01.01.18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Arial"/>
              <a:sym typeface="Arial"/>
            </a:endParaRPr>
          </a:p>
        </p:txBody>
      </p:sp>
      <p:sp>
        <p:nvSpPr>
          <p:cNvPr id="106" name="Равнобедренный треугольник 105"/>
          <p:cNvSpPr/>
          <p:nvPr/>
        </p:nvSpPr>
        <p:spPr>
          <a:xfrm rot="5400000">
            <a:off x="1546894" y="3061216"/>
            <a:ext cx="3312000" cy="288000"/>
          </a:xfrm>
          <a:prstGeom prst="triangle">
            <a:avLst/>
          </a:prstGeom>
          <a:solidFill>
            <a:srgbClr val="1E86C8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07" name="Равнобедренный треугольник 106"/>
          <p:cNvSpPr/>
          <p:nvPr/>
        </p:nvSpPr>
        <p:spPr>
          <a:xfrm rot="5400000" flipV="1">
            <a:off x="4644176" y="3061216"/>
            <a:ext cx="3312000" cy="288000"/>
          </a:xfrm>
          <a:prstGeom prst="triangle">
            <a:avLst/>
          </a:prstGeom>
          <a:solidFill>
            <a:srgbClr val="1E86C8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07599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03515" y="12924"/>
            <a:ext cx="8678387" cy="8534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2000" b="1" dirty="0"/>
              <a:t>Задачи ФЦК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2037141" y="815417"/>
            <a:ext cx="4986218" cy="3466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lIns="68415" tIns="34208" rIns="68415" bIns="34208" rtlCol="0" anchor="ctr"/>
          <a:lstStyle/>
          <a:p>
            <a:pPr algn="ctr" defTabSz="95781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kern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Федеральный центр компетенций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425508" y="1258471"/>
            <a:ext cx="3924652" cy="34312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lIns="68415" tIns="34208" rIns="68415" bIns="34208" rtlCol="0" anchor="t" anchorCtr="0"/>
          <a:lstStyle/>
          <a:p>
            <a:pPr algn="ctr" defTabSz="95781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00" b="1" kern="0" dirty="0">
              <a:solidFill>
                <a:srgbClr val="1F497D"/>
              </a:solidFill>
              <a:latin typeface="+mj-lt"/>
              <a:cs typeface="Arial" panose="020B0604020202020204" pitchFamily="34" charset="0"/>
            </a:endParaRPr>
          </a:p>
        </p:txBody>
      </p:sp>
      <p:grpSp>
        <p:nvGrpSpPr>
          <p:cNvPr id="33" name="Группа 32"/>
          <p:cNvGrpSpPr/>
          <p:nvPr/>
        </p:nvGrpSpPr>
        <p:grpSpPr>
          <a:xfrm>
            <a:off x="525157" y="1851640"/>
            <a:ext cx="8368780" cy="2722929"/>
            <a:chOff x="602970" y="2481808"/>
            <a:chExt cx="8368780" cy="3630572"/>
          </a:xfrm>
        </p:grpSpPr>
        <p:sp>
          <p:nvSpPr>
            <p:cNvPr id="34" name="Прямоугольник 33"/>
            <p:cNvSpPr/>
            <p:nvPr/>
          </p:nvSpPr>
          <p:spPr>
            <a:xfrm>
              <a:off x="4631880" y="2481808"/>
              <a:ext cx="2160000" cy="3600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68415" tIns="34208" rIns="68415" bIns="34208" rtlCol="0" anchor="t" anchorCtr="0"/>
            <a:lstStyle/>
            <a:p>
              <a:pPr defTabSz="95781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kern="0" dirty="0">
                  <a:solidFill>
                    <a:srgbClr val="000000"/>
                  </a:solidFill>
                  <a:latin typeface="+mj-lt"/>
                  <a:cs typeface="Arial" panose="020B0604020202020204" pitchFamily="34" charset="0"/>
                </a:rPr>
                <a:t>Экспертиза и выработка решений в области:</a:t>
              </a:r>
            </a:p>
            <a:p>
              <a:pPr marL="266700" defTabSz="95781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kern="0" dirty="0">
                  <a:solidFill>
                    <a:srgbClr val="000000"/>
                  </a:solidFill>
                  <a:latin typeface="+mj-lt"/>
                  <a:cs typeface="Arial" panose="020B0604020202020204" pitchFamily="34" charset="0"/>
                </a:rPr>
                <a:t>Оптимизации производственных процессов (потоков)</a:t>
              </a:r>
            </a:p>
            <a:p>
              <a:pPr marL="266700" defTabSz="95781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kern="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endParaRPr>
            </a:p>
            <a:p>
              <a:pPr marL="266700" defTabSz="95781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kern="0" dirty="0">
                  <a:solidFill>
                    <a:srgbClr val="000000"/>
                  </a:solidFill>
                  <a:latin typeface="+mj-lt"/>
                  <a:cs typeface="Arial" panose="020B0604020202020204" pitchFamily="34" charset="0"/>
                </a:rPr>
                <a:t>Оптимизации офисных процессов</a:t>
              </a:r>
            </a:p>
            <a:p>
              <a:pPr marL="266700" defTabSz="95781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kern="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endParaRPr>
            </a:p>
            <a:p>
              <a:pPr marL="266700" defTabSz="95781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kern="0" dirty="0">
                  <a:solidFill>
                    <a:srgbClr val="000000"/>
                  </a:solidFill>
                  <a:latin typeface="+mj-lt"/>
                  <a:cs typeface="Arial" panose="020B0604020202020204" pitchFamily="34" charset="0"/>
                </a:rPr>
                <a:t>Организации инфраструктуры</a:t>
              </a:r>
            </a:p>
            <a:p>
              <a:pPr marL="256558" indent="-256558" defTabSz="957816" eaLnBrk="1" fontAlgn="auto" hangingPunct="1">
                <a:spcBef>
                  <a:spcPts val="0"/>
                </a:spcBef>
                <a:spcAft>
                  <a:spcPts val="0"/>
                </a:spcAft>
                <a:buFontTx/>
                <a:buChar char="-"/>
                <a:defRPr/>
              </a:pPr>
              <a:endParaRPr lang="ru-RU" sz="1200" kern="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6811750" y="2481808"/>
              <a:ext cx="2160000" cy="3600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68415" tIns="34208" rIns="68415" bIns="34208" rtlCol="0" anchor="t" anchorCtr="0"/>
            <a:lstStyle/>
            <a:p>
              <a:pPr defTabSz="95781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kern="0" dirty="0">
                  <a:solidFill>
                    <a:srgbClr val="000000"/>
                  </a:solidFill>
                  <a:latin typeface="+mj-lt"/>
                  <a:cs typeface="Arial" panose="020B0604020202020204" pitchFamily="34" charset="0"/>
                </a:rPr>
                <a:t>Обучение и развитие персонала:</a:t>
              </a:r>
            </a:p>
            <a:p>
              <a:pPr marL="266700" indent="4763" defTabSz="95781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kern="0" dirty="0">
                  <a:solidFill>
                    <a:srgbClr val="000000"/>
                  </a:solidFill>
                  <a:latin typeface="+mj-lt"/>
                  <a:cs typeface="Arial" panose="020B0604020202020204" pitchFamily="34" charset="0"/>
                </a:rPr>
                <a:t>Фабрика процессов</a:t>
              </a:r>
            </a:p>
            <a:p>
              <a:pPr marL="266700" indent="-85725" defTabSz="95781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kern="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endParaRPr>
            </a:p>
            <a:p>
              <a:pPr marL="266700" defTabSz="95781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kern="0" dirty="0">
                  <a:solidFill>
                    <a:srgbClr val="000000"/>
                  </a:solidFill>
                  <a:latin typeface="+mj-lt"/>
                  <a:cs typeface="Arial" panose="020B0604020202020204" pitchFamily="34" charset="0"/>
                </a:rPr>
                <a:t>«Площадочное» обучение</a:t>
              </a:r>
            </a:p>
            <a:p>
              <a:pPr marL="266700" defTabSz="95781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kern="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endParaRPr>
            </a:p>
            <a:p>
              <a:pPr marL="266700" defTabSz="95781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kern="0" dirty="0">
                  <a:solidFill>
                    <a:srgbClr val="000000"/>
                  </a:solidFill>
                  <a:latin typeface="+mj-lt"/>
                  <a:cs typeface="Arial" panose="020B0604020202020204" pitchFamily="34" charset="0"/>
                </a:rPr>
                <a:t>Инструменты Бережливого производства</a:t>
              </a:r>
            </a:p>
            <a:p>
              <a:pPr marL="266700" defTabSz="95781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kern="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endParaRPr>
            </a:p>
            <a:p>
              <a:pPr marL="266700" defTabSz="95781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kern="0" dirty="0">
                  <a:solidFill>
                    <a:srgbClr val="000000"/>
                  </a:solidFill>
                  <a:latin typeface="+mj-lt"/>
                  <a:cs typeface="Arial" panose="020B0604020202020204" pitchFamily="34" charset="0"/>
                </a:rPr>
                <a:t>Развитие лидерских компетенции</a:t>
              </a:r>
            </a:p>
            <a:p>
              <a:pPr marL="266700" defTabSz="95781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kern="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endParaRPr>
            </a:p>
            <a:p>
              <a:pPr marL="266700" defTabSz="95781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kern="0" dirty="0">
                  <a:solidFill>
                    <a:srgbClr val="000000"/>
                  </a:solidFill>
                  <a:latin typeface="+mj-lt"/>
                  <a:cs typeface="Arial" panose="020B0604020202020204" pitchFamily="34" charset="0"/>
                </a:rPr>
                <a:t>Интерактивное обучение</a:t>
              </a: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602970" y="2511980"/>
              <a:ext cx="1829171" cy="3600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68415" tIns="34208" rIns="68415" bIns="34208" rtlCol="0" anchor="t" anchorCtr="0"/>
            <a:lstStyle/>
            <a:p>
              <a:pPr defTabSz="95781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kern="0" dirty="0">
                  <a:solidFill>
                    <a:srgbClr val="000000"/>
                  </a:solidFill>
                  <a:latin typeface="+mj-lt"/>
                  <a:cs typeface="Arial" panose="020B0604020202020204" pitchFamily="34" charset="0"/>
                </a:rPr>
                <a:t>Участие в планировании проекта и контроль его реализации</a:t>
              </a:r>
            </a:p>
            <a:p>
              <a:pPr defTabSz="95781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kern="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endParaRPr>
            </a:p>
            <a:p>
              <a:pPr defTabSz="95781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kern="0" dirty="0">
                  <a:solidFill>
                    <a:srgbClr val="000000"/>
                  </a:solidFill>
                  <a:latin typeface="+mj-lt"/>
                  <a:cs typeface="Arial" panose="020B0604020202020204" pitchFamily="34" charset="0"/>
                </a:rPr>
                <a:t>Отбор предприятий-участников</a:t>
              </a:r>
            </a:p>
            <a:p>
              <a:pPr defTabSz="95781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kern="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endParaRPr>
            </a:p>
            <a:p>
              <a:pPr defTabSz="95781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kern="0" dirty="0">
                  <a:solidFill>
                    <a:srgbClr val="000000"/>
                  </a:solidFill>
                  <a:latin typeface="+mj-lt"/>
                  <a:cs typeface="Arial" panose="020B0604020202020204" pitchFamily="34" charset="0"/>
                </a:rPr>
                <a:t>Представительство проекта в органах власти, общественных организациях и бизнес-секторе</a:t>
              </a:r>
            </a:p>
            <a:p>
              <a:pPr defTabSz="95781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kern="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2552701" y="2510383"/>
              <a:ext cx="2001254" cy="3600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68415" tIns="34208" rIns="68415" bIns="34208" rtlCol="0" anchor="t" anchorCtr="0"/>
            <a:lstStyle/>
            <a:p>
              <a:pPr marL="87313" defTabSz="95781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kern="0" dirty="0">
                  <a:solidFill>
                    <a:srgbClr val="000000"/>
                  </a:solidFill>
                  <a:latin typeface="+mj-lt"/>
                  <a:cs typeface="Arial" panose="020B0604020202020204" pitchFamily="34" charset="0"/>
                </a:rPr>
                <a:t>Сбор, разработка и распространение:</a:t>
              </a:r>
            </a:p>
            <a:p>
              <a:pPr marL="560388" indent="-285750" defTabSz="957816" eaLnBrk="1" fontAlgn="auto" hangingPunct="1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200" kern="0" dirty="0">
                  <a:solidFill>
                    <a:srgbClr val="000000"/>
                  </a:solidFill>
                  <a:latin typeface="+mj-lt"/>
                  <a:cs typeface="Arial" panose="020B0604020202020204" pitchFamily="34" charset="0"/>
                </a:rPr>
                <a:t>Лучших практик</a:t>
              </a:r>
            </a:p>
            <a:p>
              <a:pPr marL="560388" indent="-285750" defTabSz="957816" eaLnBrk="1" fontAlgn="auto" hangingPunct="1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200" kern="0" dirty="0">
                  <a:solidFill>
                    <a:srgbClr val="000000"/>
                  </a:solidFill>
                  <a:latin typeface="+mj-lt"/>
                  <a:cs typeface="Arial" panose="020B0604020202020204" pitchFamily="34" charset="0"/>
                </a:rPr>
                <a:t>Методических материалов</a:t>
              </a:r>
            </a:p>
            <a:p>
              <a:pPr marL="560388" indent="-285750" defTabSz="957816" eaLnBrk="1" fontAlgn="auto" hangingPunct="1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Char char="§"/>
                <a:defRPr/>
              </a:pPr>
              <a:endParaRPr lang="ru-RU" sz="1200" kern="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endParaRPr>
            </a:p>
            <a:p>
              <a:pPr marL="87313" defTabSz="95781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kern="0" dirty="0">
                  <a:solidFill>
                    <a:srgbClr val="000000"/>
                  </a:solidFill>
                  <a:latin typeface="+mj-lt"/>
                  <a:cs typeface="Arial" panose="020B0604020202020204" pitchFamily="34" charset="0"/>
                </a:rPr>
                <a:t>Формирование системы обмена опытом</a:t>
              </a:r>
            </a:p>
            <a:p>
              <a:pPr marL="87313" defTabSz="95781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kern="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endParaRPr>
            </a:p>
            <a:p>
              <a:pPr marL="87313" defTabSz="95781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kern="0" dirty="0">
                  <a:solidFill>
                    <a:srgbClr val="000000"/>
                  </a:solidFill>
                  <a:latin typeface="+mj-lt"/>
                  <a:cs typeface="Arial" panose="020B0604020202020204" pitchFamily="34" charset="0"/>
                </a:rPr>
                <a:t>Оценка соответствия предприятий критериям выделения льготного финансирования</a:t>
              </a:r>
            </a:p>
          </p:txBody>
        </p:sp>
      </p:grpSp>
      <p:sp>
        <p:nvSpPr>
          <p:cNvPr id="38" name="Прямоугольник 37"/>
          <p:cNvSpPr/>
          <p:nvPr/>
        </p:nvSpPr>
        <p:spPr>
          <a:xfrm>
            <a:off x="223738" y="1258471"/>
            <a:ext cx="8718839" cy="34312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lIns="68415" tIns="34208" rIns="68415" bIns="34208" rtlCol="0" anchor="t" anchorCtr="0"/>
          <a:lstStyle/>
          <a:p>
            <a:pPr algn="ctr" defTabSz="95781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kern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Ответственный за реализацию мероприятий на конкретных предприятиях</a:t>
            </a:r>
          </a:p>
        </p:txBody>
      </p:sp>
      <p:cxnSp>
        <p:nvCxnSpPr>
          <p:cNvPr id="39" name="Прямая соединительная линия 38"/>
          <p:cNvCxnSpPr/>
          <p:nvPr/>
        </p:nvCxnSpPr>
        <p:spPr>
          <a:xfrm>
            <a:off x="671781" y="1162056"/>
            <a:ext cx="7828338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/>
        </p:spPr>
      </p:cxnSp>
      <p:cxnSp>
        <p:nvCxnSpPr>
          <p:cNvPr id="40" name="Прямая соединительная линия 39"/>
          <p:cNvCxnSpPr>
            <a:endCxn id="43" idx="4"/>
          </p:cNvCxnSpPr>
          <p:nvPr/>
        </p:nvCxnSpPr>
        <p:spPr>
          <a:xfrm>
            <a:off x="416394" y="1947902"/>
            <a:ext cx="0" cy="1505426"/>
          </a:xfrm>
          <a:prstGeom prst="line">
            <a:avLst/>
          </a:prstGeom>
          <a:noFill/>
          <a:ln w="25400" cap="flat" cmpd="sng" algn="ctr">
            <a:solidFill>
              <a:srgbClr val="0070C0"/>
            </a:solidFill>
            <a:prstDash val="solid"/>
          </a:ln>
          <a:effectLst/>
        </p:spPr>
      </p:cxnSp>
      <p:sp>
        <p:nvSpPr>
          <p:cNvPr id="41" name="Овал 40"/>
          <p:cNvSpPr/>
          <p:nvPr/>
        </p:nvSpPr>
        <p:spPr>
          <a:xfrm>
            <a:off x="349318" y="1923963"/>
            <a:ext cx="134152" cy="100614"/>
          </a:xfrm>
          <a:prstGeom prst="ellipse">
            <a:avLst/>
          </a:prstGeom>
          <a:solidFill>
            <a:srgbClr val="0070C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2" name="Овал 41"/>
          <p:cNvSpPr/>
          <p:nvPr/>
        </p:nvSpPr>
        <p:spPr>
          <a:xfrm>
            <a:off x="349318" y="2851433"/>
            <a:ext cx="134152" cy="100614"/>
          </a:xfrm>
          <a:prstGeom prst="ellipse">
            <a:avLst/>
          </a:prstGeom>
          <a:solidFill>
            <a:srgbClr val="0070C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3" name="Овал 42"/>
          <p:cNvSpPr/>
          <p:nvPr/>
        </p:nvSpPr>
        <p:spPr>
          <a:xfrm>
            <a:off x="349318" y="3352713"/>
            <a:ext cx="134152" cy="100614"/>
          </a:xfrm>
          <a:prstGeom prst="ellipse">
            <a:avLst/>
          </a:prstGeom>
          <a:solidFill>
            <a:srgbClr val="0070C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cxnSp>
        <p:nvCxnSpPr>
          <p:cNvPr id="44" name="Прямая соединительная линия 43"/>
          <p:cNvCxnSpPr/>
          <p:nvPr/>
        </p:nvCxnSpPr>
        <p:spPr>
          <a:xfrm>
            <a:off x="2474877" y="1947901"/>
            <a:ext cx="0" cy="1792840"/>
          </a:xfrm>
          <a:prstGeom prst="line">
            <a:avLst/>
          </a:prstGeom>
          <a:noFill/>
          <a:ln w="25400" cap="flat" cmpd="sng" algn="ctr">
            <a:solidFill>
              <a:srgbClr val="0070C0"/>
            </a:solidFill>
            <a:prstDash val="solid"/>
          </a:ln>
          <a:effectLst/>
        </p:spPr>
      </p:cxnSp>
      <p:sp>
        <p:nvSpPr>
          <p:cNvPr id="45" name="Овал 44"/>
          <p:cNvSpPr/>
          <p:nvPr/>
        </p:nvSpPr>
        <p:spPr>
          <a:xfrm>
            <a:off x="2407801" y="1923963"/>
            <a:ext cx="134152" cy="100614"/>
          </a:xfrm>
          <a:prstGeom prst="ellipse">
            <a:avLst/>
          </a:prstGeom>
          <a:solidFill>
            <a:srgbClr val="0070C0"/>
          </a:solidFill>
          <a:ln w="9525" cap="flat" cmpd="sng" algn="ctr">
            <a:solidFill>
              <a:srgbClr val="0070C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6" name="Овал 45"/>
          <p:cNvSpPr/>
          <p:nvPr/>
        </p:nvSpPr>
        <p:spPr>
          <a:xfrm>
            <a:off x="2407801" y="3045833"/>
            <a:ext cx="134152" cy="100614"/>
          </a:xfrm>
          <a:prstGeom prst="ellipse">
            <a:avLst/>
          </a:prstGeom>
          <a:solidFill>
            <a:srgbClr val="0070C0"/>
          </a:solidFill>
          <a:ln w="9525" cap="flat" cmpd="sng" algn="ctr">
            <a:solidFill>
              <a:srgbClr val="0070C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7" name="Овал 46"/>
          <p:cNvSpPr/>
          <p:nvPr/>
        </p:nvSpPr>
        <p:spPr>
          <a:xfrm>
            <a:off x="2407801" y="3690434"/>
            <a:ext cx="134152" cy="100614"/>
          </a:xfrm>
          <a:prstGeom prst="ellipse">
            <a:avLst/>
          </a:prstGeom>
          <a:solidFill>
            <a:srgbClr val="0070C0"/>
          </a:solidFill>
          <a:ln w="9525" cap="flat" cmpd="sng" algn="ctr">
            <a:solidFill>
              <a:srgbClr val="0070C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cxnSp>
        <p:nvCxnSpPr>
          <p:cNvPr id="48" name="Прямая соединительная линия 47"/>
          <p:cNvCxnSpPr/>
          <p:nvPr/>
        </p:nvCxnSpPr>
        <p:spPr>
          <a:xfrm>
            <a:off x="4722777" y="2397958"/>
            <a:ext cx="0" cy="1164190"/>
          </a:xfrm>
          <a:prstGeom prst="line">
            <a:avLst/>
          </a:prstGeom>
          <a:noFill/>
          <a:ln w="25400" cap="flat" cmpd="sng" algn="ctr">
            <a:solidFill>
              <a:srgbClr val="0070C0"/>
            </a:solidFill>
            <a:prstDash val="solid"/>
          </a:ln>
          <a:effectLst/>
        </p:spPr>
      </p:cxnSp>
      <p:sp>
        <p:nvSpPr>
          <p:cNvPr id="49" name="Овал 48"/>
          <p:cNvSpPr/>
          <p:nvPr/>
        </p:nvSpPr>
        <p:spPr>
          <a:xfrm>
            <a:off x="4655701" y="2374022"/>
            <a:ext cx="134152" cy="100614"/>
          </a:xfrm>
          <a:prstGeom prst="ellipse">
            <a:avLst/>
          </a:prstGeom>
          <a:solidFill>
            <a:srgbClr val="0070C0"/>
          </a:solidFill>
          <a:ln w="9525" cap="flat" cmpd="sng" algn="ctr">
            <a:solidFill>
              <a:srgbClr val="0070C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0" name="Овал 49"/>
          <p:cNvSpPr/>
          <p:nvPr/>
        </p:nvSpPr>
        <p:spPr>
          <a:xfrm>
            <a:off x="4655701" y="3045833"/>
            <a:ext cx="134152" cy="100614"/>
          </a:xfrm>
          <a:prstGeom prst="ellipse">
            <a:avLst/>
          </a:prstGeom>
          <a:solidFill>
            <a:srgbClr val="0070C0"/>
          </a:solidFill>
          <a:ln w="9525" cap="flat" cmpd="sng" algn="ctr">
            <a:solidFill>
              <a:srgbClr val="0070C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1" name="Овал 50"/>
          <p:cNvSpPr/>
          <p:nvPr/>
        </p:nvSpPr>
        <p:spPr>
          <a:xfrm>
            <a:off x="4655701" y="3511840"/>
            <a:ext cx="134152" cy="100614"/>
          </a:xfrm>
          <a:prstGeom prst="ellipse">
            <a:avLst/>
          </a:prstGeom>
          <a:solidFill>
            <a:srgbClr val="0070C0"/>
          </a:solidFill>
          <a:ln w="9525" cap="flat" cmpd="sng" algn="ctr">
            <a:solidFill>
              <a:srgbClr val="0070C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cxnSp>
        <p:nvCxnSpPr>
          <p:cNvPr id="52" name="Прямая соединительная линия 51"/>
          <p:cNvCxnSpPr>
            <a:endCxn id="57" idx="0"/>
          </p:cNvCxnSpPr>
          <p:nvPr/>
        </p:nvCxnSpPr>
        <p:spPr>
          <a:xfrm>
            <a:off x="6865902" y="2262236"/>
            <a:ext cx="0" cy="2211719"/>
          </a:xfrm>
          <a:prstGeom prst="line">
            <a:avLst/>
          </a:prstGeom>
          <a:noFill/>
          <a:ln w="25400" cap="flat" cmpd="sng" algn="ctr">
            <a:solidFill>
              <a:srgbClr val="0070C0"/>
            </a:solidFill>
            <a:prstDash val="solid"/>
          </a:ln>
          <a:effectLst/>
        </p:spPr>
      </p:cxnSp>
      <p:sp>
        <p:nvSpPr>
          <p:cNvPr id="53" name="Овал 52"/>
          <p:cNvSpPr/>
          <p:nvPr/>
        </p:nvSpPr>
        <p:spPr>
          <a:xfrm>
            <a:off x="6798826" y="2238288"/>
            <a:ext cx="134152" cy="100614"/>
          </a:xfrm>
          <a:prstGeom prst="ellipse">
            <a:avLst/>
          </a:prstGeom>
          <a:solidFill>
            <a:srgbClr val="0070C0"/>
          </a:solidFill>
          <a:ln w="9525" cap="flat" cmpd="sng" algn="ctr">
            <a:solidFill>
              <a:srgbClr val="0070C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4" name="Овал 53"/>
          <p:cNvSpPr/>
          <p:nvPr/>
        </p:nvSpPr>
        <p:spPr>
          <a:xfrm>
            <a:off x="6798826" y="2650308"/>
            <a:ext cx="134152" cy="100614"/>
          </a:xfrm>
          <a:prstGeom prst="ellipse">
            <a:avLst/>
          </a:prstGeom>
          <a:solidFill>
            <a:srgbClr val="0070C0"/>
          </a:solidFill>
          <a:ln w="9525" cap="flat" cmpd="sng" algn="ctr">
            <a:solidFill>
              <a:srgbClr val="0070C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5" name="Овал 54"/>
          <p:cNvSpPr/>
          <p:nvPr/>
        </p:nvSpPr>
        <p:spPr>
          <a:xfrm>
            <a:off x="6798826" y="3209349"/>
            <a:ext cx="134152" cy="100614"/>
          </a:xfrm>
          <a:prstGeom prst="ellipse">
            <a:avLst/>
          </a:prstGeom>
          <a:solidFill>
            <a:srgbClr val="0070C0"/>
          </a:solidFill>
          <a:ln w="9525" cap="flat" cmpd="sng" algn="ctr">
            <a:solidFill>
              <a:srgbClr val="0070C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6" name="Овал 55"/>
          <p:cNvSpPr/>
          <p:nvPr/>
        </p:nvSpPr>
        <p:spPr>
          <a:xfrm>
            <a:off x="6798826" y="3935905"/>
            <a:ext cx="134152" cy="100614"/>
          </a:xfrm>
          <a:prstGeom prst="ellipse">
            <a:avLst/>
          </a:prstGeom>
          <a:solidFill>
            <a:srgbClr val="0070C0"/>
          </a:solidFill>
          <a:ln w="9525" cap="flat" cmpd="sng" algn="ctr">
            <a:solidFill>
              <a:srgbClr val="0070C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7" name="Овал 56"/>
          <p:cNvSpPr/>
          <p:nvPr/>
        </p:nvSpPr>
        <p:spPr>
          <a:xfrm>
            <a:off x="6798826" y="4473944"/>
            <a:ext cx="134152" cy="100614"/>
          </a:xfrm>
          <a:prstGeom prst="ellipse">
            <a:avLst/>
          </a:prstGeom>
          <a:solidFill>
            <a:srgbClr val="0070C0"/>
          </a:solidFill>
          <a:ln w="9525" cap="flat" cmpd="sng" algn="ctr">
            <a:solidFill>
              <a:srgbClr val="0070C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1577422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03515" y="12924"/>
            <a:ext cx="8678387" cy="8534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2000" b="1" dirty="0"/>
              <a:t>Примеры вскрытия резервов производительности в </a:t>
            </a:r>
            <a:br>
              <a:rPr lang="ru-RU" sz="2000" b="1" dirty="0"/>
            </a:br>
            <a:r>
              <a:rPr lang="ru-RU" sz="2000" b="1" dirty="0"/>
              <a:t>ООО «БЗМИ» Белгородская область (1-я волна)</a:t>
            </a:r>
          </a:p>
        </p:txBody>
      </p:sp>
      <p:pic>
        <p:nvPicPr>
          <p:cNvPr id="52" name="Picture 2" descr="ÐÐ½ÐµÐ²Ð¼Ð¾Ð³Ð°Ð¹ÐºÐ¾Ð²ÐµÑÑ FUBAG PWS158/312 100102 "/>
          <p:cNvPicPr>
            <a:picLocks noChangeAspect="1" noChangeArrowheads="1"/>
          </p:cNvPicPr>
          <p:nvPr/>
        </p:nvPicPr>
        <p:blipFill>
          <a:blip r:embed="rId4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16017" y="2086176"/>
            <a:ext cx="1296143" cy="8640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3" name="Объект 87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1504160"/>
              </p:ext>
            </p:extLst>
          </p:nvPr>
        </p:nvGraphicFramePr>
        <p:xfrm>
          <a:off x="3692" y="3686282"/>
          <a:ext cx="2803504" cy="7790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  <p:sp>
        <p:nvSpPr>
          <p:cNvPr id="54" name="Прямоугольник 53"/>
          <p:cNvSpPr/>
          <p:nvPr>
            <p:custDataLst>
              <p:tags r:id="rId2"/>
            </p:custDataLst>
          </p:nvPr>
        </p:nvSpPr>
        <p:spPr>
          <a:xfrm>
            <a:off x="57151" y="769646"/>
            <a:ext cx="897934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eaLnBrk="1" hangingPunct="1"/>
            <a:r>
              <a:rPr lang="ru-RU" sz="1400" b="1" dirty="0">
                <a:latin typeface="+mj-lt"/>
                <a:cs typeface="Arial" panose="020B0604020202020204" pitchFamily="34" charset="0"/>
              </a:rPr>
              <a:t>Результаты работы </a:t>
            </a:r>
            <a:r>
              <a:rPr lang="ru-RU" sz="1400" b="1" u="sng" dirty="0">
                <a:latin typeface="+mj-lt"/>
                <a:cs typeface="Arial" panose="020B0604020202020204" pitchFamily="34" charset="0"/>
              </a:rPr>
              <a:t>за 5 мес</a:t>
            </a:r>
            <a:r>
              <a:rPr lang="ru-RU" sz="1400" b="1" dirty="0">
                <a:latin typeface="+mj-lt"/>
                <a:cs typeface="Arial" panose="020B0604020202020204" pitchFamily="34" charset="0"/>
              </a:rPr>
              <a:t>. </a:t>
            </a:r>
          </a:p>
          <a:p>
            <a:pPr defTabSz="914400" eaLnBrk="1" hangingPunct="1"/>
            <a:r>
              <a:rPr lang="ru-RU" sz="1400" b="1" dirty="0">
                <a:latin typeface="+mj-lt"/>
                <a:cs typeface="Arial" panose="020B0604020202020204" pitchFamily="34" charset="0"/>
              </a:rPr>
              <a:t>Поток: Изготовление барабанов вместимостью 10-25,5 дм3</a:t>
            </a:r>
          </a:p>
        </p:txBody>
      </p:sp>
      <p:sp>
        <p:nvSpPr>
          <p:cNvPr id="55" name="Равнобедренный треугольник 54"/>
          <p:cNvSpPr/>
          <p:nvPr/>
        </p:nvSpPr>
        <p:spPr>
          <a:xfrm rot="5400000">
            <a:off x="1331808" y="3043196"/>
            <a:ext cx="3312000" cy="288000"/>
          </a:xfrm>
          <a:prstGeom prst="triangle">
            <a:avLst/>
          </a:prstGeom>
          <a:solidFill>
            <a:srgbClr val="1E86C8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6" name="Равнобедренный треугольник 55"/>
          <p:cNvSpPr/>
          <p:nvPr/>
        </p:nvSpPr>
        <p:spPr>
          <a:xfrm rot="5400000" flipV="1">
            <a:off x="4428183" y="3043196"/>
            <a:ext cx="3312000" cy="288000"/>
          </a:xfrm>
          <a:prstGeom prst="triangle">
            <a:avLst/>
          </a:prstGeom>
          <a:solidFill>
            <a:srgbClr val="1E86C8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7" name="Прямоугольник 56"/>
          <p:cNvSpPr/>
          <p:nvPr>
            <p:custDataLst>
              <p:tags r:id="rId3"/>
            </p:custDataLst>
          </p:nvPr>
        </p:nvSpPr>
        <p:spPr>
          <a:xfrm>
            <a:off x="0" y="1599416"/>
            <a:ext cx="2888374" cy="461665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354013" defTabSz="914400" eaLnBrk="1" hangingPunct="1"/>
            <a:r>
              <a:rPr lang="ru-RU" sz="120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НЗП в потоке производства барабанов, </a:t>
            </a:r>
            <a:r>
              <a:rPr lang="ru-RU" sz="1200" i="1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т</a:t>
            </a:r>
          </a:p>
        </p:txBody>
      </p:sp>
      <p:cxnSp>
        <p:nvCxnSpPr>
          <p:cNvPr id="58" name="Прямая со стрелкой 57"/>
          <p:cNvCxnSpPr/>
          <p:nvPr>
            <p:custDataLst>
              <p:tags r:id="rId4"/>
            </p:custDataLst>
          </p:nvPr>
        </p:nvCxnSpPr>
        <p:spPr>
          <a:xfrm>
            <a:off x="247525" y="1671424"/>
            <a:ext cx="0" cy="382276"/>
          </a:xfrm>
          <a:prstGeom prst="straightConnector1">
            <a:avLst/>
          </a:prstGeom>
          <a:noFill/>
          <a:ln w="34925" cap="flat" cmpd="sng" algn="ctr">
            <a:solidFill>
              <a:srgbClr val="00B050"/>
            </a:solidFill>
            <a:prstDash val="solid"/>
            <a:tailEnd type="arrow"/>
          </a:ln>
          <a:effectLst/>
        </p:spPr>
      </p:cxnSp>
      <p:sp>
        <p:nvSpPr>
          <p:cNvPr id="59" name="Прямоугольник 58"/>
          <p:cNvSpPr/>
          <p:nvPr>
            <p:custDataLst>
              <p:tags r:id="rId5"/>
            </p:custDataLst>
          </p:nvPr>
        </p:nvSpPr>
        <p:spPr bwMode="auto">
          <a:xfrm>
            <a:off x="418938" y="4091057"/>
            <a:ext cx="592138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  <a:tileRect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txBody>
          <a:bodyPr wrap="none" lIns="25400" tIns="0" rIns="25400" bIns="0"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/>
                <a:sym typeface="Arial"/>
              </a:rPr>
              <a:t>16</a:t>
            </a:r>
          </a:p>
        </p:txBody>
      </p:sp>
      <p:sp>
        <p:nvSpPr>
          <p:cNvPr id="60" name="Прямоугольник 59"/>
          <p:cNvSpPr/>
          <p:nvPr>
            <p:custDataLst>
              <p:tags r:id="rId6"/>
            </p:custDataLst>
          </p:nvPr>
        </p:nvSpPr>
        <p:spPr bwMode="auto">
          <a:xfrm>
            <a:off x="1776260" y="4043472"/>
            <a:ext cx="592138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  <a:tileRect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txBody>
          <a:bodyPr wrap="none" lIns="25400" tIns="0" rIns="25400" bIns="0"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/>
                <a:sym typeface="Arial"/>
              </a:rPr>
              <a:t>25</a:t>
            </a:r>
          </a:p>
        </p:txBody>
      </p:sp>
      <p:grpSp>
        <p:nvGrpSpPr>
          <p:cNvPr id="61" name="Группа 60"/>
          <p:cNvGrpSpPr/>
          <p:nvPr/>
        </p:nvGrpSpPr>
        <p:grpSpPr>
          <a:xfrm>
            <a:off x="718040" y="3686282"/>
            <a:ext cx="1352550" cy="404214"/>
            <a:chOff x="822854" y="4099954"/>
            <a:chExt cx="1352550" cy="404214"/>
          </a:xfrm>
        </p:grpSpPr>
        <p:cxnSp>
          <p:nvCxnSpPr>
            <p:cNvPr id="62" name="Прямая соединительная линия 61"/>
            <p:cNvCxnSpPr/>
            <p:nvPr>
              <p:custDataLst>
                <p:tags r:id="rId38"/>
              </p:custDataLst>
            </p:nvPr>
          </p:nvCxnSpPr>
          <p:spPr bwMode="auto">
            <a:xfrm>
              <a:off x="2175404" y="4266037"/>
              <a:ext cx="0" cy="152400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headEnd type="none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</p:cxnSp>
        <p:cxnSp>
          <p:nvCxnSpPr>
            <p:cNvPr id="63" name="Прямая соединительная линия 62"/>
            <p:cNvCxnSpPr/>
            <p:nvPr>
              <p:custDataLst>
                <p:tags r:id="rId39"/>
              </p:custDataLst>
            </p:nvPr>
          </p:nvCxnSpPr>
          <p:spPr bwMode="auto">
            <a:xfrm>
              <a:off x="822854" y="4266037"/>
              <a:ext cx="1352550" cy="0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</p:cxnSp>
        <p:cxnSp>
          <p:nvCxnSpPr>
            <p:cNvPr id="64" name="Прямая соединительная линия 63"/>
            <p:cNvCxnSpPr/>
            <p:nvPr>
              <p:custDataLst>
                <p:tags r:id="rId40"/>
              </p:custDataLst>
            </p:nvPr>
          </p:nvCxnSpPr>
          <p:spPr bwMode="auto">
            <a:xfrm flipV="1">
              <a:off x="822854" y="4266043"/>
              <a:ext cx="0" cy="238125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</p:cxnSp>
        <p:sp>
          <p:nvSpPr>
            <p:cNvPr id="65" name="Овал 64"/>
            <p:cNvSpPr/>
            <p:nvPr>
              <p:custDataLst>
                <p:tags r:id="rId41"/>
              </p:custDataLst>
            </p:nvPr>
          </p:nvSpPr>
          <p:spPr bwMode="gray">
            <a:xfrm>
              <a:off x="1194329" y="4099954"/>
              <a:ext cx="609600" cy="334391"/>
            </a:xfrm>
            <a:prstGeom prst="ellipse">
              <a:avLst/>
            </a:prstGeom>
            <a:solidFill>
              <a:srgbClr val="00B050"/>
            </a:solidFill>
            <a:ln w="9525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Arial" pitchFamily="34" charset="0"/>
                </a:rPr>
                <a:t>+56%</a:t>
              </a:r>
              <a:endPara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  <a:sym typeface="Arial"/>
              </a:endParaRPr>
            </a:p>
          </p:txBody>
        </p:sp>
      </p:grpSp>
      <p:cxnSp>
        <p:nvCxnSpPr>
          <p:cNvPr id="66" name="Прямая со стрелкой 65"/>
          <p:cNvCxnSpPr/>
          <p:nvPr>
            <p:custDataLst>
              <p:tags r:id="rId7"/>
            </p:custDataLst>
          </p:nvPr>
        </p:nvCxnSpPr>
        <p:spPr>
          <a:xfrm flipV="1">
            <a:off x="214282" y="3089728"/>
            <a:ext cx="0" cy="347480"/>
          </a:xfrm>
          <a:prstGeom prst="straightConnector1">
            <a:avLst/>
          </a:prstGeom>
          <a:noFill/>
          <a:ln w="34925" cap="flat" cmpd="sng" algn="ctr">
            <a:solidFill>
              <a:srgbClr val="00B050"/>
            </a:solidFill>
            <a:prstDash val="solid"/>
            <a:tailEnd type="arrow"/>
          </a:ln>
          <a:effectLst/>
        </p:spPr>
      </p:cxnSp>
      <p:sp>
        <p:nvSpPr>
          <p:cNvPr id="67" name="Прямоугольник 66"/>
          <p:cNvSpPr/>
          <p:nvPr>
            <p:custDataLst>
              <p:tags r:id="rId8"/>
            </p:custDataLst>
          </p:nvPr>
        </p:nvSpPr>
        <p:spPr>
          <a:xfrm>
            <a:off x="0" y="3066381"/>
            <a:ext cx="2771800" cy="461665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354013" defTabSz="914400" eaLnBrk="1" hangingPunct="1"/>
            <a:r>
              <a:rPr lang="ru-RU" sz="120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Выработка барабанов,</a:t>
            </a:r>
          </a:p>
          <a:p>
            <a:pPr marL="354013" defTabSz="914400" eaLnBrk="1" hangingPunct="1"/>
            <a:r>
              <a:rPr lang="ru-RU" sz="1200" i="1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тыс. шт./</a:t>
            </a:r>
            <a:r>
              <a:rPr lang="ru-RU" sz="1200" i="1" dirty="0" err="1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мес</a:t>
            </a:r>
            <a:r>
              <a:rPr lang="en-US" sz="1200" i="1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.</a:t>
            </a:r>
            <a:r>
              <a:rPr lang="ru-RU" sz="1200" i="1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 на чел.</a:t>
            </a:r>
          </a:p>
        </p:txBody>
      </p:sp>
      <p:sp>
        <p:nvSpPr>
          <p:cNvPr id="68" name="Прямоугольник 67"/>
          <p:cNvSpPr/>
          <p:nvPr>
            <p:custDataLst>
              <p:tags r:id="rId9"/>
            </p:custDataLst>
          </p:nvPr>
        </p:nvSpPr>
        <p:spPr>
          <a:xfrm>
            <a:off x="3063452" y="2972138"/>
            <a:ext cx="2888374" cy="276999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88900" algn="ctr" defTabSz="914400" eaLnBrk="1" hangingPunct="1"/>
            <a:r>
              <a:rPr lang="ru-RU" sz="1200" b="1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ОСНОВНЫЕ МЕРОПРИЯТИЯ</a:t>
            </a:r>
            <a:r>
              <a:rPr lang="ru-RU" sz="120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:</a:t>
            </a:r>
            <a:endParaRPr lang="ru-RU" sz="1200" i="1" dirty="0">
              <a:solidFill>
                <a:prstClr val="black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69" name="Прямоугольник 68"/>
          <p:cNvSpPr/>
          <p:nvPr>
            <p:custDataLst>
              <p:tags r:id="rId10"/>
            </p:custDataLst>
          </p:nvPr>
        </p:nvSpPr>
        <p:spPr>
          <a:xfrm>
            <a:off x="3052065" y="3203099"/>
            <a:ext cx="3012661" cy="1569660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265113" indent="-176213" defTabSz="914400" eaLnBrk="1" hangingPunct="1">
              <a:buFontTx/>
              <a:buAutoNum type="arabicPeriod"/>
            </a:pPr>
            <a:r>
              <a:rPr lang="ru-RU" sz="120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Реализация методики быстрая переналадка, мотивация персонала;</a:t>
            </a:r>
          </a:p>
          <a:p>
            <a:pPr marL="265113" indent="-176213" defTabSz="914400" eaLnBrk="1" hangingPunct="1">
              <a:buFontTx/>
              <a:buAutoNum type="arabicPeriod"/>
            </a:pPr>
            <a:r>
              <a:rPr lang="ru-RU" sz="120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Оптимизация процесса периодического техобслуживания (с участием операторов);</a:t>
            </a:r>
          </a:p>
          <a:p>
            <a:pPr marL="265113" indent="-176213" defTabSz="914400" eaLnBrk="1" hangingPunct="1">
              <a:buFontTx/>
              <a:buAutoNum type="arabicPeriod"/>
            </a:pPr>
            <a:r>
              <a:rPr lang="ru-RU" sz="120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Переход на консигнационный склад сырья.</a:t>
            </a:r>
          </a:p>
        </p:txBody>
      </p:sp>
      <p:sp>
        <p:nvSpPr>
          <p:cNvPr id="70" name="Прямоугольник 69"/>
          <p:cNvSpPr/>
          <p:nvPr>
            <p:custDataLst>
              <p:tags r:id="rId11"/>
            </p:custDataLst>
          </p:nvPr>
        </p:nvSpPr>
        <p:spPr>
          <a:xfrm>
            <a:off x="6138940" y="3108558"/>
            <a:ext cx="3005060" cy="276999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354013" defTabSz="914400" eaLnBrk="1" hangingPunct="1"/>
            <a:r>
              <a:rPr lang="ru-RU" sz="120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Время переналадки линии, </a:t>
            </a:r>
            <a:r>
              <a:rPr lang="ru-RU" sz="1200" i="1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мин</a:t>
            </a:r>
            <a:r>
              <a:rPr lang="ru-RU" sz="120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.</a:t>
            </a:r>
          </a:p>
        </p:txBody>
      </p:sp>
      <p:cxnSp>
        <p:nvCxnSpPr>
          <p:cNvPr id="71" name="Прямая со стрелкой 70"/>
          <p:cNvCxnSpPr/>
          <p:nvPr>
            <p:custDataLst>
              <p:tags r:id="rId12"/>
            </p:custDataLst>
          </p:nvPr>
        </p:nvCxnSpPr>
        <p:spPr>
          <a:xfrm>
            <a:off x="6357950" y="3108558"/>
            <a:ext cx="0" cy="347480"/>
          </a:xfrm>
          <a:prstGeom prst="straightConnector1">
            <a:avLst/>
          </a:prstGeom>
          <a:noFill/>
          <a:ln w="34925" cap="flat" cmpd="sng" algn="ctr">
            <a:solidFill>
              <a:srgbClr val="00B050"/>
            </a:solidFill>
            <a:prstDash val="solid"/>
            <a:tailEnd type="arrow"/>
          </a:ln>
          <a:effectLst/>
        </p:spPr>
      </p:cxnSp>
      <p:graphicFrame>
        <p:nvGraphicFramePr>
          <p:cNvPr id="72" name="Chart 3"/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827497"/>
              </p:ext>
            </p:extLst>
          </p:nvPr>
        </p:nvGraphicFramePr>
        <p:xfrm>
          <a:off x="36512" y="2161034"/>
          <a:ext cx="2787650" cy="5603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grpSp>
        <p:nvGrpSpPr>
          <p:cNvPr id="73" name="Группа 72"/>
          <p:cNvGrpSpPr/>
          <p:nvPr/>
        </p:nvGrpSpPr>
        <p:grpSpPr>
          <a:xfrm>
            <a:off x="750860" y="2018158"/>
            <a:ext cx="1357322" cy="500066"/>
            <a:chOff x="7153275" y="1951068"/>
            <a:chExt cx="1357322" cy="500066"/>
          </a:xfrm>
        </p:grpSpPr>
        <p:cxnSp>
          <p:nvCxnSpPr>
            <p:cNvPr id="74" name="Прямая соединительная линия 73"/>
            <p:cNvCxnSpPr/>
            <p:nvPr>
              <p:custDataLst>
                <p:tags r:id="rId34"/>
              </p:custDataLst>
            </p:nvPr>
          </p:nvCxnSpPr>
          <p:spPr bwMode="auto">
            <a:xfrm rot="16200000" flipH="1">
              <a:off x="8366625" y="2307162"/>
              <a:ext cx="283172" cy="4772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headEnd type="none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</p:cxnSp>
        <p:cxnSp>
          <p:nvCxnSpPr>
            <p:cNvPr id="75" name="Прямая соединительная линия 74"/>
            <p:cNvCxnSpPr/>
            <p:nvPr>
              <p:custDataLst>
                <p:tags r:id="rId35"/>
              </p:custDataLst>
            </p:nvPr>
          </p:nvCxnSpPr>
          <p:spPr bwMode="auto">
            <a:xfrm>
              <a:off x="7153275" y="2167962"/>
              <a:ext cx="1352550" cy="0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</p:cxnSp>
        <p:cxnSp>
          <p:nvCxnSpPr>
            <p:cNvPr id="76" name="Прямая соединительная линия 75"/>
            <p:cNvCxnSpPr/>
            <p:nvPr>
              <p:custDataLst>
                <p:tags r:id="rId36"/>
              </p:custDataLst>
            </p:nvPr>
          </p:nvCxnSpPr>
          <p:spPr bwMode="auto">
            <a:xfrm flipV="1">
              <a:off x="7153275" y="2168006"/>
              <a:ext cx="0" cy="104775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</p:cxnSp>
        <p:sp>
          <p:nvSpPr>
            <p:cNvPr id="77" name="Овал 76"/>
            <p:cNvSpPr/>
            <p:nvPr>
              <p:custDataLst>
                <p:tags r:id="rId37"/>
              </p:custDataLst>
            </p:nvPr>
          </p:nvSpPr>
          <p:spPr bwMode="gray">
            <a:xfrm>
              <a:off x="7489832" y="1951068"/>
              <a:ext cx="681038" cy="334391"/>
            </a:xfrm>
            <a:prstGeom prst="ellipse">
              <a:avLst/>
            </a:prstGeom>
            <a:solidFill>
              <a:srgbClr val="00B050"/>
            </a:solidFill>
            <a:ln w="9525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Arial"/>
                  <a:sym typeface="Arial"/>
                </a:rPr>
                <a:t>- 58%</a:t>
              </a:r>
            </a:p>
          </p:txBody>
        </p:sp>
      </p:grpSp>
      <p:sp>
        <p:nvSpPr>
          <p:cNvPr id="78" name="Прямоугольник 77"/>
          <p:cNvSpPr/>
          <p:nvPr>
            <p:custDataLst>
              <p:tags r:id="rId14"/>
            </p:custDataLst>
          </p:nvPr>
        </p:nvSpPr>
        <p:spPr bwMode="auto">
          <a:xfrm>
            <a:off x="465108" y="2661101"/>
            <a:ext cx="642942" cy="14287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  <a:tileRect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/>
                <a:sym typeface="Arial"/>
              </a:rPr>
              <a:t>09.10.18</a:t>
            </a:r>
          </a:p>
        </p:txBody>
      </p:sp>
      <p:sp>
        <p:nvSpPr>
          <p:cNvPr id="79" name="Прямоугольник 78"/>
          <p:cNvSpPr/>
          <p:nvPr>
            <p:custDataLst>
              <p:tags r:id="rId15"/>
            </p:custDataLst>
          </p:nvPr>
        </p:nvSpPr>
        <p:spPr bwMode="auto">
          <a:xfrm>
            <a:off x="1750992" y="2661100"/>
            <a:ext cx="642942" cy="14287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  <a:tileRect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/>
                <a:sym typeface="Arial"/>
              </a:rPr>
              <a:t>12.03.19</a:t>
            </a:r>
          </a:p>
        </p:txBody>
      </p:sp>
      <p:sp>
        <p:nvSpPr>
          <p:cNvPr id="80" name="Прямоугольник 79"/>
          <p:cNvSpPr/>
          <p:nvPr>
            <p:custDataLst>
              <p:tags r:id="rId16"/>
            </p:custDataLst>
          </p:nvPr>
        </p:nvSpPr>
        <p:spPr bwMode="auto">
          <a:xfrm>
            <a:off x="6819638" y="4176119"/>
            <a:ext cx="642942" cy="14287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  <a:tileRect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/>
                <a:sym typeface="Arial"/>
              </a:rPr>
              <a:t>09.10.18</a:t>
            </a:r>
          </a:p>
        </p:txBody>
      </p:sp>
      <p:sp>
        <p:nvSpPr>
          <p:cNvPr id="81" name="Прямоугольник 80"/>
          <p:cNvSpPr/>
          <p:nvPr>
            <p:custDataLst>
              <p:tags r:id="rId17"/>
            </p:custDataLst>
          </p:nvPr>
        </p:nvSpPr>
        <p:spPr bwMode="auto">
          <a:xfrm>
            <a:off x="8105522" y="4176118"/>
            <a:ext cx="642942" cy="14287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  <a:tileRect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/>
                <a:sym typeface="Arial"/>
              </a:rPr>
              <a:t>12.03.19</a:t>
            </a:r>
          </a:p>
        </p:txBody>
      </p:sp>
      <p:sp>
        <p:nvSpPr>
          <p:cNvPr id="82" name="Прямоугольник 81"/>
          <p:cNvSpPr/>
          <p:nvPr>
            <p:custDataLst>
              <p:tags r:id="rId18"/>
            </p:custDataLst>
          </p:nvPr>
        </p:nvSpPr>
        <p:spPr bwMode="auto">
          <a:xfrm>
            <a:off x="432288" y="4329225"/>
            <a:ext cx="642942" cy="14287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  <a:tileRect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/>
                <a:sym typeface="Arial"/>
              </a:rPr>
              <a:t>09.10.18</a:t>
            </a:r>
          </a:p>
        </p:txBody>
      </p:sp>
      <p:sp>
        <p:nvSpPr>
          <p:cNvPr id="83" name="Прямоугольник 82"/>
          <p:cNvSpPr/>
          <p:nvPr>
            <p:custDataLst>
              <p:tags r:id="rId19"/>
            </p:custDataLst>
          </p:nvPr>
        </p:nvSpPr>
        <p:spPr bwMode="auto">
          <a:xfrm>
            <a:off x="1752528" y="4329224"/>
            <a:ext cx="642942" cy="14287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  <a:tileRect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/>
                <a:sym typeface="Arial"/>
              </a:rPr>
              <a:t>12.03.19</a:t>
            </a:r>
          </a:p>
        </p:txBody>
      </p:sp>
      <p:grpSp>
        <p:nvGrpSpPr>
          <p:cNvPr id="84" name="Группа 83"/>
          <p:cNvGrpSpPr/>
          <p:nvPr/>
        </p:nvGrpSpPr>
        <p:grpSpPr>
          <a:xfrm>
            <a:off x="6929454" y="3460028"/>
            <a:ext cx="1357322" cy="500066"/>
            <a:chOff x="7153275" y="1951068"/>
            <a:chExt cx="1357322" cy="500066"/>
          </a:xfrm>
        </p:grpSpPr>
        <p:cxnSp>
          <p:nvCxnSpPr>
            <p:cNvPr id="85" name="Прямая соединительная линия 84"/>
            <p:cNvCxnSpPr/>
            <p:nvPr>
              <p:custDataLst>
                <p:tags r:id="rId30"/>
              </p:custDataLst>
            </p:nvPr>
          </p:nvCxnSpPr>
          <p:spPr bwMode="auto">
            <a:xfrm rot="16200000" flipH="1">
              <a:off x="8366625" y="2307162"/>
              <a:ext cx="283172" cy="4772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headEnd type="none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</p:cxnSp>
        <p:cxnSp>
          <p:nvCxnSpPr>
            <p:cNvPr id="86" name="Прямая соединительная линия 85"/>
            <p:cNvCxnSpPr/>
            <p:nvPr>
              <p:custDataLst>
                <p:tags r:id="rId31"/>
              </p:custDataLst>
            </p:nvPr>
          </p:nvCxnSpPr>
          <p:spPr bwMode="auto">
            <a:xfrm>
              <a:off x="7153275" y="2167962"/>
              <a:ext cx="1352550" cy="0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</p:cxnSp>
        <p:cxnSp>
          <p:nvCxnSpPr>
            <p:cNvPr id="87" name="Прямая соединительная линия 86"/>
            <p:cNvCxnSpPr/>
            <p:nvPr>
              <p:custDataLst>
                <p:tags r:id="rId32"/>
              </p:custDataLst>
            </p:nvPr>
          </p:nvCxnSpPr>
          <p:spPr bwMode="auto">
            <a:xfrm flipV="1">
              <a:off x="7153275" y="2168006"/>
              <a:ext cx="0" cy="104775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</p:cxnSp>
        <p:sp>
          <p:nvSpPr>
            <p:cNvPr id="88" name="Овал 87"/>
            <p:cNvSpPr/>
            <p:nvPr>
              <p:custDataLst>
                <p:tags r:id="rId33"/>
              </p:custDataLst>
            </p:nvPr>
          </p:nvSpPr>
          <p:spPr bwMode="gray">
            <a:xfrm>
              <a:off x="7489832" y="1951068"/>
              <a:ext cx="681038" cy="334391"/>
            </a:xfrm>
            <a:prstGeom prst="ellipse">
              <a:avLst/>
            </a:prstGeom>
            <a:solidFill>
              <a:srgbClr val="00B050"/>
            </a:solidFill>
            <a:ln w="9525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Arial"/>
                  <a:sym typeface="Arial"/>
                </a:rPr>
                <a:t>- 40%</a:t>
              </a:r>
            </a:p>
          </p:txBody>
        </p:sp>
      </p:grpSp>
      <p:pic>
        <p:nvPicPr>
          <p:cNvPr id="89" name="Picture 5" descr="H:\ФЦК\БЗМИ\Презентация\тара3.jpg"/>
          <p:cNvPicPr>
            <a:picLocks noChangeAspect="1" noChangeArrowheads="1"/>
          </p:cNvPicPr>
          <p:nvPr/>
        </p:nvPicPr>
        <p:blipFill>
          <a:blip r:embed="rId4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1809" y="1454314"/>
            <a:ext cx="1456690" cy="1073356"/>
          </a:xfrm>
          <a:prstGeom prst="rect">
            <a:avLst/>
          </a:prstGeom>
          <a:noFill/>
        </p:spPr>
      </p:pic>
      <p:sp>
        <p:nvSpPr>
          <p:cNvPr id="90" name="Прямоугольник 89"/>
          <p:cNvSpPr/>
          <p:nvPr>
            <p:custDataLst>
              <p:tags r:id="rId20"/>
            </p:custDataLst>
          </p:nvPr>
        </p:nvSpPr>
        <p:spPr>
          <a:xfrm>
            <a:off x="5996326" y="1463689"/>
            <a:ext cx="3328202" cy="276999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354013" defTabSz="914400" eaLnBrk="1" hangingPunct="1"/>
            <a:r>
              <a:rPr lang="ru-RU" sz="120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ВПП производства барабана, </a:t>
            </a:r>
            <a:r>
              <a:rPr lang="ru-RU" sz="1200" i="1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дней</a:t>
            </a:r>
          </a:p>
        </p:txBody>
      </p:sp>
      <p:graphicFrame>
        <p:nvGraphicFramePr>
          <p:cNvPr id="91" name="Chart 3"/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530040829"/>
              </p:ext>
            </p:extLst>
          </p:nvPr>
        </p:nvGraphicFramePr>
        <p:xfrm>
          <a:off x="6263596" y="2116387"/>
          <a:ext cx="2787650" cy="650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cxnSp>
        <p:nvCxnSpPr>
          <p:cNvPr id="92" name="Прямая соединительная линия 91"/>
          <p:cNvCxnSpPr>
            <a:cxnSpLocks/>
          </p:cNvCxnSpPr>
          <p:nvPr>
            <p:custDataLst>
              <p:tags r:id="rId22"/>
            </p:custDataLst>
          </p:nvPr>
        </p:nvCxnSpPr>
        <p:spPr bwMode="auto">
          <a:xfrm flipV="1">
            <a:off x="7000196" y="1898322"/>
            <a:ext cx="0" cy="336729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3" name="Прямая соединительная линия 92"/>
          <p:cNvCxnSpPr/>
          <p:nvPr>
            <p:custDataLst>
              <p:tags r:id="rId23"/>
            </p:custDataLst>
          </p:nvPr>
        </p:nvCxnSpPr>
        <p:spPr bwMode="auto">
          <a:xfrm>
            <a:off x="7000196" y="1898322"/>
            <a:ext cx="1311275" cy="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4" name="Прямая соединительная линия 93"/>
          <p:cNvCxnSpPr/>
          <p:nvPr>
            <p:custDataLst>
              <p:tags r:id="rId24"/>
            </p:custDataLst>
          </p:nvPr>
        </p:nvCxnSpPr>
        <p:spPr bwMode="auto">
          <a:xfrm>
            <a:off x="8311471" y="1898322"/>
            <a:ext cx="0" cy="260673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95" name="Овал 94"/>
          <p:cNvSpPr/>
          <p:nvPr>
            <p:custDataLst>
              <p:tags r:id="rId25"/>
            </p:custDataLst>
          </p:nvPr>
        </p:nvSpPr>
        <p:spPr bwMode="auto">
          <a:xfrm>
            <a:off x="7286644" y="1730368"/>
            <a:ext cx="616841" cy="275904"/>
          </a:xfrm>
          <a:prstGeom prst="ellipse">
            <a:avLst/>
          </a:prstGeom>
          <a:solidFill>
            <a:srgbClr val="00B050"/>
          </a:solidFill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Arial"/>
                <a:sym typeface="+mn-lt"/>
              </a:rPr>
              <a:t>-54%</a:t>
            </a:r>
          </a:p>
        </p:txBody>
      </p:sp>
      <p:cxnSp>
        <p:nvCxnSpPr>
          <p:cNvPr id="96" name="Прямая со стрелкой 95"/>
          <p:cNvCxnSpPr/>
          <p:nvPr>
            <p:custDataLst>
              <p:tags r:id="rId26"/>
            </p:custDataLst>
          </p:nvPr>
        </p:nvCxnSpPr>
        <p:spPr>
          <a:xfrm>
            <a:off x="6300192" y="1432465"/>
            <a:ext cx="0" cy="382276"/>
          </a:xfrm>
          <a:prstGeom prst="straightConnector1">
            <a:avLst/>
          </a:prstGeom>
          <a:noFill/>
          <a:ln w="25400" cap="flat" cmpd="sng" algn="ctr">
            <a:solidFill>
              <a:srgbClr val="00B050"/>
            </a:solidFill>
            <a:prstDash val="solid"/>
            <a:tailEnd type="arrow"/>
          </a:ln>
          <a:effectLst/>
        </p:spPr>
      </p:cxnSp>
      <p:sp>
        <p:nvSpPr>
          <p:cNvPr id="97" name="Прямоугольник 96"/>
          <p:cNvSpPr/>
          <p:nvPr>
            <p:custDataLst>
              <p:tags r:id="rId27"/>
            </p:custDataLst>
          </p:nvPr>
        </p:nvSpPr>
        <p:spPr bwMode="auto">
          <a:xfrm>
            <a:off x="6796102" y="2687804"/>
            <a:ext cx="642942" cy="14287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  <a:tileRect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/>
                <a:sym typeface="Arial"/>
              </a:rPr>
              <a:t>09.10.18</a:t>
            </a:r>
          </a:p>
        </p:txBody>
      </p:sp>
      <p:sp>
        <p:nvSpPr>
          <p:cNvPr id="98" name="Прямоугольник 97"/>
          <p:cNvSpPr/>
          <p:nvPr>
            <p:custDataLst>
              <p:tags r:id="rId28"/>
            </p:custDataLst>
          </p:nvPr>
        </p:nvSpPr>
        <p:spPr bwMode="auto">
          <a:xfrm>
            <a:off x="8081986" y="2687803"/>
            <a:ext cx="642942" cy="14287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  <a:tileRect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/>
                <a:sym typeface="Arial"/>
              </a:rPr>
              <a:t>12.03.19</a:t>
            </a:r>
          </a:p>
        </p:txBody>
      </p:sp>
      <p:graphicFrame>
        <p:nvGraphicFramePr>
          <p:cNvPr id="99" name="Chart 3"/>
          <p:cNvGraphicFramePr/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886711905"/>
              </p:ext>
            </p:extLst>
          </p:nvPr>
        </p:nvGraphicFramePr>
        <p:xfrm>
          <a:off x="6289311" y="3581861"/>
          <a:ext cx="2787650" cy="650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</p:spTree>
    <p:extLst>
      <p:ext uri="{BB962C8B-B14F-4D97-AF65-F5344CB8AC3E}">
        <p14:creationId xmlns:p14="http://schemas.microsoft.com/office/powerpoint/2010/main" val="410192745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2000" b="1" dirty="0"/>
              <a:t>Что необходимо сделать, </a:t>
            </a:r>
            <a:br>
              <a:rPr lang="ru-RU" sz="2000" b="1" dirty="0"/>
            </a:br>
            <a:r>
              <a:rPr lang="ru-RU" sz="2000" b="1" dirty="0"/>
              <a:t>чтобы стать участником</a:t>
            </a:r>
          </a:p>
        </p:txBody>
      </p:sp>
    </p:spTree>
    <p:extLst>
      <p:ext uri="{BB962C8B-B14F-4D97-AF65-F5344CB8AC3E}">
        <p14:creationId xmlns:p14="http://schemas.microsoft.com/office/powerpoint/2010/main" val="3471571908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9974" y="114301"/>
            <a:ext cx="8335961" cy="432197"/>
          </a:xfrm>
        </p:spPr>
        <p:txBody>
          <a:bodyPr/>
          <a:lstStyle/>
          <a:p>
            <a:r>
              <a:rPr lang="ru-RU" sz="2000" b="1" dirty="0"/>
              <a:t>Как стать участником проекта?</a:t>
            </a:r>
            <a:endParaRPr lang="ru-RU" sz="2000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459A3246-8A6A-420B-B1DB-6701A620B40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5363"/>
          <a:stretch/>
        </p:blipFill>
        <p:spPr>
          <a:xfrm>
            <a:off x="0" y="723900"/>
            <a:ext cx="9144000" cy="3993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5820595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9974" y="114301"/>
            <a:ext cx="8335961" cy="432197"/>
          </a:xfrm>
        </p:spPr>
        <p:txBody>
          <a:bodyPr/>
          <a:lstStyle/>
          <a:p>
            <a:r>
              <a:rPr lang="ru-RU" sz="2000" b="1" dirty="0"/>
              <a:t>Как стать участником проекта?</a:t>
            </a:r>
            <a:endParaRPr lang="ru-RU" sz="2000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2D669FB9-3C14-42CF-8B85-1E5905C99D7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9272"/>
          <a:stretch/>
        </p:blipFill>
        <p:spPr>
          <a:xfrm>
            <a:off x="0" y="575514"/>
            <a:ext cx="9144000" cy="4171306"/>
          </a:xfrm>
          <a:prstGeom prst="rect">
            <a:avLst/>
          </a:prstGeom>
        </p:spPr>
      </p:pic>
      <p:cxnSp>
        <p:nvCxnSpPr>
          <p:cNvPr id="7" name="Прямая со стрелкой 6">
            <a:extLst>
              <a:ext uri="{FF2B5EF4-FFF2-40B4-BE49-F238E27FC236}">
                <a16:creationId xmlns:a16="http://schemas.microsoft.com/office/drawing/2014/main" id="{4F0180E7-1605-42CB-A8F4-434B413BEC8B}"/>
              </a:ext>
            </a:extLst>
          </p:cNvPr>
          <p:cNvCxnSpPr/>
          <p:nvPr/>
        </p:nvCxnSpPr>
        <p:spPr>
          <a:xfrm flipH="1">
            <a:off x="1734671" y="705971"/>
            <a:ext cx="1512794" cy="0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 стрелкой 7">
            <a:extLst>
              <a:ext uri="{FF2B5EF4-FFF2-40B4-BE49-F238E27FC236}">
                <a16:creationId xmlns:a16="http://schemas.microsoft.com/office/drawing/2014/main" id="{5482B4C7-4A4D-4717-AFF6-C9054BFCB8B5}"/>
              </a:ext>
            </a:extLst>
          </p:cNvPr>
          <p:cNvCxnSpPr>
            <a:cxnSpLocks/>
          </p:cNvCxnSpPr>
          <p:nvPr/>
        </p:nvCxnSpPr>
        <p:spPr>
          <a:xfrm>
            <a:off x="5076265" y="3870512"/>
            <a:ext cx="1530724" cy="0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7559738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9974" y="114301"/>
            <a:ext cx="8335961" cy="432197"/>
          </a:xfrm>
        </p:spPr>
        <p:txBody>
          <a:bodyPr/>
          <a:lstStyle/>
          <a:p>
            <a:r>
              <a:rPr lang="ru-RU" sz="2000" b="1" dirty="0"/>
              <a:t>Оценочный чек-лист</a:t>
            </a:r>
            <a:endParaRPr lang="ru-RU" sz="2000" dirty="0"/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9BB08DA7-76EE-4714-87DB-A990588D0C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186015"/>
              </p:ext>
            </p:extLst>
          </p:nvPr>
        </p:nvGraphicFramePr>
        <p:xfrm>
          <a:off x="199975" y="620464"/>
          <a:ext cx="8735596" cy="3840480"/>
        </p:xfrm>
        <a:graphic>
          <a:graphicData uri="http://schemas.openxmlformats.org/drawingml/2006/table">
            <a:tbl>
              <a:tblPr firstRow="1" firstCol="1" bandRow="1">
                <a:tableStyleId>{00A15C55-8517-42AA-B614-E9B94910E393}</a:tableStyleId>
              </a:tblPr>
              <a:tblGrid>
                <a:gridCol w="415502">
                  <a:extLst>
                    <a:ext uri="{9D8B030D-6E8A-4147-A177-3AD203B41FA5}">
                      <a16:colId xmlns:a16="http://schemas.microsoft.com/office/drawing/2014/main" val="3129026295"/>
                    </a:ext>
                  </a:extLst>
                </a:gridCol>
                <a:gridCol w="8088128">
                  <a:extLst>
                    <a:ext uri="{9D8B030D-6E8A-4147-A177-3AD203B41FA5}">
                      <a16:colId xmlns:a16="http://schemas.microsoft.com/office/drawing/2014/main" val="475760362"/>
                    </a:ext>
                  </a:extLst>
                </a:gridCol>
                <a:gridCol w="231966">
                  <a:extLst>
                    <a:ext uri="{9D8B030D-6E8A-4147-A177-3AD203B41FA5}">
                      <a16:colId xmlns:a16="http://schemas.microsoft.com/office/drawing/2014/main" val="673653598"/>
                    </a:ext>
                  </a:extLst>
                </a:gridCol>
              </a:tblGrid>
              <a:tr h="11734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№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Критерий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 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extLst>
                  <a:ext uri="{0D108BD9-81ED-4DB2-BD59-A6C34878D82A}">
                    <a16:rowId xmlns:a16="http://schemas.microsoft.com/office/drawing/2014/main" val="2004264509"/>
                  </a:ext>
                </a:extLst>
              </a:tr>
              <a:tr h="11734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.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Проведена встреча с руководителем предприятия и согласована готовность: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effectLst/>
                        </a:rPr>
                        <a:t> </a:t>
                      </a:r>
                      <a:endParaRPr lang="ru-RU" sz="12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580040923"/>
                  </a:ext>
                </a:extLst>
              </a:tr>
              <a:tr h="11734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.1.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Принять личное участие в выездном стартовом совещании (2 дня)*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extLst>
                  <a:ext uri="{0D108BD9-81ED-4DB2-BD59-A6C34878D82A}">
                    <a16:rowId xmlns:a16="http://schemas.microsoft.com/office/drawing/2014/main" val="3745664099"/>
                  </a:ext>
                </a:extLst>
              </a:tr>
              <a:tr h="23469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.2.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Отправить сотрудников предприятия для прохождения стажировки на предприятия предыдущей волны (3-4 недели полной занятости в течение 3 месяцев)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extLst>
                  <a:ext uri="{0D108BD9-81ED-4DB2-BD59-A6C34878D82A}">
                    <a16:rowId xmlns:a16="http://schemas.microsoft.com/office/drawing/2014/main" val="3093348576"/>
                  </a:ext>
                </a:extLst>
              </a:tr>
              <a:tr h="35204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.3.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Выделить ресурсы для формирования команды, реализующей пилотный проект в потоке: минимум 3 выделенных сотрудника предприятия, знающих исследуемый поток на 3 месяца (этап «диагностика») и 3 месяца (этап «внедрение»)* 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extLst>
                  <a:ext uri="{0D108BD9-81ED-4DB2-BD59-A6C34878D82A}">
                    <a16:rowId xmlns:a16="http://schemas.microsoft.com/office/drawing/2014/main" val="3579166817"/>
                  </a:ext>
                </a:extLst>
              </a:tr>
              <a:tr h="23469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.4.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Создать проектный офис на предприятии, выделить сотрудников для работы в качестве внутреннего тренера-консультанта по бережливому производству по завершении первых 3 месяцев проекта*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extLst>
                  <a:ext uri="{0D108BD9-81ED-4DB2-BD59-A6C34878D82A}">
                    <a16:rowId xmlns:a16="http://schemas.microsoft.com/office/drawing/2014/main" val="2292472985"/>
                  </a:ext>
                </a:extLst>
              </a:tr>
              <a:tr h="23469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.5.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Предоставлять в ФЦК отчетность (на основании соглашения) в части производительности труда по достижению результатов проекта на предприятии *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extLst>
                  <a:ext uri="{0D108BD9-81ED-4DB2-BD59-A6C34878D82A}">
                    <a16:rowId xmlns:a16="http://schemas.microsoft.com/office/drawing/2014/main" val="3348016706"/>
                  </a:ext>
                </a:extLst>
              </a:tr>
              <a:tr h="11734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.6.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Предоставить оснащенное помещение для работы (с проектором)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extLst>
                  <a:ext uri="{0D108BD9-81ED-4DB2-BD59-A6C34878D82A}">
                    <a16:rowId xmlns:a16="http://schemas.microsoft.com/office/drawing/2014/main" val="4221119818"/>
                  </a:ext>
                </a:extLst>
              </a:tr>
              <a:tr h="11734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.7.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Обеспечить еженедельный мониторинг (0,5 часа) хода реализации проекта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extLst>
                  <a:ext uri="{0D108BD9-81ED-4DB2-BD59-A6C34878D82A}">
                    <a16:rowId xmlns:a16="http://schemas.microsoft.com/office/drawing/2014/main" val="197744671"/>
                  </a:ext>
                </a:extLst>
              </a:tr>
              <a:tr h="14303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.8.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Принять стажеров (1-4 чел.) с других предприятий для участия в реализации пилотного проекта в потоке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extLst>
                  <a:ext uri="{0D108BD9-81ED-4DB2-BD59-A6C34878D82A}">
                    <a16:rowId xmlns:a16="http://schemas.microsoft.com/office/drawing/2014/main" val="2075672001"/>
                  </a:ext>
                </a:extLst>
              </a:tr>
              <a:tr h="23469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.9.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Направить на обучение руководителей (уровня ЗГД) по темам: декомпозиция целей, эффективный </a:t>
                      </a:r>
                      <a:r>
                        <a:rPr lang="ru-RU" sz="1200" dirty="0" err="1">
                          <a:effectLst/>
                        </a:rPr>
                        <a:t>инфоцентр</a:t>
                      </a:r>
                      <a:r>
                        <a:rPr lang="ru-RU" sz="1200" dirty="0">
                          <a:effectLst/>
                        </a:rPr>
                        <a:t> - 2 дня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extLst>
                  <a:ext uri="{0D108BD9-81ED-4DB2-BD59-A6C34878D82A}">
                    <a16:rowId xmlns:a16="http://schemas.microsoft.com/office/drawing/2014/main" val="3774651958"/>
                  </a:ext>
                </a:extLst>
              </a:tr>
              <a:tr h="23469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.10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Разработать цели по повышению производительности труда для участков и цехов, связать их с целями всего предприятия и привязать к системе премирования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extLst>
                  <a:ext uri="{0D108BD9-81ED-4DB2-BD59-A6C34878D82A}">
                    <a16:rowId xmlns:a16="http://schemas.microsoft.com/office/drawing/2014/main" val="849138849"/>
                  </a:ext>
                </a:extLst>
              </a:tr>
            </a:tbl>
          </a:graphicData>
        </a:graphic>
      </p:graphicFrame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FE7512DC-BEF8-4873-9059-6C311870211D}"/>
              </a:ext>
            </a:extLst>
          </p:cNvPr>
          <p:cNvSpPr/>
          <p:nvPr/>
        </p:nvSpPr>
        <p:spPr>
          <a:xfrm>
            <a:off x="9829800" y="9537700"/>
            <a:ext cx="144463" cy="144463"/>
          </a:xfrm>
          <a:prstGeom prst="rect">
            <a:avLst/>
          </a:prstGeom>
          <a:solidFill>
            <a:srgbClr val="EEECE1"/>
          </a:solidFill>
          <a:ln w="31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7CA0D2EB-C9EF-4E9D-A5A1-48A8F3335168}"/>
              </a:ext>
            </a:extLst>
          </p:cNvPr>
          <p:cNvSpPr/>
          <p:nvPr/>
        </p:nvSpPr>
        <p:spPr>
          <a:xfrm>
            <a:off x="9829800" y="9980613"/>
            <a:ext cx="144463" cy="142875"/>
          </a:xfrm>
          <a:prstGeom prst="rect">
            <a:avLst/>
          </a:prstGeom>
          <a:solidFill>
            <a:srgbClr val="EEECE1"/>
          </a:solidFill>
          <a:ln w="31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18676044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9974" y="114301"/>
            <a:ext cx="8335961" cy="432197"/>
          </a:xfrm>
        </p:spPr>
        <p:txBody>
          <a:bodyPr/>
          <a:lstStyle/>
          <a:p>
            <a:r>
              <a:rPr lang="ru-RU" sz="2000" b="1" dirty="0"/>
              <a:t>Оценочный чек-лист</a:t>
            </a:r>
            <a:endParaRPr lang="ru-RU" sz="2000" dirty="0"/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9BB08DA7-76EE-4714-87DB-A990588D0C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4463006"/>
              </p:ext>
            </p:extLst>
          </p:nvPr>
        </p:nvGraphicFramePr>
        <p:xfrm>
          <a:off x="199975" y="902848"/>
          <a:ext cx="8735596" cy="3291840"/>
        </p:xfrm>
        <a:graphic>
          <a:graphicData uri="http://schemas.openxmlformats.org/drawingml/2006/table">
            <a:tbl>
              <a:tblPr firstRow="1" firstCol="1" bandRow="1">
                <a:tableStyleId>{00A15C55-8517-42AA-B614-E9B94910E393}</a:tableStyleId>
              </a:tblPr>
              <a:tblGrid>
                <a:gridCol w="415502">
                  <a:extLst>
                    <a:ext uri="{9D8B030D-6E8A-4147-A177-3AD203B41FA5}">
                      <a16:colId xmlns:a16="http://schemas.microsoft.com/office/drawing/2014/main" val="3129026295"/>
                    </a:ext>
                  </a:extLst>
                </a:gridCol>
                <a:gridCol w="8088128">
                  <a:extLst>
                    <a:ext uri="{9D8B030D-6E8A-4147-A177-3AD203B41FA5}">
                      <a16:colId xmlns:a16="http://schemas.microsoft.com/office/drawing/2014/main" val="475760362"/>
                    </a:ext>
                  </a:extLst>
                </a:gridCol>
                <a:gridCol w="231966">
                  <a:extLst>
                    <a:ext uri="{9D8B030D-6E8A-4147-A177-3AD203B41FA5}">
                      <a16:colId xmlns:a16="http://schemas.microsoft.com/office/drawing/2014/main" val="673653598"/>
                    </a:ext>
                  </a:extLst>
                </a:gridCol>
              </a:tblGrid>
              <a:tr h="11734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№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Критерий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 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extLst>
                  <a:ext uri="{0D108BD9-81ED-4DB2-BD59-A6C34878D82A}">
                    <a16:rowId xmlns:a16="http://schemas.microsoft.com/office/drawing/2014/main" val="2004264509"/>
                  </a:ext>
                </a:extLst>
              </a:tr>
              <a:tr h="140816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2.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Доля гражданской продукции в общей выручке не менее 80%, либо: </a:t>
                      </a:r>
                      <a:br>
                        <a:rPr lang="ru-RU" sz="1200" dirty="0">
                          <a:effectLst/>
                        </a:rPr>
                      </a:br>
                      <a:r>
                        <a:rPr lang="ru-RU" sz="1200" dirty="0">
                          <a:effectLst/>
                        </a:rPr>
                        <a:t>1) Предприятие готово предоставлять полную бухгалтерскую и налоговую отчетность в соответствии с соглашением (по всему предприятию, без выделения гражданской части из общей выручки и других финансовых показателей);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2) На предприятии отсутствует пересечение потоков гражданской и военной продукции (отсутствуют риски остановки процесса производства гражданской продукции, для выполнения срочных ГОЗ);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3)Отсутствует ограничение, связанное с доступом сотрудников ФЦК на производственные участки/цеха, в периметре которых планируется оптимизировать пилотный поток (проект) в связи с режимом, связанным с охраной информации, отнесенной к государственной тайне (не требуется форма допуска к информации составляющей государственную тайну);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4)Предприятие имеет подтверждённый заказами и контрактами потенциал увеличения производительности труда. 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extLst>
                  <a:ext uri="{0D108BD9-81ED-4DB2-BD59-A6C34878D82A}">
                    <a16:rowId xmlns:a16="http://schemas.microsoft.com/office/drawing/2014/main" val="1028791026"/>
                  </a:ext>
                </a:extLst>
              </a:tr>
              <a:tr h="23469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3.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Предлагаемый для оптимизации продукт (для реализации пилотного проекта) занимает значительную долю в выручке предприятия (не менее 10%)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extLst>
                  <a:ext uri="{0D108BD9-81ED-4DB2-BD59-A6C34878D82A}">
                    <a16:rowId xmlns:a16="http://schemas.microsoft.com/office/drawing/2014/main" val="2700857683"/>
                  </a:ext>
                </a:extLst>
              </a:tr>
              <a:tr h="20132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4.1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Выбранный для оптимизации продукт имеет потенциал роста продаж (увеличение выработки востребовано) 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398" marR="9398" marT="0" marB="0"/>
                </a:tc>
                <a:tc>
                  <a:txBody>
                    <a:bodyPr/>
                    <a:lstStyle/>
                    <a:p>
                      <a:endParaRPr lang="ru-RU" sz="1200" dirty="0"/>
                    </a:p>
                  </a:txBody>
                  <a:tcPr marL="9398" marR="9398" marT="0" marB="0"/>
                </a:tc>
                <a:extLst>
                  <a:ext uri="{0D108BD9-81ED-4DB2-BD59-A6C34878D82A}">
                    <a16:rowId xmlns:a16="http://schemas.microsoft.com/office/drawing/2014/main" val="1138839343"/>
                  </a:ext>
                </a:extLst>
              </a:tr>
            </a:tbl>
          </a:graphicData>
        </a:graphic>
      </p:graphicFrame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FE7512DC-BEF8-4873-9059-6C311870211D}"/>
              </a:ext>
            </a:extLst>
          </p:cNvPr>
          <p:cNvSpPr/>
          <p:nvPr/>
        </p:nvSpPr>
        <p:spPr>
          <a:xfrm>
            <a:off x="9829800" y="9537700"/>
            <a:ext cx="144463" cy="144463"/>
          </a:xfrm>
          <a:prstGeom prst="rect">
            <a:avLst/>
          </a:prstGeom>
          <a:solidFill>
            <a:srgbClr val="EEECE1"/>
          </a:solidFill>
          <a:ln w="31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7CA0D2EB-C9EF-4E9D-A5A1-48A8F3335168}"/>
              </a:ext>
            </a:extLst>
          </p:cNvPr>
          <p:cNvSpPr/>
          <p:nvPr/>
        </p:nvSpPr>
        <p:spPr>
          <a:xfrm>
            <a:off x="9829800" y="9980613"/>
            <a:ext cx="144463" cy="142875"/>
          </a:xfrm>
          <a:prstGeom prst="rect">
            <a:avLst/>
          </a:prstGeom>
          <a:solidFill>
            <a:srgbClr val="EEECE1"/>
          </a:solidFill>
          <a:ln w="31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0429200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9974" y="114301"/>
            <a:ext cx="8335961" cy="432197"/>
          </a:xfrm>
        </p:spPr>
        <p:txBody>
          <a:bodyPr/>
          <a:lstStyle/>
          <a:p>
            <a:r>
              <a:rPr lang="ru-RU" sz="2000" b="1" dirty="0"/>
              <a:t>Оценочный чек-лист</a:t>
            </a:r>
            <a:endParaRPr lang="ru-RU" sz="2000" dirty="0"/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FE7512DC-BEF8-4873-9059-6C311870211D}"/>
              </a:ext>
            </a:extLst>
          </p:cNvPr>
          <p:cNvSpPr/>
          <p:nvPr/>
        </p:nvSpPr>
        <p:spPr>
          <a:xfrm>
            <a:off x="9829800" y="9537700"/>
            <a:ext cx="144463" cy="144463"/>
          </a:xfrm>
          <a:prstGeom prst="rect">
            <a:avLst/>
          </a:prstGeom>
          <a:solidFill>
            <a:srgbClr val="EEECE1"/>
          </a:solidFill>
          <a:ln w="31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7CA0D2EB-C9EF-4E9D-A5A1-48A8F3335168}"/>
              </a:ext>
            </a:extLst>
          </p:cNvPr>
          <p:cNvSpPr/>
          <p:nvPr/>
        </p:nvSpPr>
        <p:spPr>
          <a:xfrm>
            <a:off x="9829800" y="9980613"/>
            <a:ext cx="144463" cy="142875"/>
          </a:xfrm>
          <a:prstGeom prst="rect">
            <a:avLst/>
          </a:prstGeom>
          <a:solidFill>
            <a:srgbClr val="EEECE1"/>
          </a:solidFill>
          <a:ln w="31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7BECC260-876B-4604-9E3D-4EB5B53BA86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1029999"/>
              </p:ext>
            </p:extLst>
          </p:nvPr>
        </p:nvGraphicFramePr>
        <p:xfrm>
          <a:off x="284480" y="579122"/>
          <a:ext cx="8554720" cy="4258462"/>
        </p:xfrm>
        <a:graphic>
          <a:graphicData uri="http://schemas.openxmlformats.org/drawingml/2006/table">
            <a:tbl>
              <a:tblPr firstRow="1" firstCol="1" bandRow="1">
                <a:tableStyleId>{00A15C55-8517-42AA-B614-E9B94910E393}</a:tableStyleId>
              </a:tblPr>
              <a:tblGrid>
                <a:gridCol w="448385">
                  <a:extLst>
                    <a:ext uri="{9D8B030D-6E8A-4147-A177-3AD203B41FA5}">
                      <a16:colId xmlns:a16="http://schemas.microsoft.com/office/drawing/2014/main" val="681264839"/>
                    </a:ext>
                  </a:extLst>
                </a:gridCol>
                <a:gridCol w="7781215">
                  <a:extLst>
                    <a:ext uri="{9D8B030D-6E8A-4147-A177-3AD203B41FA5}">
                      <a16:colId xmlns:a16="http://schemas.microsoft.com/office/drawing/2014/main" val="3580467353"/>
                    </a:ext>
                  </a:extLst>
                </a:gridCol>
                <a:gridCol w="325120">
                  <a:extLst>
                    <a:ext uri="{9D8B030D-6E8A-4147-A177-3AD203B41FA5}">
                      <a16:colId xmlns:a16="http://schemas.microsoft.com/office/drawing/2014/main" val="1623102272"/>
                    </a:ext>
                  </a:extLst>
                </a:gridCol>
              </a:tblGrid>
              <a:tr h="17867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№</a:t>
                      </a:r>
                    </a:p>
                  </a:txBody>
                  <a:tcPr marL="13109" marR="13109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ритерий</a:t>
                      </a:r>
                    </a:p>
                  </a:txBody>
                  <a:tcPr marL="13109" marR="13109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3109" marR="13109" marT="0" marB="0"/>
                </a:tc>
                <a:extLst>
                  <a:ext uri="{0D108BD9-81ED-4DB2-BD59-A6C34878D82A}">
                    <a16:rowId xmlns:a16="http://schemas.microsoft.com/office/drawing/2014/main" val="452894877"/>
                  </a:ext>
                </a:extLst>
              </a:tr>
              <a:tr h="35735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4.2.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109" marR="13109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Предприятие подтверждает базовую загрузку производственных мощностей путем предоставления подписанных договоров с клиентами* 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109" marR="13109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ru-RU" sz="12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3109" marR="13109" marT="0" marB="0"/>
                </a:tc>
                <a:extLst>
                  <a:ext uri="{0D108BD9-81ED-4DB2-BD59-A6C34878D82A}">
                    <a16:rowId xmlns:a16="http://schemas.microsoft.com/office/drawing/2014/main" val="3894498290"/>
                  </a:ext>
                </a:extLst>
              </a:tr>
              <a:tr h="17867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5.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109" marR="13109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Поток по производству выбранного продукта имеет потенциал быстрых улучшений: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109" marR="13109" marT="0" marB="0"/>
                </a:tc>
                <a:tc>
                  <a:txBody>
                    <a:bodyPr/>
                    <a:lstStyle/>
                    <a:p>
                      <a:r>
                        <a:rPr lang="ru-RU" sz="1200">
                          <a:effectLst/>
                        </a:rPr>
                        <a:t> </a:t>
                      </a:r>
                      <a:endParaRPr lang="ru-RU" sz="1200"/>
                    </a:p>
                  </a:txBody>
                  <a:tcPr marL="13109" marR="13109" marT="0" marB="0"/>
                </a:tc>
                <a:extLst>
                  <a:ext uri="{0D108BD9-81ED-4DB2-BD59-A6C34878D82A}">
                    <a16:rowId xmlns:a16="http://schemas.microsoft.com/office/drawing/2014/main" val="811809471"/>
                  </a:ext>
                </a:extLst>
              </a:tr>
              <a:tr h="17867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5.1.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109" marR="13109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Цикл производства (время полного изготовления продукта) не превышает 1 месяц*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109" marR="13109" marT="0" marB="0"/>
                </a:tc>
                <a:tc>
                  <a:txBody>
                    <a:bodyPr/>
                    <a:lstStyle/>
                    <a:p>
                      <a:endParaRPr lang="ru-RU" sz="1200" dirty="0"/>
                    </a:p>
                  </a:txBody>
                  <a:tcPr marL="13109" marR="13109" marT="0" marB="0"/>
                </a:tc>
                <a:extLst>
                  <a:ext uri="{0D108BD9-81ED-4DB2-BD59-A6C34878D82A}">
                    <a16:rowId xmlns:a16="http://schemas.microsoft.com/office/drawing/2014/main" val="1652362523"/>
                  </a:ext>
                </a:extLst>
              </a:tr>
              <a:tr h="35735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5.2.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109" marR="13109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Присутствует достаточное количество неавтоматизированных рабочих мест (есть заметный потенциал повышения производительности неавтоматизированных операций)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109" marR="13109" marT="0" marB="0"/>
                </a:tc>
                <a:tc>
                  <a:txBody>
                    <a:bodyPr/>
                    <a:lstStyle/>
                    <a:p>
                      <a:endParaRPr lang="ru-RU" sz="1200"/>
                    </a:p>
                  </a:txBody>
                  <a:tcPr marL="13109" marR="13109" marT="0" marB="0"/>
                </a:tc>
                <a:extLst>
                  <a:ext uri="{0D108BD9-81ED-4DB2-BD59-A6C34878D82A}">
                    <a16:rowId xmlns:a16="http://schemas.microsoft.com/office/drawing/2014/main" val="2524941203"/>
                  </a:ext>
                </a:extLst>
              </a:tr>
              <a:tr h="35735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5.3.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109" marR="13109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Сотрудники предприятия признают наличие проблем, связанных с простоями оборудования (переналадки, обслуживание, ППР, аварийные ремонты) 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109" marR="13109" marT="0" marB="0"/>
                </a:tc>
                <a:tc>
                  <a:txBody>
                    <a:bodyPr/>
                    <a:lstStyle/>
                    <a:p>
                      <a:endParaRPr lang="ru-RU" sz="1200"/>
                    </a:p>
                  </a:txBody>
                  <a:tcPr marL="13109" marR="13109" marT="0" marB="0"/>
                </a:tc>
                <a:extLst>
                  <a:ext uri="{0D108BD9-81ED-4DB2-BD59-A6C34878D82A}">
                    <a16:rowId xmlns:a16="http://schemas.microsoft.com/office/drawing/2014/main" val="2928747854"/>
                  </a:ext>
                </a:extLst>
              </a:tr>
              <a:tr h="19466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5.4.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109" marR="13109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Сотрудники предприятия признают наличие проблем, связанных с качеством продукции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109" marR="13109" marT="0" marB="0"/>
                </a:tc>
                <a:tc>
                  <a:txBody>
                    <a:bodyPr/>
                    <a:lstStyle/>
                    <a:p>
                      <a:endParaRPr lang="ru-RU" sz="1200"/>
                    </a:p>
                  </a:txBody>
                  <a:tcPr marL="13109" marR="13109" marT="0" marB="0"/>
                </a:tc>
                <a:extLst>
                  <a:ext uri="{0D108BD9-81ED-4DB2-BD59-A6C34878D82A}">
                    <a16:rowId xmlns:a16="http://schemas.microsoft.com/office/drawing/2014/main" val="352535753"/>
                  </a:ext>
                </a:extLst>
              </a:tr>
              <a:tr h="17867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5.5.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109" marR="13109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В потоке имеются избыточные запасы между операциями и на складах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109" marR="13109" marT="0" marB="0"/>
                </a:tc>
                <a:tc>
                  <a:txBody>
                    <a:bodyPr/>
                    <a:lstStyle/>
                    <a:p>
                      <a:endParaRPr lang="ru-RU" sz="1200"/>
                    </a:p>
                  </a:txBody>
                  <a:tcPr marL="13109" marR="13109" marT="0" marB="0"/>
                </a:tc>
                <a:extLst>
                  <a:ext uri="{0D108BD9-81ED-4DB2-BD59-A6C34878D82A}">
                    <a16:rowId xmlns:a16="http://schemas.microsoft.com/office/drawing/2014/main" val="1846981897"/>
                  </a:ext>
                </a:extLst>
              </a:tr>
              <a:tr h="35735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5.6.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109" marR="13109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Передача изделий между операциями производится необоснованно большими партиями с применением специальных средств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109" marR="13109" marT="0" marB="0"/>
                </a:tc>
                <a:tc>
                  <a:txBody>
                    <a:bodyPr/>
                    <a:lstStyle/>
                    <a:p>
                      <a:endParaRPr lang="ru-RU" sz="1200"/>
                    </a:p>
                  </a:txBody>
                  <a:tcPr marL="13109" marR="13109" marT="0" marB="0"/>
                </a:tc>
                <a:extLst>
                  <a:ext uri="{0D108BD9-81ED-4DB2-BD59-A6C34878D82A}">
                    <a16:rowId xmlns:a16="http://schemas.microsoft.com/office/drawing/2014/main" val="2712609554"/>
                  </a:ext>
                </a:extLst>
              </a:tr>
              <a:tr h="35735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5.7.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109" marR="13109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В потоке имеются пересечения с другими продуктами, есть избыточная транспортировка из-за неоптимальной расстановки оборудования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109" marR="13109" marT="0" marB="0"/>
                </a:tc>
                <a:tc>
                  <a:txBody>
                    <a:bodyPr/>
                    <a:lstStyle/>
                    <a:p>
                      <a:endParaRPr lang="ru-RU" sz="1200"/>
                    </a:p>
                  </a:txBody>
                  <a:tcPr marL="13109" marR="13109" marT="0" marB="0"/>
                </a:tc>
                <a:extLst>
                  <a:ext uri="{0D108BD9-81ED-4DB2-BD59-A6C34878D82A}">
                    <a16:rowId xmlns:a16="http://schemas.microsoft.com/office/drawing/2014/main" val="3419135554"/>
                  </a:ext>
                </a:extLst>
              </a:tr>
              <a:tr h="18360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5.8.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109" marR="13109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Неэффективная организация рабочих мест: захламленность, отсутствие стандарта содержания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109" marR="13109" marT="0" marB="0"/>
                </a:tc>
                <a:tc>
                  <a:txBody>
                    <a:bodyPr/>
                    <a:lstStyle/>
                    <a:p>
                      <a:endParaRPr lang="ru-RU" sz="1200"/>
                    </a:p>
                  </a:txBody>
                  <a:tcPr marL="13109" marR="13109" marT="0" marB="0"/>
                </a:tc>
                <a:extLst>
                  <a:ext uri="{0D108BD9-81ED-4DB2-BD59-A6C34878D82A}">
                    <a16:rowId xmlns:a16="http://schemas.microsoft.com/office/drawing/2014/main" val="3306082777"/>
                  </a:ext>
                </a:extLst>
              </a:tr>
              <a:tr h="22259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5.9.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109" marR="13109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Низкий уровень культуры безопасности: сотрудники не носят СИЗ, на полу нет разметки и др.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109" marR="13109" marT="0" marB="0"/>
                </a:tc>
                <a:tc>
                  <a:txBody>
                    <a:bodyPr/>
                    <a:lstStyle/>
                    <a:p>
                      <a:endParaRPr lang="ru-RU" sz="1200"/>
                    </a:p>
                  </a:txBody>
                  <a:tcPr marL="13109" marR="13109" marT="0" marB="0"/>
                </a:tc>
                <a:extLst>
                  <a:ext uri="{0D108BD9-81ED-4DB2-BD59-A6C34878D82A}">
                    <a16:rowId xmlns:a16="http://schemas.microsoft.com/office/drawing/2014/main" val="1714605417"/>
                  </a:ext>
                </a:extLst>
              </a:tr>
              <a:tr h="35735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5.10.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109" marR="13109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В цехах отсутствуют информационные стенды, либо их содержание не актуально (устарело, не обновляется)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109" marR="13109" marT="0" marB="0"/>
                </a:tc>
                <a:tc>
                  <a:txBody>
                    <a:bodyPr/>
                    <a:lstStyle/>
                    <a:p>
                      <a:endParaRPr lang="ru-RU" sz="1200"/>
                    </a:p>
                  </a:txBody>
                  <a:tcPr marL="13109" marR="13109" marT="0" marB="0"/>
                </a:tc>
                <a:extLst>
                  <a:ext uri="{0D108BD9-81ED-4DB2-BD59-A6C34878D82A}">
                    <a16:rowId xmlns:a16="http://schemas.microsoft.com/office/drawing/2014/main" val="1121766302"/>
                  </a:ext>
                </a:extLst>
              </a:tr>
              <a:tr h="35735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5.11.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109" marR="13109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Визуально заметны незанятые, простаивающие сотрудники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109" marR="13109" marT="0" marB="0"/>
                </a:tc>
                <a:tc>
                  <a:txBody>
                    <a:bodyPr/>
                    <a:lstStyle/>
                    <a:p>
                      <a:endParaRPr lang="ru-RU" sz="1200"/>
                    </a:p>
                  </a:txBody>
                  <a:tcPr marL="13109" marR="13109" marT="0" marB="0"/>
                </a:tc>
                <a:extLst>
                  <a:ext uri="{0D108BD9-81ED-4DB2-BD59-A6C34878D82A}">
                    <a16:rowId xmlns:a16="http://schemas.microsoft.com/office/drawing/2014/main" val="540747816"/>
                  </a:ext>
                </a:extLst>
              </a:tr>
              <a:tr h="35735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5.12.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109" marR="13109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Собственная развитая производственная система отсутствует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109" marR="13109" marT="0" marB="0"/>
                </a:tc>
                <a:tc>
                  <a:txBody>
                    <a:bodyPr/>
                    <a:lstStyle/>
                    <a:p>
                      <a:endParaRPr lang="ru-RU" sz="1200" dirty="0"/>
                    </a:p>
                  </a:txBody>
                  <a:tcPr marL="13109" marR="13109" marT="0" marB="0"/>
                </a:tc>
                <a:extLst>
                  <a:ext uri="{0D108BD9-81ED-4DB2-BD59-A6C34878D82A}">
                    <a16:rowId xmlns:a16="http://schemas.microsoft.com/office/drawing/2014/main" val="5292919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30057844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03515" y="12924"/>
            <a:ext cx="8940485" cy="8534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2000" b="1" dirty="0"/>
              <a:t>Один из первых шагов вхождения предприятия в проект –  подписание соглашения с АНО «ФЦК»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283097" y="1527549"/>
            <a:ext cx="5585047" cy="440745"/>
          </a:xfrm>
          <a:prstGeom prst="roundRect">
            <a:avLst>
              <a:gd name="adj" fmla="val 50000"/>
            </a:avLst>
          </a:prstGeom>
          <a:solidFill>
            <a:srgbClr val="1E86C8"/>
          </a:solidFill>
          <a:ln w="25400" cap="flat" cmpd="sng" algn="ctr">
            <a:solidFill>
              <a:srgbClr val="1E86C8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2. ОПИСЫВАЕТ ЦЕЛЕВЫЕ ЗНАЧЕНИЯ ПРОЕКТА</a:t>
            </a: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266611" y="2085246"/>
            <a:ext cx="5601533" cy="547317"/>
          </a:xfrm>
          <a:prstGeom prst="roundRect">
            <a:avLst>
              <a:gd name="adj" fmla="val 50000"/>
            </a:avLst>
          </a:prstGeom>
          <a:solidFill>
            <a:srgbClr val="1E86C8"/>
          </a:solidFill>
          <a:ln w="25400" cap="flat" cmpd="sng" algn="ctr">
            <a:solidFill>
              <a:srgbClr val="1E86C8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3. ПОМОГАЕТ В ПОЛУЧЕНИИ ЛЬГОТНОГО ФИНАНСИРОВАНИЯ</a:t>
            </a: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266611" y="2733318"/>
            <a:ext cx="5601533" cy="532803"/>
          </a:xfrm>
          <a:prstGeom prst="roundRect">
            <a:avLst>
              <a:gd name="adj" fmla="val 50000"/>
            </a:avLst>
          </a:prstGeom>
          <a:solidFill>
            <a:srgbClr val="1E86C8"/>
          </a:solidFill>
          <a:ln w="25400" cap="flat" cmpd="sng" algn="ctr">
            <a:solidFill>
              <a:srgbClr val="1E86C8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4. 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ОПИСЫВАЕТ РОЛИ </a:t>
            </a:r>
            <a:r>
              <a:rPr kumimoji="0" lang="ru-RU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И ОТВЕТСТВЕННОСТЬ 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УЧАСТНИКОВ ПРОЕКТА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266611" y="3372693"/>
            <a:ext cx="5601533" cy="440745"/>
          </a:xfrm>
          <a:prstGeom prst="roundRect">
            <a:avLst>
              <a:gd name="adj" fmla="val 50000"/>
            </a:avLst>
          </a:prstGeom>
          <a:solidFill>
            <a:srgbClr val="1E86C8"/>
          </a:solidFill>
          <a:ln w="25400" cap="flat" cmpd="sng" algn="ctr">
            <a:solidFill>
              <a:srgbClr val="1E86C8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5. ОПИСЫВАЕТ ПРОЦЕСС РЕАЛИЗАЦИИ ПРОЕКТА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266611" y="1005126"/>
            <a:ext cx="5601533" cy="440745"/>
          </a:xfrm>
          <a:prstGeom prst="roundRect">
            <a:avLst>
              <a:gd name="adj" fmla="val 50000"/>
            </a:avLst>
          </a:prstGeom>
          <a:solidFill>
            <a:srgbClr val="1E86C8"/>
          </a:solidFill>
          <a:ln w="25400" cap="flat" cmpd="sng" algn="ctr">
            <a:solidFill>
              <a:srgbClr val="1E86C8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1. НЕ ВЛЕЧЕТ ФИНАНСОВЫХ ЗАТРАТ</a:t>
            </a:r>
          </a:p>
        </p:txBody>
      </p:sp>
      <p:sp>
        <p:nvSpPr>
          <p:cNvPr id="17" name="Прямоугольник 16"/>
          <p:cNvSpPr/>
          <p:nvPr>
            <p:custDataLst>
              <p:tags r:id="rId1"/>
            </p:custDataLst>
          </p:nvPr>
        </p:nvSpPr>
        <p:spPr>
          <a:xfrm>
            <a:off x="101758" y="4153784"/>
            <a:ext cx="89404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 eaLnBrk="1" hangingPunct="1"/>
            <a:r>
              <a:rPr lang="ru-RU" sz="1400" b="1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СОГЛАШЕНИЕ МЕЖДУ ПРЕДПРИЯТИЕМ-УЧАСТНИКОМ ПРОЕКТА И АНО «ФЦК» = </a:t>
            </a:r>
          </a:p>
          <a:p>
            <a:pPr algn="ctr" defTabSz="914400" eaLnBrk="1" hangingPunct="1"/>
            <a:r>
              <a:rPr lang="ru-RU" sz="1400" b="1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«ДЖЕНТЕЛЬМЕНСКОЕ СОГЛАШЕНИЕ»</a:t>
            </a:r>
            <a:endParaRPr lang="ru-RU" sz="1400" dirty="0">
              <a:solidFill>
                <a:prstClr val="black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7860155D-B874-4F29-9150-32969D65AB94}"/>
              </a:ext>
            </a:extLst>
          </p:cNvPr>
          <p:cNvSpPr/>
          <p:nvPr/>
        </p:nvSpPr>
        <p:spPr>
          <a:xfrm>
            <a:off x="6183017" y="1160559"/>
            <a:ext cx="2838517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kern="0" dirty="0">
                <a:solidFill>
                  <a:srgbClr val="CA3568"/>
                </a:solidFill>
                <a:cs typeface="Arial" panose="020B0604020202020204" pitchFamily="34" charset="0"/>
              </a:rPr>
              <a:t>Подписание соглашения является: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2000" b="1" kern="0" dirty="0">
                <a:solidFill>
                  <a:srgbClr val="CA3568"/>
                </a:solidFill>
                <a:cs typeface="Arial" panose="020B0604020202020204" pitchFamily="34" charset="0"/>
              </a:rPr>
              <a:t>обязательным условием включения в проект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2000" b="1" kern="0" dirty="0">
                <a:solidFill>
                  <a:srgbClr val="CA3568"/>
                </a:solidFill>
                <a:cs typeface="Arial" panose="020B0604020202020204" pitchFamily="34" charset="0"/>
              </a:rPr>
              <a:t>типовым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2000" b="1" kern="0" dirty="0">
                <a:solidFill>
                  <a:srgbClr val="CA3568"/>
                </a:solidFill>
                <a:cs typeface="Arial" panose="020B0604020202020204" pitchFamily="34" charset="0"/>
              </a:rPr>
              <a:t>не подлежит изменению</a:t>
            </a:r>
          </a:p>
        </p:txBody>
      </p:sp>
    </p:spTree>
    <p:extLst>
      <p:ext uri="{BB962C8B-B14F-4D97-AF65-F5344CB8AC3E}">
        <p14:creationId xmlns:p14="http://schemas.microsoft.com/office/powerpoint/2010/main" val="761656225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03515" y="12924"/>
            <a:ext cx="8940485" cy="8534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2000" b="1" dirty="0"/>
              <a:t>Контакты специалистов, к которым Вы можете обратиться</a:t>
            </a:r>
          </a:p>
        </p:txBody>
      </p:sp>
      <p:sp>
        <p:nvSpPr>
          <p:cNvPr id="18" name="TextBox 17"/>
          <p:cNvSpPr txBox="1"/>
          <p:nvPr>
            <p:custDataLst>
              <p:tags r:id="rId1"/>
            </p:custDataLst>
          </p:nvPr>
        </p:nvSpPr>
        <p:spPr>
          <a:xfrm>
            <a:off x="2020253" y="1596683"/>
            <a:ext cx="5274588" cy="866155"/>
          </a:xfrm>
          <a:prstGeom prst="rect">
            <a:avLst/>
          </a:prstGeom>
          <a:noFill/>
        </p:spPr>
        <p:txBody>
          <a:bodyPr wrap="square" lIns="65298" tIns="32649" rIns="65298" bIns="32649" rtlCol="0">
            <a:spAutoFit/>
          </a:bodyPr>
          <a:lstStyle>
            <a:defPPr>
              <a:defRPr lang="en-US"/>
            </a:defPPr>
            <a:lvl1pPr defTabSz="914180">
              <a:defRPr sz="1400" b="1">
                <a:solidFill>
                  <a:srgbClr val="000000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dirty="0">
                <a:latin typeface="+mj-lt"/>
              </a:rPr>
              <a:t>Алексей Байшев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dirty="0">
                <a:latin typeface="+mj-lt"/>
              </a:rPr>
              <a:t>Руководитель проектного офиса</a:t>
            </a:r>
            <a:endParaRPr lang="en-US" sz="1200" b="0" dirty="0">
              <a:latin typeface="+mj-lt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dirty="0">
                <a:latin typeface="+mj-lt"/>
              </a:rPr>
              <a:t>Тел. 8 (916) 629 65 79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="0" i="1" dirty="0">
                <a:latin typeface="+mj-lt"/>
              </a:rPr>
              <a:t>E-mail: AYBayshev@pptrf.ru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020254" y="3283645"/>
            <a:ext cx="6364990" cy="835377"/>
          </a:xfrm>
          <a:prstGeom prst="rect">
            <a:avLst/>
          </a:prstGeom>
          <a:noFill/>
        </p:spPr>
        <p:txBody>
          <a:bodyPr wrap="square" lIns="65298" tIns="32649" rIns="65298" bIns="32649" rtlCol="0">
            <a:spAutoFit/>
          </a:bodyPr>
          <a:lstStyle/>
          <a:p>
            <a:pPr defTabSz="91418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srgbClr val="000000"/>
                </a:solidFill>
                <a:latin typeface="+mj-lt"/>
              </a:rPr>
              <a:t>Ирина Жук</a:t>
            </a:r>
          </a:p>
          <a:p>
            <a:pPr defTabSz="91418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dirty="0">
                <a:solidFill>
                  <a:srgbClr val="000000"/>
                </a:solidFill>
                <a:latin typeface="+mj-lt"/>
              </a:rPr>
              <a:t>Заместитель генерального директора АНО «ФЦК» по обучению</a:t>
            </a:r>
            <a:endParaRPr lang="en-US" sz="1200" dirty="0">
              <a:solidFill>
                <a:srgbClr val="000000"/>
              </a:solidFill>
              <a:latin typeface="+mj-lt"/>
            </a:endParaRPr>
          </a:p>
          <a:p>
            <a:pPr defTabSz="91418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dirty="0">
                <a:solidFill>
                  <a:srgbClr val="000000"/>
                </a:solidFill>
                <a:latin typeface="+mj-lt"/>
              </a:rPr>
              <a:t>Тел. </a:t>
            </a:r>
            <a:r>
              <a:rPr lang="en-US" sz="1200" dirty="0">
                <a:solidFill>
                  <a:srgbClr val="000000"/>
                </a:solidFill>
                <a:latin typeface="+mj-lt"/>
              </a:rPr>
              <a:t>8 (985) 922 87 71</a:t>
            </a:r>
            <a:endParaRPr lang="ru-RU" sz="1200" dirty="0">
              <a:solidFill>
                <a:srgbClr val="000000"/>
              </a:solidFill>
              <a:latin typeface="+mj-lt"/>
            </a:endParaRPr>
          </a:p>
          <a:p>
            <a:pPr defTabSz="91418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i="1" dirty="0">
                <a:solidFill>
                  <a:srgbClr val="000000"/>
                </a:solidFill>
                <a:latin typeface="+mj-lt"/>
              </a:rPr>
              <a:t>E-mail</a:t>
            </a:r>
            <a:r>
              <a:rPr lang="ru-RU" sz="1200" i="1" dirty="0">
                <a:solidFill>
                  <a:srgbClr val="000000"/>
                </a:solidFill>
                <a:latin typeface="+mj-lt"/>
              </a:rPr>
              <a:t>: </a:t>
            </a:r>
            <a:r>
              <a:rPr lang="en-US" sz="1200" i="1" dirty="0">
                <a:solidFill>
                  <a:srgbClr val="000000"/>
                </a:solidFill>
                <a:latin typeface="+mj-lt"/>
              </a:rPr>
              <a:t>IAZhuk@pptrf.ru</a:t>
            </a:r>
            <a:endParaRPr lang="ru-RU" sz="1200" i="1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20" name="Пятиугольник 19"/>
          <p:cNvSpPr/>
          <p:nvPr>
            <p:custDataLst>
              <p:tags r:id="rId2"/>
            </p:custDataLst>
          </p:nvPr>
        </p:nvSpPr>
        <p:spPr>
          <a:xfrm>
            <a:off x="613705" y="734646"/>
            <a:ext cx="1226548" cy="737992"/>
          </a:xfrm>
          <a:prstGeom prst="homePlate">
            <a:avLst>
              <a:gd name="adj" fmla="val 5883"/>
            </a:avLst>
          </a:prstGeom>
          <a:solidFill>
            <a:sysClr val="window" lastClr="FFFFFF">
              <a:lumMod val="85000"/>
            </a:sys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31985" tIns="0" rIns="0" bIns="0" rtlCol="0" anchor="ctr"/>
          <a:lstStyle/>
          <a:p>
            <a:pPr algn="ctr" defTabSz="91202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900" b="1" kern="0" dirty="0">
              <a:solidFill>
                <a:prstClr val="black"/>
              </a:solidFill>
              <a:latin typeface="+mj-lt"/>
              <a:cs typeface="Arial" panose="020B0604020202020204" pitchFamily="34" charset="0"/>
            </a:endParaRPr>
          </a:p>
          <a:p>
            <a:pPr algn="ctr" defTabSz="91202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900" b="1" kern="0" dirty="0">
              <a:solidFill>
                <a:prstClr val="black"/>
              </a:solidFill>
              <a:latin typeface="+mj-lt"/>
              <a:cs typeface="Arial" panose="020B0604020202020204" pitchFamily="34" charset="0"/>
            </a:endParaRPr>
          </a:p>
          <a:p>
            <a:pPr algn="ctr" defTabSz="91202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kern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ДЕКОМПОЗИЦИЯ</a:t>
            </a:r>
            <a:br>
              <a:rPr lang="ru-RU" sz="900" b="1" kern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</a:br>
            <a:r>
              <a:rPr lang="ru-RU" sz="900" b="1" kern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ЦЕЛЕЙ</a:t>
            </a:r>
          </a:p>
        </p:txBody>
      </p:sp>
      <p:sp>
        <p:nvSpPr>
          <p:cNvPr id="21" name="Пятиугольник 20"/>
          <p:cNvSpPr/>
          <p:nvPr>
            <p:custDataLst>
              <p:tags r:id="rId3"/>
            </p:custDataLst>
          </p:nvPr>
        </p:nvSpPr>
        <p:spPr>
          <a:xfrm>
            <a:off x="613705" y="1561206"/>
            <a:ext cx="1226548" cy="775527"/>
          </a:xfrm>
          <a:prstGeom prst="homePlate">
            <a:avLst>
              <a:gd name="adj" fmla="val 5614"/>
            </a:avLst>
          </a:prstGeom>
          <a:solidFill>
            <a:srgbClr val="3BBEED">
              <a:lumMod val="40000"/>
              <a:lumOff val="60000"/>
            </a:srgb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31985" tIns="0" rIns="0" bIns="0" rtlCol="0" anchor="ctr"/>
          <a:lstStyle/>
          <a:p>
            <a:pPr algn="ctr" defTabSz="91202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900" b="1" kern="0" dirty="0">
              <a:solidFill>
                <a:prstClr val="black"/>
              </a:solidFill>
              <a:latin typeface="+mj-lt"/>
              <a:cs typeface="Arial" panose="020B0604020202020204" pitchFamily="34" charset="0"/>
            </a:endParaRPr>
          </a:p>
          <a:p>
            <a:pPr algn="ctr" defTabSz="91202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900" b="1" kern="0" dirty="0">
              <a:solidFill>
                <a:prstClr val="black"/>
              </a:solidFill>
              <a:latin typeface="+mj-lt"/>
              <a:cs typeface="Arial" panose="020B0604020202020204" pitchFamily="34" charset="0"/>
            </a:endParaRPr>
          </a:p>
          <a:p>
            <a:pPr algn="ctr" defTabSz="91202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900" b="1" kern="0" dirty="0">
              <a:solidFill>
                <a:prstClr val="black"/>
              </a:solidFill>
              <a:latin typeface="+mj-lt"/>
              <a:cs typeface="Arial" panose="020B0604020202020204" pitchFamily="34" charset="0"/>
            </a:endParaRPr>
          </a:p>
          <a:p>
            <a:pPr algn="ctr" defTabSz="91202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kern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ПОТОКИ</a:t>
            </a:r>
          </a:p>
        </p:txBody>
      </p:sp>
      <p:sp>
        <p:nvSpPr>
          <p:cNvPr id="22" name="Пятиугольник 21"/>
          <p:cNvSpPr/>
          <p:nvPr>
            <p:custDataLst>
              <p:tags r:id="rId4"/>
            </p:custDataLst>
          </p:nvPr>
        </p:nvSpPr>
        <p:spPr>
          <a:xfrm>
            <a:off x="613705" y="3326934"/>
            <a:ext cx="1226548" cy="737992"/>
          </a:xfrm>
          <a:prstGeom prst="homePlate">
            <a:avLst>
              <a:gd name="adj" fmla="val 7344"/>
            </a:avLst>
          </a:prstGeom>
          <a:solidFill>
            <a:srgbClr val="9BBB59">
              <a:lumMod val="60000"/>
              <a:lumOff val="40000"/>
            </a:srgb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31985" tIns="0" rIns="0" bIns="0" rtlCol="0" anchor="ctr"/>
          <a:lstStyle/>
          <a:p>
            <a:pPr algn="ctr" defTabSz="91202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900" b="1" kern="0" dirty="0">
              <a:solidFill>
                <a:prstClr val="black"/>
              </a:solidFill>
              <a:latin typeface="+mj-lt"/>
              <a:cs typeface="Arial" panose="020B0604020202020204" pitchFamily="34" charset="0"/>
            </a:endParaRPr>
          </a:p>
          <a:p>
            <a:pPr algn="ctr" defTabSz="91202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900" b="1" kern="0" dirty="0">
              <a:solidFill>
                <a:prstClr val="black"/>
              </a:solidFill>
              <a:latin typeface="+mj-lt"/>
              <a:cs typeface="Arial" panose="020B0604020202020204" pitchFamily="34" charset="0"/>
            </a:endParaRPr>
          </a:p>
          <a:p>
            <a:pPr algn="ctr" defTabSz="91202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900" b="1" kern="0" dirty="0">
              <a:solidFill>
                <a:prstClr val="black"/>
              </a:solidFill>
              <a:latin typeface="+mj-lt"/>
              <a:cs typeface="Arial" panose="020B0604020202020204" pitchFamily="34" charset="0"/>
            </a:endParaRPr>
          </a:p>
          <a:p>
            <a:pPr algn="ctr" defTabSz="91202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kern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ОБУЧЕНИЕ</a:t>
            </a:r>
          </a:p>
        </p:txBody>
      </p:sp>
      <p:sp>
        <p:nvSpPr>
          <p:cNvPr id="23" name="Пятиугольник 22"/>
          <p:cNvSpPr/>
          <p:nvPr>
            <p:custDataLst>
              <p:tags r:id="rId5"/>
            </p:custDataLst>
          </p:nvPr>
        </p:nvSpPr>
        <p:spPr>
          <a:xfrm>
            <a:off x="613705" y="4119022"/>
            <a:ext cx="1226548" cy="724198"/>
          </a:xfrm>
          <a:prstGeom prst="homePlate">
            <a:avLst>
              <a:gd name="adj" fmla="val 8204"/>
            </a:avLst>
          </a:prstGeom>
          <a:solidFill>
            <a:srgbClr val="F79646">
              <a:lumMod val="60000"/>
              <a:lumOff val="40000"/>
            </a:srgb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91202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900" b="1" kern="0" dirty="0">
              <a:solidFill>
                <a:prstClr val="black"/>
              </a:solidFill>
              <a:latin typeface="+mj-lt"/>
              <a:cs typeface="Arial" panose="020B0604020202020204" pitchFamily="34" charset="0"/>
            </a:endParaRPr>
          </a:p>
          <a:p>
            <a:pPr algn="ctr" defTabSz="91202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900" b="1" kern="0" dirty="0">
              <a:solidFill>
                <a:prstClr val="black"/>
              </a:solidFill>
              <a:latin typeface="+mj-lt"/>
              <a:cs typeface="Arial" panose="020B0604020202020204" pitchFamily="34" charset="0"/>
            </a:endParaRPr>
          </a:p>
          <a:p>
            <a:pPr algn="ctr" defTabSz="91202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900" b="1" kern="0" dirty="0">
              <a:solidFill>
                <a:prstClr val="black"/>
              </a:solidFill>
              <a:latin typeface="+mj-lt"/>
              <a:cs typeface="Arial" panose="020B0604020202020204" pitchFamily="34" charset="0"/>
            </a:endParaRPr>
          </a:p>
          <a:p>
            <a:pPr algn="ctr" defTabSz="91202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kern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МОТИВАЦИЯ</a:t>
            </a:r>
            <a:br>
              <a:rPr lang="ru-RU" sz="900" b="1" kern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</a:br>
            <a:r>
              <a:rPr lang="ru-RU" sz="900" b="1" kern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И ВОВЛЕЧЕНИЕ</a:t>
            </a:r>
          </a:p>
        </p:txBody>
      </p:sp>
      <p:sp>
        <p:nvSpPr>
          <p:cNvPr id="24" name="Пятиугольник 23"/>
          <p:cNvSpPr/>
          <p:nvPr>
            <p:custDataLst>
              <p:tags r:id="rId6"/>
            </p:custDataLst>
          </p:nvPr>
        </p:nvSpPr>
        <p:spPr>
          <a:xfrm>
            <a:off x="613705" y="2427362"/>
            <a:ext cx="1226548" cy="827563"/>
          </a:xfrm>
          <a:prstGeom prst="homePlate">
            <a:avLst>
              <a:gd name="adj" fmla="val 6286"/>
            </a:avLst>
          </a:prstGeom>
          <a:solidFill>
            <a:srgbClr val="8064A2">
              <a:lumMod val="40000"/>
              <a:lumOff val="60000"/>
            </a:srgbClr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31985" tIns="0" rIns="0" bIns="0" rtlCol="0" anchor="ctr"/>
          <a:lstStyle/>
          <a:p>
            <a:pPr algn="ctr" defTabSz="91202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900" b="1" kern="0" dirty="0">
              <a:solidFill>
                <a:prstClr val="black"/>
              </a:solidFill>
              <a:latin typeface="+mj-lt"/>
              <a:cs typeface="Arial" panose="020B0604020202020204" pitchFamily="34" charset="0"/>
            </a:endParaRPr>
          </a:p>
          <a:p>
            <a:pPr algn="ctr" defTabSz="91202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900" b="1" kern="0" dirty="0">
              <a:solidFill>
                <a:prstClr val="black"/>
              </a:solidFill>
              <a:latin typeface="+mj-lt"/>
              <a:cs typeface="Arial" panose="020B0604020202020204" pitchFamily="34" charset="0"/>
            </a:endParaRPr>
          </a:p>
          <a:p>
            <a:pPr algn="ctr" defTabSz="91202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900" b="1" kern="0" dirty="0">
              <a:solidFill>
                <a:prstClr val="black"/>
              </a:solidFill>
              <a:latin typeface="+mj-lt"/>
              <a:cs typeface="Arial" panose="020B0604020202020204" pitchFamily="34" charset="0"/>
            </a:endParaRPr>
          </a:p>
          <a:p>
            <a:pPr algn="ctr" defTabSz="91202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kern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УПРАВЛЕНИЕ </a:t>
            </a:r>
            <a:br>
              <a:rPr lang="ru-RU" sz="900" b="1" kern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</a:br>
            <a:r>
              <a:rPr lang="ru-RU" sz="900" b="1" kern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ПРОЕКТАМИ</a:t>
            </a:r>
          </a:p>
        </p:txBody>
      </p:sp>
      <p:pic>
        <p:nvPicPr>
          <p:cNvPr id="25" name="Picture 3" descr="D:\ФЦК\преза\1т-06.png"/>
          <p:cNvPicPr>
            <a:picLocks noChangeAspect="1" noChangeArrowheads="1"/>
          </p:cNvPicPr>
          <p:nvPr/>
        </p:nvPicPr>
        <p:blipFill>
          <a:blip r:embed="rId9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164" y="4233486"/>
            <a:ext cx="468052" cy="3074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4" descr="D:\ФЦК\преза\1т-02.png"/>
          <p:cNvPicPr>
            <a:picLocks noChangeAspect="1" noChangeArrowheads="1"/>
          </p:cNvPicPr>
          <p:nvPr/>
        </p:nvPicPr>
        <p:blipFill>
          <a:blip r:embed="rId10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3985" y="848011"/>
            <a:ext cx="468052" cy="3074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5" descr="D:\ФЦК\преза\1т-03.png"/>
          <p:cNvPicPr>
            <a:picLocks noChangeAspect="1" noChangeArrowheads="1"/>
          </p:cNvPicPr>
          <p:nvPr/>
        </p:nvPicPr>
        <p:blipFill>
          <a:blip r:embed="rId11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729" y="1689817"/>
            <a:ext cx="468052" cy="3074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6" descr="D:\ФЦК\преза\1т-04.png"/>
          <p:cNvPicPr>
            <a:picLocks noChangeAspect="1" noChangeArrowheads="1"/>
          </p:cNvPicPr>
          <p:nvPr/>
        </p:nvPicPr>
        <p:blipFill>
          <a:blip r:embed="rId12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164" y="2577605"/>
            <a:ext cx="468052" cy="3074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7" descr="D:\ФЦК\преза\1т-05.png"/>
          <p:cNvPicPr>
            <a:picLocks noChangeAspect="1" noChangeArrowheads="1"/>
          </p:cNvPicPr>
          <p:nvPr/>
        </p:nvPicPr>
        <p:blipFill>
          <a:blip r:embed="rId13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164" y="3413935"/>
            <a:ext cx="468052" cy="3074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Box 29"/>
          <p:cNvSpPr txBox="1"/>
          <p:nvPr>
            <p:custDataLst>
              <p:tags r:id="rId7"/>
            </p:custDataLst>
          </p:nvPr>
        </p:nvSpPr>
        <p:spPr>
          <a:xfrm>
            <a:off x="2020254" y="4075733"/>
            <a:ext cx="5849424" cy="835377"/>
          </a:xfrm>
          <a:prstGeom prst="rect">
            <a:avLst/>
          </a:prstGeom>
          <a:noFill/>
        </p:spPr>
        <p:txBody>
          <a:bodyPr wrap="square" lIns="65298" tIns="32649" rIns="65298" bIns="32649" rtlCol="0">
            <a:spAutoFit/>
          </a:bodyPr>
          <a:lstStyle/>
          <a:p>
            <a:pPr defTabSz="91418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srgbClr val="000000"/>
                </a:solidFill>
                <a:latin typeface="+mj-lt"/>
              </a:rPr>
              <a:t>Дмитрий Агишев</a:t>
            </a:r>
          </a:p>
          <a:p>
            <a:pPr defTabSz="91418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dirty="0">
                <a:solidFill>
                  <a:srgbClr val="000000"/>
                </a:solidFill>
                <a:latin typeface="+mj-lt"/>
              </a:rPr>
              <a:t>Заместитель генерального директора АНО «ФЦК» по коммуникациям</a:t>
            </a:r>
          </a:p>
          <a:p>
            <a:pPr defTabSz="91418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dirty="0">
                <a:solidFill>
                  <a:srgbClr val="000000"/>
                </a:solidFill>
                <a:latin typeface="+mj-lt"/>
              </a:rPr>
              <a:t>Тел. </a:t>
            </a:r>
            <a:r>
              <a:rPr lang="en-US" sz="1200" dirty="0">
                <a:solidFill>
                  <a:srgbClr val="000000"/>
                </a:solidFill>
                <a:latin typeface="+mj-lt"/>
              </a:rPr>
              <a:t>8 (985) 924 85 43</a:t>
            </a:r>
            <a:endParaRPr lang="ru-RU" sz="1200" dirty="0">
              <a:solidFill>
                <a:srgbClr val="000000"/>
              </a:solidFill>
              <a:latin typeface="+mj-lt"/>
            </a:endParaRPr>
          </a:p>
          <a:p>
            <a:pPr defTabSz="91418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i="1" dirty="0">
                <a:solidFill>
                  <a:srgbClr val="000000"/>
                </a:solidFill>
                <a:latin typeface="+mj-lt"/>
              </a:rPr>
              <a:t>E-mail</a:t>
            </a:r>
            <a:r>
              <a:rPr lang="ru-RU" sz="1200" i="1" dirty="0">
                <a:solidFill>
                  <a:srgbClr val="000000"/>
                </a:solidFill>
                <a:latin typeface="+mj-lt"/>
              </a:rPr>
              <a:t>: </a:t>
            </a:r>
            <a:r>
              <a:rPr lang="en-US" sz="1200" i="1" dirty="0">
                <a:solidFill>
                  <a:srgbClr val="000000"/>
                </a:solidFill>
                <a:latin typeface="+mj-lt"/>
              </a:rPr>
              <a:t>DLAgishev@pptrf.ru</a:t>
            </a:r>
            <a:endParaRPr lang="ru-RU" sz="1200" i="1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1" name="Правая фигурная скобка 30"/>
          <p:cNvSpPr/>
          <p:nvPr/>
        </p:nvSpPr>
        <p:spPr>
          <a:xfrm>
            <a:off x="1840253" y="993970"/>
            <a:ext cx="180000" cy="2044932"/>
          </a:xfrm>
          <a:prstGeom prst="rightBrace">
            <a:avLst/>
          </a:prstGeom>
          <a:noFill/>
          <a:ln w="3175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2975824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altLang="ru-RU" dirty="0">
                <a:solidFill>
                  <a:srgbClr val="1E86C8"/>
                </a:solidFill>
                <a:cs typeface="Times New Roman" panose="02020603050405020304" pitchFamily="18" charset="0"/>
              </a:rPr>
              <a:t>СПАСИБО!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02264" y="3039904"/>
            <a:ext cx="4864711" cy="234737"/>
          </a:xfrm>
        </p:spPr>
        <p:txBody>
          <a:bodyPr/>
          <a:lstStyle/>
          <a:p>
            <a:endParaRPr lang="ru-RU" altLang="ru-RU" dirty="0">
              <a:cs typeface="Times New Roman" panose="02020603050405020304" pitchFamily="18" charset="0"/>
            </a:endParaRPr>
          </a:p>
          <a:p>
            <a:endParaRPr lang="ru-RU" altLang="ru-RU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03515" y="12924"/>
            <a:ext cx="8940485" cy="8534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2000" b="1" dirty="0"/>
              <a:t>Эксперты ФЦК имеют опыт работы в крупных корпорациях со зрелыми производственными системами</a:t>
            </a:r>
          </a:p>
        </p:txBody>
      </p:sp>
      <p:grpSp>
        <p:nvGrpSpPr>
          <p:cNvPr id="21" name="Группа 57"/>
          <p:cNvGrpSpPr/>
          <p:nvPr/>
        </p:nvGrpSpPr>
        <p:grpSpPr>
          <a:xfrm>
            <a:off x="6323560" y="800976"/>
            <a:ext cx="2309583" cy="4063398"/>
            <a:chOff x="5951685" y="815110"/>
            <a:chExt cx="2309583" cy="4063398"/>
          </a:xfrm>
        </p:grpSpPr>
        <p:pic>
          <p:nvPicPr>
            <p:cNvPr id="22" name="Picture 35" descr="ÐÐ°ÑÑÐ¸Ð½ÐºÐ¸ Ð¿Ð¾ Ð·Ð°Ð¿ÑÐ¾ÑÑ ÑÐ¸Ð»Ð¾Ð²ÑÐµ Ð¼Ð°ÑÐ¸Ð½Ñ Ð»Ð¾Ð³Ð¾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51685" y="4090364"/>
              <a:ext cx="788144" cy="7881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41" descr="ÐÐ°ÑÑÐ¸Ð½ÐºÐ¸ Ð¿Ð¾ Ð·Ð°Ð¿ÑÐ¾ÑÑ Ð³Ð°Ð·Ð¿ÑÐ¾Ð¼Ð½ÐµÑÑÑ Ð»Ð¾Ð³Ð¾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87028" y="1516243"/>
              <a:ext cx="1162958" cy="5737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59" descr="ÐÐ°ÑÑÐ¸Ð½ÐºÐ¸ Ð¿Ð¾ Ð·Ð°Ð¿ÑÐ¾ÑÑ Ð³Ð°Ð· Ð»Ð¾Ð³Ð¾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171" t="8279" r="20304" b="10728"/>
            <a:stretch/>
          </p:blipFill>
          <p:spPr bwMode="auto">
            <a:xfrm>
              <a:off x="7268507" y="2287702"/>
              <a:ext cx="778498" cy="7944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61" descr="ÐÐ°ÑÑÐ¸Ð½ÐºÐ¸ Ð¿Ð¾ Ð·Ð°Ð¿ÑÐ¾ÑÑ Ð±Ð¾Ð¸Ð½Ð³ Ð»Ð¾Ð³Ð¾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222" t="13125" r="4158"/>
            <a:stretch/>
          </p:blipFill>
          <p:spPr bwMode="auto">
            <a:xfrm>
              <a:off x="5951685" y="815110"/>
              <a:ext cx="1316822" cy="6127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63" descr="ÐÐ°ÑÑÐ¸Ð½ÐºÐ¸ Ð¿Ð¾ Ð·Ð°Ð¿ÑÐ¾ÑÑ ÑÐ±ÐµÑÐ±Ð°Ð½Ðº Ð»Ð¾Ð³Ð¾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45413" y="3165153"/>
              <a:ext cx="1715855" cy="3174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7" name="Группа 55"/>
          <p:cNvGrpSpPr/>
          <p:nvPr/>
        </p:nvGrpSpPr>
        <p:grpSpPr>
          <a:xfrm>
            <a:off x="939830" y="814866"/>
            <a:ext cx="2575418" cy="4121516"/>
            <a:chOff x="969129" y="815110"/>
            <a:chExt cx="2575418" cy="4121516"/>
          </a:xfrm>
        </p:grpSpPr>
        <p:pic>
          <p:nvPicPr>
            <p:cNvPr id="28" name="Picture 29" descr="ÐÐ°ÑÑÐ¸Ð½ÐºÐ¸ Ð¿Ð¾ Ð·Ð°Ð¿ÑÐ¾ÑÑ ÑÐ¾ÑÐ°ÑÐ¾Ð¼ Ð»Ð¾Ð³Ð¾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82731" y="815110"/>
              <a:ext cx="683873" cy="7677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31" descr="ÐÐ°ÑÑÐ¸Ð½ÐºÐ¸ Ð¿Ð¾ Ð·Ð°Ð¿ÑÐ¾ÑÑ ÑÐµÐ²ÐµÑÑÑÐ°Ð»Ñ Ð»Ð¾Ð³Ð¾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9129" y="2301748"/>
              <a:ext cx="811291" cy="7803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Picture 33" descr="ÐÐ¾ÑÐ¾Ð¶ÐµÐµ Ð¸Ð·Ð¾Ð±ÑÐ°Ð¶ÐµÐ½Ð¸Ðµ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52421" y="3165153"/>
              <a:ext cx="1073618" cy="10736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Picture 39" descr="ÐÐ°ÑÑÐ¸Ð½ÐºÐ¸ Ð¿Ð¾ Ð·Ð°Ð¿ÑÐ¾ÑÑ Ð¿Ð¾Ð»ÑÑ Ð·Ð¾Ð»Ð¾ÑÐ¾ Ð»Ð¾Ð³Ð¾"/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001" t="18131" r="6822" b="16681"/>
            <a:stretch/>
          </p:blipFill>
          <p:spPr bwMode="auto">
            <a:xfrm>
              <a:off x="1596067" y="4113102"/>
              <a:ext cx="1379095" cy="3713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Picture 37" descr="ÐÐ°ÑÑÐ¸Ð½ÐºÐ¸ Ð¿Ð¾ Ð·Ð°Ð¿ÑÐ¾ÑÑ Ð¼Ð¸ÑÐ°ÑÐ¾ÑÐ³ Ð»Ð¾Ð³Ð¾"/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061" t="17740" r="9320" b="19801"/>
            <a:stretch/>
          </p:blipFill>
          <p:spPr bwMode="auto">
            <a:xfrm>
              <a:off x="2424668" y="4484436"/>
              <a:ext cx="1119879" cy="4521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3" name="Picture 2" descr="ÐÐ°ÑÑÐ¸Ð½ÐºÐ¸ Ð¿Ð¾ Ð·Ð°Ð¿ÑÐ¾ÑÑ ÐºÐ¾ÐºÐ°ÐºÐ¾Ð»Ð° Ð»Ð¾Ð³Ð¾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991322" y="1672309"/>
            <a:ext cx="1155774" cy="383753"/>
          </a:xfrm>
          <a:prstGeom prst="rect">
            <a:avLst/>
          </a:prstGeom>
          <a:noFill/>
        </p:spPr>
      </p:pic>
      <p:pic>
        <p:nvPicPr>
          <p:cNvPr id="34" name="Picture 10" descr="ÐÐ°ÑÑÐ¸Ð½ÐºÐ¸ Ð¿Ð¾ Ð·Ð°Ð¿ÑÐ¾ÑÑ ÑÐ¾ÑÐºÐ¾ÑÐ¼Ð¾Ñ Ð»Ð¾Ð³Ð¾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7187656" y="3445492"/>
            <a:ext cx="1018137" cy="978447"/>
          </a:xfrm>
          <a:prstGeom prst="rect">
            <a:avLst/>
          </a:prstGeom>
          <a:noFill/>
        </p:spPr>
      </p:pic>
      <p:pic>
        <p:nvPicPr>
          <p:cNvPr id="35" name="Picture 12" descr="C:\Users\Alina\Desktop\Снимок.PN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2454630" y="831925"/>
            <a:ext cx="4156962" cy="4017233"/>
          </a:xfrm>
          <a:prstGeom prst="ellipse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715774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3" name="Группа 142">
            <a:extLst>
              <a:ext uri="{FF2B5EF4-FFF2-40B4-BE49-F238E27FC236}">
                <a16:creationId xmlns:a16="http://schemas.microsoft.com/office/drawing/2014/main" id="{07FFA95F-AF79-41FE-88A3-85CB8E5FD009}"/>
              </a:ext>
            </a:extLst>
          </p:cNvPr>
          <p:cNvGrpSpPr/>
          <p:nvPr/>
        </p:nvGrpSpPr>
        <p:grpSpPr>
          <a:xfrm>
            <a:off x="156469" y="56442"/>
            <a:ext cx="8755811" cy="4774083"/>
            <a:chOff x="194094" y="688156"/>
            <a:chExt cx="8755811" cy="4774083"/>
          </a:xfrm>
          <a:solidFill>
            <a:schemeClr val="bg1">
              <a:lumMod val="95000"/>
            </a:schemeClr>
          </a:solidFill>
        </p:grpSpPr>
        <p:sp>
          <p:nvSpPr>
            <p:cNvPr id="144" name="Shape 6898">
              <a:extLst>
                <a:ext uri="{FF2B5EF4-FFF2-40B4-BE49-F238E27FC236}">
                  <a16:creationId xmlns:a16="http://schemas.microsoft.com/office/drawing/2014/main" id="{0784E20A-7AF0-4835-A933-7BEBEE67E60C}"/>
                </a:ext>
              </a:extLst>
            </p:cNvPr>
            <p:cNvSpPr/>
            <p:nvPr/>
          </p:nvSpPr>
          <p:spPr>
            <a:xfrm>
              <a:off x="4117617" y="2674869"/>
              <a:ext cx="34729" cy="4292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46666" y="114782"/>
                  </a:moveTo>
                  <a:cubicBezTo>
                    <a:pt x="66666" y="109565"/>
                    <a:pt x="80000" y="99130"/>
                    <a:pt x="93333" y="78260"/>
                  </a:cubicBezTo>
                  <a:cubicBezTo>
                    <a:pt x="100000" y="62608"/>
                    <a:pt x="120000" y="46956"/>
                    <a:pt x="113333" y="36521"/>
                  </a:cubicBezTo>
                  <a:cubicBezTo>
                    <a:pt x="100000" y="20869"/>
                    <a:pt x="100000" y="0"/>
                    <a:pt x="80000" y="10434"/>
                  </a:cubicBezTo>
                  <a:cubicBezTo>
                    <a:pt x="60000" y="20869"/>
                    <a:pt x="0" y="36521"/>
                    <a:pt x="13333" y="52173"/>
                  </a:cubicBezTo>
                  <a:cubicBezTo>
                    <a:pt x="20000" y="73043"/>
                    <a:pt x="26666" y="120000"/>
                    <a:pt x="46666" y="114782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5" name="Shape 6899">
              <a:extLst>
                <a:ext uri="{FF2B5EF4-FFF2-40B4-BE49-F238E27FC236}">
                  <a16:creationId xmlns:a16="http://schemas.microsoft.com/office/drawing/2014/main" id="{E98C5CBA-D1EE-4165-A355-732B4B7FC8F4}"/>
                </a:ext>
              </a:extLst>
            </p:cNvPr>
            <p:cNvSpPr/>
            <p:nvPr/>
          </p:nvSpPr>
          <p:spPr>
            <a:xfrm>
              <a:off x="3807941" y="2555424"/>
              <a:ext cx="65601" cy="57856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588" y="92903"/>
                  </a:moveTo>
                  <a:cubicBezTo>
                    <a:pt x="21176" y="100645"/>
                    <a:pt x="35294" y="120000"/>
                    <a:pt x="49411" y="108387"/>
                  </a:cubicBezTo>
                  <a:cubicBezTo>
                    <a:pt x="60000" y="96774"/>
                    <a:pt x="67058" y="92903"/>
                    <a:pt x="74117" y="92903"/>
                  </a:cubicBezTo>
                  <a:cubicBezTo>
                    <a:pt x="81176" y="92903"/>
                    <a:pt x="102352" y="100645"/>
                    <a:pt x="105882" y="89032"/>
                  </a:cubicBezTo>
                  <a:cubicBezTo>
                    <a:pt x="112941" y="73548"/>
                    <a:pt x="120000" y="73548"/>
                    <a:pt x="105882" y="65806"/>
                  </a:cubicBezTo>
                  <a:cubicBezTo>
                    <a:pt x="91764" y="61935"/>
                    <a:pt x="74117" y="54193"/>
                    <a:pt x="81176" y="42580"/>
                  </a:cubicBezTo>
                  <a:cubicBezTo>
                    <a:pt x="91764" y="30967"/>
                    <a:pt x="98823" y="27096"/>
                    <a:pt x="91764" y="19354"/>
                  </a:cubicBezTo>
                  <a:cubicBezTo>
                    <a:pt x="84705" y="7741"/>
                    <a:pt x="77647" y="0"/>
                    <a:pt x="70588" y="3870"/>
                  </a:cubicBezTo>
                  <a:cubicBezTo>
                    <a:pt x="63529" y="11612"/>
                    <a:pt x="56470" y="11612"/>
                    <a:pt x="42352" y="11612"/>
                  </a:cubicBezTo>
                  <a:cubicBezTo>
                    <a:pt x="28235" y="11612"/>
                    <a:pt x="17647" y="11612"/>
                    <a:pt x="17647" y="27096"/>
                  </a:cubicBezTo>
                  <a:cubicBezTo>
                    <a:pt x="17647" y="42580"/>
                    <a:pt x="24705" y="42580"/>
                    <a:pt x="17647" y="58064"/>
                  </a:cubicBezTo>
                  <a:cubicBezTo>
                    <a:pt x="10588" y="69677"/>
                    <a:pt x="0" y="81290"/>
                    <a:pt x="10588" y="92903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6" name="Shape 6900">
              <a:extLst>
                <a:ext uri="{FF2B5EF4-FFF2-40B4-BE49-F238E27FC236}">
                  <a16:creationId xmlns:a16="http://schemas.microsoft.com/office/drawing/2014/main" id="{D5AC995F-085C-4D59-AFFB-C96B93FE80F9}"/>
                </a:ext>
              </a:extLst>
            </p:cNvPr>
            <p:cNvSpPr/>
            <p:nvPr/>
          </p:nvSpPr>
          <p:spPr>
            <a:xfrm>
              <a:off x="3955543" y="2639409"/>
              <a:ext cx="23153" cy="22396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80000" y="10000"/>
                  </a:moveTo>
                  <a:cubicBezTo>
                    <a:pt x="50000" y="0"/>
                    <a:pt x="10000" y="10000"/>
                    <a:pt x="0" y="40000"/>
                  </a:cubicBezTo>
                  <a:cubicBezTo>
                    <a:pt x="0" y="80000"/>
                    <a:pt x="0" y="120000"/>
                    <a:pt x="40000" y="120000"/>
                  </a:cubicBezTo>
                  <a:cubicBezTo>
                    <a:pt x="70000" y="110000"/>
                    <a:pt x="120000" y="90000"/>
                    <a:pt x="120000" y="60000"/>
                  </a:cubicBezTo>
                  <a:cubicBezTo>
                    <a:pt x="120000" y="20000"/>
                    <a:pt x="80000" y="10000"/>
                    <a:pt x="80000" y="10000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7" name="Shape 6901">
              <a:extLst>
                <a:ext uri="{FF2B5EF4-FFF2-40B4-BE49-F238E27FC236}">
                  <a16:creationId xmlns:a16="http://schemas.microsoft.com/office/drawing/2014/main" id="{C08CB9E6-E86F-445A-8FA2-9A9FC8AD144E}"/>
                </a:ext>
              </a:extLst>
            </p:cNvPr>
            <p:cNvSpPr/>
            <p:nvPr/>
          </p:nvSpPr>
          <p:spPr>
            <a:xfrm>
              <a:off x="4007638" y="2589018"/>
              <a:ext cx="42447" cy="2799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909" y="72000"/>
                  </a:moveTo>
                  <a:cubicBezTo>
                    <a:pt x="27272" y="96000"/>
                    <a:pt x="5454" y="80000"/>
                    <a:pt x="60000" y="80000"/>
                  </a:cubicBezTo>
                  <a:cubicBezTo>
                    <a:pt x="114545" y="80000"/>
                    <a:pt x="114545" y="120000"/>
                    <a:pt x="114545" y="80000"/>
                  </a:cubicBezTo>
                  <a:cubicBezTo>
                    <a:pt x="120000" y="48000"/>
                    <a:pt x="87272" y="16000"/>
                    <a:pt x="87272" y="16000"/>
                  </a:cubicBezTo>
                  <a:cubicBezTo>
                    <a:pt x="70909" y="8000"/>
                    <a:pt x="54545" y="0"/>
                    <a:pt x="38181" y="16000"/>
                  </a:cubicBezTo>
                  <a:cubicBezTo>
                    <a:pt x="21818" y="24000"/>
                    <a:pt x="0" y="40000"/>
                    <a:pt x="10909" y="72000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8" name="Shape 6902">
              <a:extLst>
                <a:ext uri="{FF2B5EF4-FFF2-40B4-BE49-F238E27FC236}">
                  <a16:creationId xmlns:a16="http://schemas.microsoft.com/office/drawing/2014/main" id="{C2CBE43B-4609-4B28-975A-06013D329B6C}"/>
                </a:ext>
              </a:extLst>
            </p:cNvPr>
            <p:cNvSpPr/>
            <p:nvPr/>
          </p:nvSpPr>
          <p:spPr>
            <a:xfrm>
              <a:off x="4042367" y="2717795"/>
              <a:ext cx="57883" cy="4105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" y="109090"/>
                  </a:moveTo>
                  <a:cubicBezTo>
                    <a:pt x="20000" y="92727"/>
                    <a:pt x="24000" y="81818"/>
                    <a:pt x="36000" y="87272"/>
                  </a:cubicBezTo>
                  <a:cubicBezTo>
                    <a:pt x="44000" y="92727"/>
                    <a:pt x="72000" y="87272"/>
                    <a:pt x="80000" y="81818"/>
                  </a:cubicBezTo>
                  <a:cubicBezTo>
                    <a:pt x="88000" y="76363"/>
                    <a:pt x="120000" y="54545"/>
                    <a:pt x="112000" y="38181"/>
                  </a:cubicBezTo>
                  <a:cubicBezTo>
                    <a:pt x="104000" y="27272"/>
                    <a:pt x="84000" y="0"/>
                    <a:pt x="72000" y="5454"/>
                  </a:cubicBezTo>
                  <a:cubicBezTo>
                    <a:pt x="64000" y="10909"/>
                    <a:pt x="48000" y="16363"/>
                    <a:pt x="28000" y="27272"/>
                  </a:cubicBezTo>
                  <a:cubicBezTo>
                    <a:pt x="12000" y="38181"/>
                    <a:pt x="0" y="65454"/>
                    <a:pt x="0" y="81818"/>
                  </a:cubicBezTo>
                  <a:cubicBezTo>
                    <a:pt x="0" y="92727"/>
                    <a:pt x="0" y="120000"/>
                    <a:pt x="12000" y="109090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9" name="Shape 6903">
              <a:extLst>
                <a:ext uri="{FF2B5EF4-FFF2-40B4-BE49-F238E27FC236}">
                  <a16:creationId xmlns:a16="http://schemas.microsoft.com/office/drawing/2014/main" id="{93E837FD-8F99-4AAB-A783-F1069F4D99AA}"/>
                </a:ext>
              </a:extLst>
            </p:cNvPr>
            <p:cNvSpPr/>
            <p:nvPr/>
          </p:nvSpPr>
          <p:spPr>
            <a:xfrm>
              <a:off x="3167366" y="2605816"/>
              <a:ext cx="1152841" cy="135215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30954" y="41825"/>
                  </a:moveTo>
                  <a:cubicBezTo>
                    <a:pt x="30552" y="41825"/>
                    <a:pt x="30150" y="41825"/>
                    <a:pt x="29748" y="41659"/>
                  </a:cubicBezTo>
                  <a:cubicBezTo>
                    <a:pt x="29748" y="41991"/>
                    <a:pt x="29547" y="42323"/>
                    <a:pt x="29145" y="42655"/>
                  </a:cubicBezTo>
                  <a:cubicBezTo>
                    <a:pt x="28944" y="42987"/>
                    <a:pt x="28542" y="43319"/>
                    <a:pt x="28341" y="43651"/>
                  </a:cubicBezTo>
                  <a:cubicBezTo>
                    <a:pt x="28341" y="43817"/>
                    <a:pt x="28140" y="43817"/>
                    <a:pt x="27939" y="43983"/>
                  </a:cubicBezTo>
                  <a:cubicBezTo>
                    <a:pt x="27537" y="44481"/>
                    <a:pt x="27537" y="44647"/>
                    <a:pt x="27738" y="44813"/>
                  </a:cubicBezTo>
                  <a:cubicBezTo>
                    <a:pt x="28140" y="44979"/>
                    <a:pt x="28542" y="45145"/>
                    <a:pt x="29145" y="45311"/>
                  </a:cubicBezTo>
                  <a:cubicBezTo>
                    <a:pt x="30150" y="45809"/>
                    <a:pt x="30753" y="45975"/>
                    <a:pt x="30753" y="46473"/>
                  </a:cubicBezTo>
                  <a:cubicBezTo>
                    <a:pt x="30753" y="46970"/>
                    <a:pt x="30753" y="47800"/>
                    <a:pt x="29949" y="48132"/>
                  </a:cubicBezTo>
                  <a:cubicBezTo>
                    <a:pt x="29748" y="48298"/>
                    <a:pt x="29547" y="48298"/>
                    <a:pt x="29346" y="48298"/>
                  </a:cubicBezTo>
                  <a:cubicBezTo>
                    <a:pt x="29145" y="48464"/>
                    <a:pt x="28542" y="48630"/>
                    <a:pt x="28542" y="48630"/>
                  </a:cubicBezTo>
                  <a:cubicBezTo>
                    <a:pt x="28743" y="48962"/>
                    <a:pt x="28944" y="49128"/>
                    <a:pt x="29145" y="49294"/>
                  </a:cubicBezTo>
                  <a:cubicBezTo>
                    <a:pt x="29748" y="49792"/>
                    <a:pt x="30552" y="50456"/>
                    <a:pt x="29748" y="50954"/>
                  </a:cubicBezTo>
                  <a:cubicBezTo>
                    <a:pt x="29145" y="51452"/>
                    <a:pt x="27939" y="51950"/>
                    <a:pt x="26934" y="52448"/>
                  </a:cubicBezTo>
                  <a:cubicBezTo>
                    <a:pt x="26532" y="52614"/>
                    <a:pt x="25929" y="52780"/>
                    <a:pt x="25929" y="52946"/>
                  </a:cubicBezTo>
                  <a:cubicBezTo>
                    <a:pt x="25728" y="52946"/>
                    <a:pt x="25728" y="53112"/>
                    <a:pt x="25527" y="53112"/>
                  </a:cubicBezTo>
                  <a:cubicBezTo>
                    <a:pt x="25125" y="53609"/>
                    <a:pt x="24321" y="54273"/>
                    <a:pt x="23316" y="54273"/>
                  </a:cubicBezTo>
                  <a:cubicBezTo>
                    <a:pt x="23115" y="54439"/>
                    <a:pt x="22713" y="54439"/>
                    <a:pt x="22512" y="54439"/>
                  </a:cubicBezTo>
                  <a:cubicBezTo>
                    <a:pt x="22110" y="54439"/>
                    <a:pt x="21708" y="54439"/>
                    <a:pt x="21507" y="54439"/>
                  </a:cubicBezTo>
                  <a:cubicBezTo>
                    <a:pt x="21507" y="54605"/>
                    <a:pt x="21507" y="54605"/>
                    <a:pt x="21507" y="54605"/>
                  </a:cubicBezTo>
                  <a:cubicBezTo>
                    <a:pt x="21306" y="55269"/>
                    <a:pt x="20904" y="56929"/>
                    <a:pt x="19698" y="56929"/>
                  </a:cubicBezTo>
                  <a:cubicBezTo>
                    <a:pt x="18693" y="56929"/>
                    <a:pt x="14472" y="57261"/>
                    <a:pt x="13668" y="57261"/>
                  </a:cubicBezTo>
                  <a:cubicBezTo>
                    <a:pt x="12864" y="57427"/>
                    <a:pt x="10854" y="58091"/>
                    <a:pt x="10653" y="58257"/>
                  </a:cubicBezTo>
                  <a:cubicBezTo>
                    <a:pt x="10452" y="58257"/>
                    <a:pt x="10251" y="58257"/>
                    <a:pt x="10050" y="58423"/>
                  </a:cubicBezTo>
                  <a:cubicBezTo>
                    <a:pt x="7638" y="59585"/>
                    <a:pt x="7035" y="60082"/>
                    <a:pt x="6834" y="60248"/>
                  </a:cubicBezTo>
                  <a:cubicBezTo>
                    <a:pt x="6834" y="60248"/>
                    <a:pt x="6834" y="60414"/>
                    <a:pt x="6834" y="60580"/>
                  </a:cubicBezTo>
                  <a:cubicBezTo>
                    <a:pt x="7035" y="61078"/>
                    <a:pt x="7035" y="61742"/>
                    <a:pt x="6834" y="62074"/>
                  </a:cubicBezTo>
                  <a:cubicBezTo>
                    <a:pt x="6633" y="62240"/>
                    <a:pt x="6432" y="62240"/>
                    <a:pt x="6231" y="62240"/>
                  </a:cubicBezTo>
                  <a:cubicBezTo>
                    <a:pt x="5829" y="62406"/>
                    <a:pt x="4824" y="62406"/>
                    <a:pt x="3819" y="62406"/>
                  </a:cubicBezTo>
                  <a:cubicBezTo>
                    <a:pt x="3618" y="62406"/>
                    <a:pt x="3216" y="62406"/>
                    <a:pt x="3015" y="62406"/>
                  </a:cubicBezTo>
                  <a:cubicBezTo>
                    <a:pt x="2613" y="63402"/>
                    <a:pt x="2412" y="64564"/>
                    <a:pt x="2412" y="64896"/>
                  </a:cubicBezTo>
                  <a:cubicBezTo>
                    <a:pt x="2613" y="65560"/>
                    <a:pt x="3216" y="67385"/>
                    <a:pt x="3216" y="67883"/>
                  </a:cubicBezTo>
                  <a:cubicBezTo>
                    <a:pt x="3216" y="68547"/>
                    <a:pt x="2814" y="70041"/>
                    <a:pt x="2814" y="70373"/>
                  </a:cubicBezTo>
                  <a:cubicBezTo>
                    <a:pt x="2613" y="70871"/>
                    <a:pt x="2211" y="71867"/>
                    <a:pt x="2010" y="72199"/>
                  </a:cubicBezTo>
                  <a:cubicBezTo>
                    <a:pt x="1809" y="72365"/>
                    <a:pt x="1809" y="72531"/>
                    <a:pt x="1407" y="72697"/>
                  </a:cubicBezTo>
                  <a:cubicBezTo>
                    <a:pt x="804" y="73195"/>
                    <a:pt x="0" y="73858"/>
                    <a:pt x="201" y="74356"/>
                  </a:cubicBezTo>
                  <a:cubicBezTo>
                    <a:pt x="603" y="75186"/>
                    <a:pt x="5025" y="79004"/>
                    <a:pt x="5829" y="79336"/>
                  </a:cubicBezTo>
                  <a:cubicBezTo>
                    <a:pt x="6030" y="79336"/>
                    <a:pt x="6231" y="79170"/>
                    <a:pt x="6432" y="79170"/>
                  </a:cubicBezTo>
                  <a:cubicBezTo>
                    <a:pt x="7638" y="78838"/>
                    <a:pt x="8844" y="78672"/>
                    <a:pt x="9447" y="78838"/>
                  </a:cubicBezTo>
                  <a:cubicBezTo>
                    <a:pt x="9648" y="78838"/>
                    <a:pt x="10050" y="78838"/>
                    <a:pt x="10452" y="79004"/>
                  </a:cubicBezTo>
                  <a:cubicBezTo>
                    <a:pt x="11055" y="79170"/>
                    <a:pt x="12060" y="79502"/>
                    <a:pt x="12462" y="79502"/>
                  </a:cubicBezTo>
                  <a:cubicBezTo>
                    <a:pt x="12462" y="79502"/>
                    <a:pt x="13266" y="79336"/>
                    <a:pt x="13668" y="79336"/>
                  </a:cubicBezTo>
                  <a:cubicBezTo>
                    <a:pt x="15276" y="79004"/>
                    <a:pt x="15879" y="78838"/>
                    <a:pt x="16281" y="79004"/>
                  </a:cubicBezTo>
                  <a:cubicBezTo>
                    <a:pt x="16884" y="79170"/>
                    <a:pt x="19497" y="80331"/>
                    <a:pt x="20301" y="80829"/>
                  </a:cubicBezTo>
                  <a:cubicBezTo>
                    <a:pt x="20703" y="81161"/>
                    <a:pt x="21708" y="81825"/>
                    <a:pt x="21708" y="82655"/>
                  </a:cubicBezTo>
                  <a:cubicBezTo>
                    <a:pt x="21909" y="82821"/>
                    <a:pt x="21708" y="83153"/>
                    <a:pt x="21507" y="83319"/>
                  </a:cubicBezTo>
                  <a:cubicBezTo>
                    <a:pt x="21306" y="83319"/>
                    <a:pt x="21306" y="83485"/>
                    <a:pt x="21105" y="83651"/>
                  </a:cubicBezTo>
                  <a:cubicBezTo>
                    <a:pt x="20703" y="83983"/>
                    <a:pt x="19899" y="84481"/>
                    <a:pt x="20100" y="84813"/>
                  </a:cubicBezTo>
                  <a:cubicBezTo>
                    <a:pt x="20301" y="85311"/>
                    <a:pt x="21909" y="86307"/>
                    <a:pt x="22311" y="86473"/>
                  </a:cubicBezTo>
                  <a:cubicBezTo>
                    <a:pt x="22713" y="86639"/>
                    <a:pt x="24924" y="86970"/>
                    <a:pt x="25326" y="86804"/>
                  </a:cubicBezTo>
                  <a:cubicBezTo>
                    <a:pt x="25527" y="86639"/>
                    <a:pt x="25728" y="86639"/>
                    <a:pt x="25929" y="86473"/>
                  </a:cubicBezTo>
                  <a:cubicBezTo>
                    <a:pt x="26532" y="85975"/>
                    <a:pt x="27738" y="85311"/>
                    <a:pt x="28341" y="85975"/>
                  </a:cubicBezTo>
                  <a:cubicBezTo>
                    <a:pt x="28542" y="86141"/>
                    <a:pt x="28542" y="86307"/>
                    <a:pt x="28743" y="86473"/>
                  </a:cubicBezTo>
                  <a:cubicBezTo>
                    <a:pt x="29145" y="86804"/>
                    <a:pt x="29346" y="87136"/>
                    <a:pt x="29547" y="86970"/>
                  </a:cubicBezTo>
                  <a:cubicBezTo>
                    <a:pt x="29748" y="86970"/>
                    <a:pt x="29949" y="86804"/>
                    <a:pt x="29949" y="86639"/>
                  </a:cubicBezTo>
                  <a:cubicBezTo>
                    <a:pt x="30552" y="86307"/>
                    <a:pt x="30954" y="85809"/>
                    <a:pt x="31758" y="85809"/>
                  </a:cubicBezTo>
                  <a:cubicBezTo>
                    <a:pt x="31959" y="85809"/>
                    <a:pt x="32160" y="85809"/>
                    <a:pt x="32562" y="85809"/>
                  </a:cubicBezTo>
                  <a:cubicBezTo>
                    <a:pt x="33768" y="85643"/>
                    <a:pt x="34974" y="85477"/>
                    <a:pt x="35376" y="85975"/>
                  </a:cubicBezTo>
                  <a:cubicBezTo>
                    <a:pt x="35577" y="86141"/>
                    <a:pt x="35979" y="86639"/>
                    <a:pt x="36582" y="86970"/>
                  </a:cubicBezTo>
                  <a:cubicBezTo>
                    <a:pt x="37788" y="87966"/>
                    <a:pt x="38592" y="88796"/>
                    <a:pt x="38793" y="89128"/>
                  </a:cubicBezTo>
                  <a:cubicBezTo>
                    <a:pt x="38994" y="89792"/>
                    <a:pt x="39396" y="91784"/>
                    <a:pt x="39396" y="92448"/>
                  </a:cubicBezTo>
                  <a:cubicBezTo>
                    <a:pt x="39396" y="93112"/>
                    <a:pt x="39597" y="93609"/>
                    <a:pt x="39798" y="94107"/>
                  </a:cubicBezTo>
                  <a:cubicBezTo>
                    <a:pt x="39798" y="94273"/>
                    <a:pt x="40402" y="94605"/>
                    <a:pt x="40804" y="94937"/>
                  </a:cubicBezTo>
                  <a:cubicBezTo>
                    <a:pt x="41809" y="95933"/>
                    <a:pt x="42412" y="96597"/>
                    <a:pt x="42412" y="96929"/>
                  </a:cubicBezTo>
                  <a:cubicBezTo>
                    <a:pt x="42412" y="97095"/>
                    <a:pt x="42211" y="97427"/>
                    <a:pt x="42211" y="97925"/>
                  </a:cubicBezTo>
                  <a:cubicBezTo>
                    <a:pt x="42010" y="98257"/>
                    <a:pt x="41809" y="98755"/>
                    <a:pt x="41809" y="98921"/>
                  </a:cubicBezTo>
                  <a:cubicBezTo>
                    <a:pt x="42010" y="99087"/>
                    <a:pt x="42010" y="99253"/>
                    <a:pt x="42010" y="99585"/>
                  </a:cubicBezTo>
                  <a:cubicBezTo>
                    <a:pt x="42211" y="99917"/>
                    <a:pt x="42412" y="100912"/>
                    <a:pt x="42613" y="101078"/>
                  </a:cubicBezTo>
                  <a:cubicBezTo>
                    <a:pt x="43015" y="101078"/>
                    <a:pt x="44020" y="100912"/>
                    <a:pt x="45025" y="100912"/>
                  </a:cubicBezTo>
                  <a:cubicBezTo>
                    <a:pt x="46432" y="100746"/>
                    <a:pt x="48040" y="100580"/>
                    <a:pt x="48442" y="100580"/>
                  </a:cubicBezTo>
                  <a:cubicBezTo>
                    <a:pt x="49246" y="100580"/>
                    <a:pt x="50251" y="100580"/>
                    <a:pt x="50653" y="101244"/>
                  </a:cubicBezTo>
                  <a:cubicBezTo>
                    <a:pt x="50653" y="101244"/>
                    <a:pt x="50854" y="101410"/>
                    <a:pt x="50854" y="101576"/>
                  </a:cubicBezTo>
                  <a:cubicBezTo>
                    <a:pt x="51859" y="103070"/>
                    <a:pt x="52261" y="103402"/>
                    <a:pt x="52462" y="103402"/>
                  </a:cubicBezTo>
                  <a:cubicBezTo>
                    <a:pt x="52663" y="103402"/>
                    <a:pt x="52864" y="103402"/>
                    <a:pt x="53266" y="103402"/>
                  </a:cubicBezTo>
                  <a:cubicBezTo>
                    <a:pt x="53668" y="103402"/>
                    <a:pt x="54271" y="103402"/>
                    <a:pt x="54673" y="103734"/>
                  </a:cubicBezTo>
                  <a:cubicBezTo>
                    <a:pt x="54874" y="103900"/>
                    <a:pt x="55075" y="104066"/>
                    <a:pt x="55276" y="104232"/>
                  </a:cubicBezTo>
                  <a:cubicBezTo>
                    <a:pt x="55678" y="104730"/>
                    <a:pt x="56884" y="105892"/>
                    <a:pt x="57487" y="105726"/>
                  </a:cubicBezTo>
                  <a:cubicBezTo>
                    <a:pt x="57688" y="105726"/>
                    <a:pt x="57889" y="105726"/>
                    <a:pt x="58090" y="105726"/>
                  </a:cubicBezTo>
                  <a:cubicBezTo>
                    <a:pt x="59296" y="105394"/>
                    <a:pt x="60301" y="105228"/>
                    <a:pt x="60904" y="105560"/>
                  </a:cubicBezTo>
                  <a:cubicBezTo>
                    <a:pt x="61105" y="105560"/>
                    <a:pt x="61507" y="105726"/>
                    <a:pt x="61909" y="105726"/>
                  </a:cubicBezTo>
                  <a:cubicBezTo>
                    <a:pt x="62713" y="105892"/>
                    <a:pt x="63718" y="106224"/>
                    <a:pt x="64120" y="106556"/>
                  </a:cubicBezTo>
                  <a:cubicBezTo>
                    <a:pt x="64321" y="106721"/>
                    <a:pt x="64522" y="107053"/>
                    <a:pt x="64723" y="107219"/>
                  </a:cubicBezTo>
                  <a:cubicBezTo>
                    <a:pt x="64723" y="107385"/>
                    <a:pt x="65125" y="107883"/>
                    <a:pt x="65326" y="107883"/>
                  </a:cubicBezTo>
                  <a:cubicBezTo>
                    <a:pt x="65326" y="107883"/>
                    <a:pt x="65326" y="107717"/>
                    <a:pt x="65527" y="107717"/>
                  </a:cubicBezTo>
                  <a:cubicBezTo>
                    <a:pt x="65728" y="107385"/>
                    <a:pt x="65929" y="107053"/>
                    <a:pt x="66733" y="107053"/>
                  </a:cubicBezTo>
                  <a:cubicBezTo>
                    <a:pt x="67336" y="107219"/>
                    <a:pt x="70753" y="107883"/>
                    <a:pt x="70753" y="108713"/>
                  </a:cubicBezTo>
                  <a:cubicBezTo>
                    <a:pt x="70753" y="109045"/>
                    <a:pt x="70552" y="109211"/>
                    <a:pt x="70351" y="109543"/>
                  </a:cubicBezTo>
                  <a:cubicBezTo>
                    <a:pt x="70150" y="110041"/>
                    <a:pt x="70150" y="110373"/>
                    <a:pt x="70351" y="110539"/>
                  </a:cubicBezTo>
                  <a:cubicBezTo>
                    <a:pt x="70753" y="110705"/>
                    <a:pt x="70954" y="110871"/>
                    <a:pt x="71356" y="111037"/>
                  </a:cubicBezTo>
                  <a:cubicBezTo>
                    <a:pt x="72160" y="111369"/>
                    <a:pt x="72964" y="111701"/>
                    <a:pt x="73366" y="112199"/>
                  </a:cubicBezTo>
                  <a:cubicBezTo>
                    <a:pt x="74170" y="113029"/>
                    <a:pt x="74974" y="113692"/>
                    <a:pt x="75577" y="113692"/>
                  </a:cubicBezTo>
                  <a:cubicBezTo>
                    <a:pt x="76381" y="113858"/>
                    <a:pt x="83618" y="113858"/>
                    <a:pt x="84221" y="113858"/>
                  </a:cubicBezTo>
                  <a:cubicBezTo>
                    <a:pt x="84623" y="113692"/>
                    <a:pt x="84824" y="113526"/>
                    <a:pt x="85025" y="113029"/>
                  </a:cubicBezTo>
                  <a:cubicBezTo>
                    <a:pt x="85427" y="112697"/>
                    <a:pt x="85829" y="112033"/>
                    <a:pt x="86432" y="111867"/>
                  </a:cubicBezTo>
                  <a:cubicBezTo>
                    <a:pt x="86432" y="111701"/>
                    <a:pt x="86834" y="111535"/>
                    <a:pt x="87035" y="111369"/>
                  </a:cubicBezTo>
                  <a:cubicBezTo>
                    <a:pt x="89648" y="109875"/>
                    <a:pt x="91055" y="109045"/>
                    <a:pt x="91859" y="109211"/>
                  </a:cubicBezTo>
                  <a:cubicBezTo>
                    <a:pt x="92060" y="109211"/>
                    <a:pt x="92060" y="109377"/>
                    <a:pt x="92261" y="109543"/>
                  </a:cubicBezTo>
                  <a:cubicBezTo>
                    <a:pt x="92663" y="110207"/>
                    <a:pt x="93065" y="111203"/>
                    <a:pt x="93467" y="111867"/>
                  </a:cubicBezTo>
                  <a:cubicBezTo>
                    <a:pt x="93668" y="112531"/>
                    <a:pt x="95075" y="114190"/>
                    <a:pt x="95477" y="114688"/>
                  </a:cubicBezTo>
                  <a:cubicBezTo>
                    <a:pt x="95678" y="114522"/>
                    <a:pt x="95678" y="114356"/>
                    <a:pt x="95678" y="114356"/>
                  </a:cubicBezTo>
                  <a:cubicBezTo>
                    <a:pt x="96080" y="113858"/>
                    <a:pt x="96482" y="113360"/>
                    <a:pt x="97085" y="113526"/>
                  </a:cubicBezTo>
                  <a:cubicBezTo>
                    <a:pt x="97286" y="113526"/>
                    <a:pt x="97688" y="113692"/>
                    <a:pt x="98090" y="113692"/>
                  </a:cubicBezTo>
                  <a:cubicBezTo>
                    <a:pt x="100301" y="114356"/>
                    <a:pt x="101507" y="114522"/>
                    <a:pt x="101708" y="115020"/>
                  </a:cubicBezTo>
                  <a:cubicBezTo>
                    <a:pt x="101909" y="115186"/>
                    <a:pt x="101909" y="115186"/>
                    <a:pt x="101909" y="115186"/>
                  </a:cubicBezTo>
                  <a:cubicBezTo>
                    <a:pt x="102914" y="117012"/>
                    <a:pt x="103316" y="117510"/>
                    <a:pt x="103517" y="117510"/>
                  </a:cubicBezTo>
                  <a:cubicBezTo>
                    <a:pt x="103718" y="117510"/>
                    <a:pt x="104120" y="117344"/>
                    <a:pt x="104522" y="117344"/>
                  </a:cubicBezTo>
                  <a:cubicBezTo>
                    <a:pt x="105125" y="117178"/>
                    <a:pt x="105326" y="117012"/>
                    <a:pt x="105728" y="117012"/>
                  </a:cubicBezTo>
                  <a:cubicBezTo>
                    <a:pt x="105728" y="117012"/>
                    <a:pt x="105728" y="117012"/>
                    <a:pt x="105929" y="117012"/>
                  </a:cubicBezTo>
                  <a:cubicBezTo>
                    <a:pt x="106532" y="116846"/>
                    <a:pt x="107738" y="116846"/>
                    <a:pt x="108140" y="117510"/>
                  </a:cubicBezTo>
                  <a:cubicBezTo>
                    <a:pt x="108341" y="117676"/>
                    <a:pt x="109748" y="119004"/>
                    <a:pt x="110753" y="120000"/>
                  </a:cubicBezTo>
                  <a:cubicBezTo>
                    <a:pt x="111959" y="118672"/>
                    <a:pt x="114773" y="116514"/>
                    <a:pt x="114773" y="116514"/>
                  </a:cubicBezTo>
                  <a:cubicBezTo>
                    <a:pt x="114773" y="116514"/>
                    <a:pt x="114974" y="116182"/>
                    <a:pt x="114974" y="114190"/>
                  </a:cubicBezTo>
                  <a:cubicBezTo>
                    <a:pt x="114974" y="113692"/>
                    <a:pt x="115577" y="113195"/>
                    <a:pt x="116381" y="112697"/>
                  </a:cubicBezTo>
                  <a:cubicBezTo>
                    <a:pt x="116582" y="112531"/>
                    <a:pt x="116582" y="112531"/>
                    <a:pt x="116783" y="112531"/>
                  </a:cubicBezTo>
                  <a:cubicBezTo>
                    <a:pt x="116783" y="112199"/>
                    <a:pt x="116783" y="110539"/>
                    <a:pt x="116783" y="109875"/>
                  </a:cubicBezTo>
                  <a:cubicBezTo>
                    <a:pt x="116783" y="109709"/>
                    <a:pt x="116783" y="109543"/>
                    <a:pt x="116783" y="109377"/>
                  </a:cubicBezTo>
                  <a:cubicBezTo>
                    <a:pt x="116783" y="109211"/>
                    <a:pt x="116180" y="108547"/>
                    <a:pt x="115778" y="108215"/>
                  </a:cubicBezTo>
                  <a:cubicBezTo>
                    <a:pt x="115577" y="107883"/>
                    <a:pt x="115376" y="107717"/>
                    <a:pt x="115175" y="107385"/>
                  </a:cubicBezTo>
                  <a:cubicBezTo>
                    <a:pt x="114572" y="106556"/>
                    <a:pt x="116582" y="103900"/>
                    <a:pt x="116582" y="103734"/>
                  </a:cubicBezTo>
                  <a:cubicBezTo>
                    <a:pt x="116783" y="103568"/>
                    <a:pt x="117386" y="103070"/>
                    <a:pt x="118391" y="102240"/>
                  </a:cubicBezTo>
                  <a:cubicBezTo>
                    <a:pt x="118994" y="101742"/>
                    <a:pt x="119798" y="101078"/>
                    <a:pt x="119798" y="100912"/>
                  </a:cubicBezTo>
                  <a:cubicBezTo>
                    <a:pt x="120000" y="100746"/>
                    <a:pt x="119597" y="99751"/>
                    <a:pt x="119396" y="99419"/>
                  </a:cubicBezTo>
                  <a:cubicBezTo>
                    <a:pt x="119396" y="99253"/>
                    <a:pt x="119195" y="99087"/>
                    <a:pt x="119195" y="99087"/>
                  </a:cubicBezTo>
                  <a:cubicBezTo>
                    <a:pt x="118994" y="98423"/>
                    <a:pt x="119195" y="97925"/>
                    <a:pt x="119396" y="97427"/>
                  </a:cubicBezTo>
                  <a:cubicBezTo>
                    <a:pt x="119597" y="97095"/>
                    <a:pt x="119396" y="95435"/>
                    <a:pt x="119195" y="94605"/>
                  </a:cubicBezTo>
                  <a:cubicBezTo>
                    <a:pt x="118994" y="94771"/>
                    <a:pt x="118793" y="94937"/>
                    <a:pt x="118793" y="94937"/>
                  </a:cubicBezTo>
                  <a:cubicBezTo>
                    <a:pt x="118391" y="95103"/>
                    <a:pt x="118190" y="95435"/>
                    <a:pt x="117788" y="95435"/>
                  </a:cubicBezTo>
                  <a:cubicBezTo>
                    <a:pt x="117185" y="95601"/>
                    <a:pt x="116582" y="94937"/>
                    <a:pt x="115979" y="94107"/>
                  </a:cubicBezTo>
                  <a:cubicBezTo>
                    <a:pt x="115778" y="94107"/>
                    <a:pt x="115778" y="94107"/>
                    <a:pt x="115778" y="94107"/>
                  </a:cubicBezTo>
                  <a:cubicBezTo>
                    <a:pt x="115778" y="93941"/>
                    <a:pt x="114572" y="93775"/>
                    <a:pt x="113969" y="93609"/>
                  </a:cubicBezTo>
                  <a:cubicBezTo>
                    <a:pt x="113366" y="93609"/>
                    <a:pt x="113165" y="93443"/>
                    <a:pt x="112964" y="93443"/>
                  </a:cubicBezTo>
                  <a:cubicBezTo>
                    <a:pt x="112160" y="93112"/>
                    <a:pt x="112160" y="91120"/>
                    <a:pt x="112160" y="90788"/>
                  </a:cubicBezTo>
                  <a:cubicBezTo>
                    <a:pt x="112160" y="90124"/>
                    <a:pt x="112964" y="89792"/>
                    <a:pt x="113366" y="89460"/>
                  </a:cubicBezTo>
                  <a:cubicBezTo>
                    <a:pt x="113567" y="89294"/>
                    <a:pt x="113366" y="87634"/>
                    <a:pt x="113165" y="86804"/>
                  </a:cubicBezTo>
                  <a:cubicBezTo>
                    <a:pt x="112964" y="86473"/>
                    <a:pt x="111959" y="85643"/>
                    <a:pt x="111557" y="84979"/>
                  </a:cubicBezTo>
                  <a:cubicBezTo>
                    <a:pt x="111155" y="84647"/>
                    <a:pt x="110753" y="84315"/>
                    <a:pt x="110552" y="84149"/>
                  </a:cubicBezTo>
                  <a:cubicBezTo>
                    <a:pt x="110150" y="83651"/>
                    <a:pt x="108944" y="83651"/>
                    <a:pt x="108743" y="83651"/>
                  </a:cubicBezTo>
                  <a:cubicBezTo>
                    <a:pt x="107939" y="83651"/>
                    <a:pt x="107738" y="82987"/>
                    <a:pt x="107336" y="82157"/>
                  </a:cubicBezTo>
                  <a:cubicBezTo>
                    <a:pt x="107336" y="81991"/>
                    <a:pt x="107336" y="81825"/>
                    <a:pt x="107135" y="81659"/>
                  </a:cubicBezTo>
                  <a:cubicBezTo>
                    <a:pt x="106934" y="80995"/>
                    <a:pt x="107135" y="80497"/>
                    <a:pt x="107939" y="80165"/>
                  </a:cubicBezTo>
                  <a:cubicBezTo>
                    <a:pt x="107939" y="79834"/>
                    <a:pt x="107939" y="78838"/>
                    <a:pt x="107939" y="78340"/>
                  </a:cubicBezTo>
                  <a:cubicBezTo>
                    <a:pt x="107939" y="78174"/>
                    <a:pt x="107939" y="78008"/>
                    <a:pt x="107939" y="77842"/>
                  </a:cubicBezTo>
                  <a:cubicBezTo>
                    <a:pt x="107939" y="77676"/>
                    <a:pt x="107738" y="77510"/>
                    <a:pt x="107537" y="77344"/>
                  </a:cubicBezTo>
                  <a:cubicBezTo>
                    <a:pt x="107336" y="77178"/>
                    <a:pt x="107336" y="77178"/>
                    <a:pt x="107336" y="77178"/>
                  </a:cubicBezTo>
                  <a:cubicBezTo>
                    <a:pt x="106934" y="76680"/>
                    <a:pt x="107135" y="76182"/>
                    <a:pt x="107135" y="75684"/>
                  </a:cubicBezTo>
                  <a:cubicBezTo>
                    <a:pt x="107135" y="75684"/>
                    <a:pt x="107336" y="75518"/>
                    <a:pt x="107336" y="75518"/>
                  </a:cubicBezTo>
                  <a:cubicBezTo>
                    <a:pt x="107336" y="75186"/>
                    <a:pt x="107537" y="75020"/>
                    <a:pt x="108341" y="74356"/>
                  </a:cubicBezTo>
                  <a:cubicBezTo>
                    <a:pt x="108542" y="74356"/>
                    <a:pt x="108743" y="74190"/>
                    <a:pt x="108743" y="74024"/>
                  </a:cubicBezTo>
                  <a:cubicBezTo>
                    <a:pt x="108743" y="73692"/>
                    <a:pt x="108341" y="72697"/>
                    <a:pt x="107939" y="72365"/>
                  </a:cubicBezTo>
                  <a:cubicBezTo>
                    <a:pt x="107939" y="72199"/>
                    <a:pt x="107135" y="71867"/>
                    <a:pt x="106733" y="71701"/>
                  </a:cubicBezTo>
                  <a:cubicBezTo>
                    <a:pt x="105929" y="71369"/>
                    <a:pt x="105326" y="71037"/>
                    <a:pt x="104924" y="70705"/>
                  </a:cubicBezTo>
                  <a:cubicBezTo>
                    <a:pt x="104321" y="70207"/>
                    <a:pt x="104522" y="69709"/>
                    <a:pt x="104723" y="69377"/>
                  </a:cubicBezTo>
                  <a:cubicBezTo>
                    <a:pt x="104723" y="69211"/>
                    <a:pt x="104723" y="69211"/>
                    <a:pt x="104723" y="69045"/>
                  </a:cubicBezTo>
                  <a:cubicBezTo>
                    <a:pt x="104723" y="68879"/>
                    <a:pt x="104723" y="68879"/>
                    <a:pt x="104321" y="68713"/>
                  </a:cubicBezTo>
                  <a:cubicBezTo>
                    <a:pt x="104120" y="68547"/>
                    <a:pt x="103919" y="68381"/>
                    <a:pt x="103718" y="68215"/>
                  </a:cubicBezTo>
                  <a:cubicBezTo>
                    <a:pt x="103517" y="68215"/>
                    <a:pt x="103517" y="67883"/>
                    <a:pt x="103517" y="67551"/>
                  </a:cubicBezTo>
                  <a:cubicBezTo>
                    <a:pt x="103517" y="67053"/>
                    <a:pt x="104120" y="66224"/>
                    <a:pt x="104522" y="65892"/>
                  </a:cubicBezTo>
                  <a:cubicBezTo>
                    <a:pt x="104723" y="65892"/>
                    <a:pt x="104321" y="65062"/>
                    <a:pt x="104321" y="64896"/>
                  </a:cubicBezTo>
                  <a:cubicBezTo>
                    <a:pt x="104120" y="64564"/>
                    <a:pt x="104120" y="64398"/>
                    <a:pt x="104120" y="64232"/>
                  </a:cubicBezTo>
                  <a:cubicBezTo>
                    <a:pt x="103919" y="63734"/>
                    <a:pt x="103718" y="63402"/>
                    <a:pt x="103316" y="63070"/>
                  </a:cubicBezTo>
                  <a:cubicBezTo>
                    <a:pt x="103115" y="62904"/>
                    <a:pt x="103115" y="62904"/>
                    <a:pt x="102914" y="62738"/>
                  </a:cubicBezTo>
                  <a:cubicBezTo>
                    <a:pt x="102512" y="62240"/>
                    <a:pt x="102713" y="61742"/>
                    <a:pt x="102914" y="61410"/>
                  </a:cubicBezTo>
                  <a:cubicBezTo>
                    <a:pt x="103115" y="61244"/>
                    <a:pt x="103115" y="61244"/>
                    <a:pt x="103115" y="61078"/>
                  </a:cubicBezTo>
                  <a:cubicBezTo>
                    <a:pt x="103115" y="60912"/>
                    <a:pt x="103316" y="60746"/>
                    <a:pt x="103316" y="60746"/>
                  </a:cubicBezTo>
                  <a:cubicBezTo>
                    <a:pt x="103718" y="60580"/>
                    <a:pt x="104120" y="60580"/>
                    <a:pt x="104522" y="60746"/>
                  </a:cubicBezTo>
                  <a:cubicBezTo>
                    <a:pt x="104924" y="60746"/>
                    <a:pt x="105125" y="60746"/>
                    <a:pt x="105326" y="60746"/>
                  </a:cubicBezTo>
                  <a:cubicBezTo>
                    <a:pt x="105527" y="60746"/>
                    <a:pt x="105527" y="60248"/>
                    <a:pt x="105527" y="60082"/>
                  </a:cubicBezTo>
                  <a:cubicBezTo>
                    <a:pt x="105527" y="59917"/>
                    <a:pt x="105527" y="59751"/>
                    <a:pt x="105527" y="59585"/>
                  </a:cubicBezTo>
                  <a:cubicBezTo>
                    <a:pt x="105527" y="59087"/>
                    <a:pt x="105929" y="58921"/>
                    <a:pt x="106331" y="58755"/>
                  </a:cubicBezTo>
                  <a:cubicBezTo>
                    <a:pt x="106532" y="58755"/>
                    <a:pt x="106733" y="58589"/>
                    <a:pt x="106733" y="58423"/>
                  </a:cubicBezTo>
                  <a:cubicBezTo>
                    <a:pt x="106934" y="58257"/>
                    <a:pt x="107336" y="57593"/>
                    <a:pt x="107537" y="56431"/>
                  </a:cubicBezTo>
                  <a:cubicBezTo>
                    <a:pt x="107537" y="56431"/>
                    <a:pt x="107537" y="56431"/>
                    <a:pt x="107537" y="56431"/>
                  </a:cubicBezTo>
                  <a:cubicBezTo>
                    <a:pt x="107537" y="56265"/>
                    <a:pt x="107336" y="55767"/>
                    <a:pt x="107135" y="55435"/>
                  </a:cubicBezTo>
                  <a:cubicBezTo>
                    <a:pt x="107135" y="55269"/>
                    <a:pt x="106934" y="55103"/>
                    <a:pt x="106934" y="54937"/>
                  </a:cubicBezTo>
                  <a:cubicBezTo>
                    <a:pt x="106934" y="54771"/>
                    <a:pt x="106733" y="54605"/>
                    <a:pt x="106934" y="54273"/>
                  </a:cubicBezTo>
                  <a:cubicBezTo>
                    <a:pt x="107336" y="53941"/>
                    <a:pt x="107738" y="53941"/>
                    <a:pt x="108140" y="53941"/>
                  </a:cubicBezTo>
                  <a:cubicBezTo>
                    <a:pt x="108140" y="53941"/>
                    <a:pt x="108140" y="53443"/>
                    <a:pt x="108341" y="53278"/>
                  </a:cubicBezTo>
                  <a:cubicBezTo>
                    <a:pt x="108341" y="53112"/>
                    <a:pt x="108341" y="52780"/>
                    <a:pt x="108542" y="52780"/>
                  </a:cubicBezTo>
                  <a:cubicBezTo>
                    <a:pt x="108542" y="52448"/>
                    <a:pt x="107939" y="51120"/>
                    <a:pt x="107537" y="50788"/>
                  </a:cubicBezTo>
                  <a:cubicBezTo>
                    <a:pt x="107135" y="50456"/>
                    <a:pt x="107336" y="49958"/>
                    <a:pt x="107336" y="49294"/>
                  </a:cubicBezTo>
                  <a:cubicBezTo>
                    <a:pt x="107336" y="49128"/>
                    <a:pt x="107336" y="48962"/>
                    <a:pt x="107336" y="48796"/>
                  </a:cubicBezTo>
                  <a:cubicBezTo>
                    <a:pt x="107336" y="48630"/>
                    <a:pt x="106532" y="48464"/>
                    <a:pt x="106130" y="48464"/>
                  </a:cubicBezTo>
                  <a:cubicBezTo>
                    <a:pt x="105929" y="48298"/>
                    <a:pt x="105527" y="48298"/>
                    <a:pt x="105326" y="48132"/>
                  </a:cubicBezTo>
                  <a:cubicBezTo>
                    <a:pt x="104522" y="47966"/>
                    <a:pt x="104723" y="47302"/>
                    <a:pt x="104924" y="46804"/>
                  </a:cubicBezTo>
                  <a:cubicBezTo>
                    <a:pt x="104924" y="46639"/>
                    <a:pt x="104924" y="46639"/>
                    <a:pt x="104924" y="46473"/>
                  </a:cubicBezTo>
                  <a:cubicBezTo>
                    <a:pt x="104723" y="46639"/>
                    <a:pt x="104723" y="46639"/>
                    <a:pt x="104723" y="46804"/>
                  </a:cubicBezTo>
                  <a:cubicBezTo>
                    <a:pt x="104522" y="46804"/>
                    <a:pt x="104321" y="46970"/>
                    <a:pt x="104321" y="47136"/>
                  </a:cubicBezTo>
                  <a:cubicBezTo>
                    <a:pt x="104120" y="47302"/>
                    <a:pt x="103919" y="47302"/>
                    <a:pt x="103517" y="47302"/>
                  </a:cubicBezTo>
                  <a:cubicBezTo>
                    <a:pt x="103316" y="47302"/>
                    <a:pt x="102914" y="47136"/>
                    <a:pt x="102713" y="46970"/>
                  </a:cubicBezTo>
                  <a:cubicBezTo>
                    <a:pt x="102713" y="46970"/>
                    <a:pt x="102713" y="46970"/>
                    <a:pt x="102512" y="46970"/>
                  </a:cubicBezTo>
                  <a:cubicBezTo>
                    <a:pt x="102311" y="47136"/>
                    <a:pt x="102110" y="47302"/>
                    <a:pt x="101909" y="47468"/>
                  </a:cubicBezTo>
                  <a:cubicBezTo>
                    <a:pt x="101909" y="47468"/>
                    <a:pt x="101909" y="47468"/>
                    <a:pt x="101909" y="47468"/>
                  </a:cubicBezTo>
                  <a:cubicBezTo>
                    <a:pt x="101507" y="47634"/>
                    <a:pt x="101105" y="47800"/>
                    <a:pt x="100502" y="47468"/>
                  </a:cubicBezTo>
                  <a:cubicBezTo>
                    <a:pt x="99899" y="47136"/>
                    <a:pt x="99497" y="45975"/>
                    <a:pt x="99497" y="45477"/>
                  </a:cubicBezTo>
                  <a:cubicBezTo>
                    <a:pt x="99296" y="45477"/>
                    <a:pt x="99095" y="45311"/>
                    <a:pt x="97889" y="45311"/>
                  </a:cubicBezTo>
                  <a:cubicBezTo>
                    <a:pt x="97889" y="45311"/>
                    <a:pt x="97889" y="45311"/>
                    <a:pt x="97889" y="45311"/>
                  </a:cubicBezTo>
                  <a:cubicBezTo>
                    <a:pt x="97085" y="45311"/>
                    <a:pt x="95879" y="44315"/>
                    <a:pt x="95678" y="44149"/>
                  </a:cubicBezTo>
                  <a:cubicBezTo>
                    <a:pt x="95678" y="44149"/>
                    <a:pt x="95678" y="43983"/>
                    <a:pt x="95477" y="43983"/>
                  </a:cubicBezTo>
                  <a:cubicBezTo>
                    <a:pt x="95276" y="43651"/>
                    <a:pt x="94874" y="43153"/>
                    <a:pt x="94673" y="42655"/>
                  </a:cubicBezTo>
                  <a:cubicBezTo>
                    <a:pt x="94673" y="42489"/>
                    <a:pt x="94271" y="42157"/>
                    <a:pt x="94070" y="41991"/>
                  </a:cubicBezTo>
                  <a:cubicBezTo>
                    <a:pt x="94070" y="41825"/>
                    <a:pt x="93869" y="41825"/>
                    <a:pt x="93668" y="41659"/>
                  </a:cubicBezTo>
                  <a:cubicBezTo>
                    <a:pt x="93467" y="41327"/>
                    <a:pt x="93467" y="40663"/>
                    <a:pt x="93467" y="39502"/>
                  </a:cubicBezTo>
                  <a:cubicBezTo>
                    <a:pt x="93467" y="39336"/>
                    <a:pt x="93668" y="39170"/>
                    <a:pt x="93668" y="39004"/>
                  </a:cubicBezTo>
                  <a:cubicBezTo>
                    <a:pt x="93668" y="38506"/>
                    <a:pt x="94271" y="38174"/>
                    <a:pt x="95276" y="37510"/>
                  </a:cubicBezTo>
                  <a:cubicBezTo>
                    <a:pt x="95678" y="37344"/>
                    <a:pt x="96080" y="37012"/>
                    <a:pt x="96281" y="37012"/>
                  </a:cubicBezTo>
                  <a:cubicBezTo>
                    <a:pt x="97286" y="36182"/>
                    <a:pt x="99095" y="34522"/>
                    <a:pt x="99296" y="34190"/>
                  </a:cubicBezTo>
                  <a:cubicBezTo>
                    <a:pt x="99497" y="33692"/>
                    <a:pt x="100301" y="33858"/>
                    <a:pt x="101105" y="33858"/>
                  </a:cubicBezTo>
                  <a:cubicBezTo>
                    <a:pt x="101507" y="33858"/>
                    <a:pt x="101708" y="33858"/>
                    <a:pt x="101909" y="34024"/>
                  </a:cubicBezTo>
                  <a:cubicBezTo>
                    <a:pt x="101909" y="33692"/>
                    <a:pt x="101909" y="33029"/>
                    <a:pt x="101909" y="32697"/>
                  </a:cubicBezTo>
                  <a:cubicBezTo>
                    <a:pt x="101909" y="32531"/>
                    <a:pt x="101909" y="32365"/>
                    <a:pt x="101909" y="32199"/>
                  </a:cubicBezTo>
                  <a:cubicBezTo>
                    <a:pt x="101909" y="31701"/>
                    <a:pt x="101909" y="28215"/>
                    <a:pt x="102110" y="27717"/>
                  </a:cubicBezTo>
                  <a:cubicBezTo>
                    <a:pt x="101909" y="27551"/>
                    <a:pt x="101708" y="27385"/>
                    <a:pt x="99899" y="26721"/>
                  </a:cubicBezTo>
                  <a:cubicBezTo>
                    <a:pt x="99698" y="26721"/>
                    <a:pt x="99698" y="26721"/>
                    <a:pt x="99698" y="26721"/>
                  </a:cubicBezTo>
                  <a:cubicBezTo>
                    <a:pt x="99095" y="26390"/>
                    <a:pt x="98693" y="25560"/>
                    <a:pt x="98492" y="25062"/>
                  </a:cubicBezTo>
                  <a:cubicBezTo>
                    <a:pt x="98291" y="25228"/>
                    <a:pt x="98291" y="25394"/>
                    <a:pt x="98090" y="25394"/>
                  </a:cubicBezTo>
                  <a:cubicBezTo>
                    <a:pt x="97889" y="25560"/>
                    <a:pt x="97688" y="25560"/>
                    <a:pt x="97487" y="25394"/>
                  </a:cubicBezTo>
                  <a:cubicBezTo>
                    <a:pt x="97085" y="25228"/>
                    <a:pt x="97085" y="24232"/>
                    <a:pt x="97085" y="23734"/>
                  </a:cubicBezTo>
                  <a:cubicBezTo>
                    <a:pt x="97085" y="23236"/>
                    <a:pt x="97688" y="22406"/>
                    <a:pt x="98291" y="22240"/>
                  </a:cubicBezTo>
                  <a:cubicBezTo>
                    <a:pt x="98492" y="22074"/>
                    <a:pt x="100703" y="21410"/>
                    <a:pt x="101306" y="21244"/>
                  </a:cubicBezTo>
                  <a:cubicBezTo>
                    <a:pt x="101306" y="21244"/>
                    <a:pt x="101306" y="20912"/>
                    <a:pt x="101306" y="20580"/>
                  </a:cubicBezTo>
                  <a:cubicBezTo>
                    <a:pt x="101306" y="20414"/>
                    <a:pt x="101306" y="20248"/>
                    <a:pt x="101306" y="20248"/>
                  </a:cubicBezTo>
                  <a:cubicBezTo>
                    <a:pt x="101306" y="19917"/>
                    <a:pt x="101507" y="19751"/>
                    <a:pt x="101708" y="19585"/>
                  </a:cubicBezTo>
                  <a:cubicBezTo>
                    <a:pt x="101909" y="19419"/>
                    <a:pt x="102110" y="19253"/>
                    <a:pt x="102311" y="19087"/>
                  </a:cubicBezTo>
                  <a:cubicBezTo>
                    <a:pt x="102311" y="18755"/>
                    <a:pt x="101507" y="17759"/>
                    <a:pt x="101105" y="17593"/>
                  </a:cubicBezTo>
                  <a:cubicBezTo>
                    <a:pt x="100904" y="17427"/>
                    <a:pt x="99296" y="17095"/>
                    <a:pt x="98693" y="17095"/>
                  </a:cubicBezTo>
                  <a:cubicBezTo>
                    <a:pt x="98291" y="16929"/>
                    <a:pt x="98291" y="16929"/>
                    <a:pt x="98291" y="16929"/>
                  </a:cubicBezTo>
                  <a:cubicBezTo>
                    <a:pt x="97688" y="16929"/>
                    <a:pt x="97487" y="16431"/>
                    <a:pt x="96884" y="15601"/>
                  </a:cubicBezTo>
                  <a:cubicBezTo>
                    <a:pt x="96884" y="15435"/>
                    <a:pt x="96683" y="15103"/>
                    <a:pt x="96683" y="15103"/>
                  </a:cubicBezTo>
                  <a:cubicBezTo>
                    <a:pt x="96482" y="14937"/>
                    <a:pt x="96080" y="14771"/>
                    <a:pt x="95678" y="14771"/>
                  </a:cubicBezTo>
                  <a:cubicBezTo>
                    <a:pt x="95678" y="14605"/>
                    <a:pt x="95678" y="14605"/>
                    <a:pt x="95678" y="14605"/>
                  </a:cubicBezTo>
                  <a:cubicBezTo>
                    <a:pt x="94874" y="14439"/>
                    <a:pt x="95075" y="13775"/>
                    <a:pt x="95075" y="13443"/>
                  </a:cubicBezTo>
                  <a:cubicBezTo>
                    <a:pt x="94472" y="13609"/>
                    <a:pt x="93869" y="13941"/>
                    <a:pt x="93869" y="14273"/>
                  </a:cubicBezTo>
                  <a:cubicBezTo>
                    <a:pt x="94070" y="14771"/>
                    <a:pt x="94874" y="16929"/>
                    <a:pt x="94271" y="17261"/>
                  </a:cubicBezTo>
                  <a:cubicBezTo>
                    <a:pt x="93668" y="17593"/>
                    <a:pt x="93266" y="18423"/>
                    <a:pt x="92663" y="18091"/>
                  </a:cubicBezTo>
                  <a:cubicBezTo>
                    <a:pt x="92060" y="17925"/>
                    <a:pt x="89849" y="15435"/>
                    <a:pt x="89246" y="15601"/>
                  </a:cubicBezTo>
                  <a:cubicBezTo>
                    <a:pt x="88442" y="15767"/>
                    <a:pt x="86030" y="16597"/>
                    <a:pt x="86231" y="17095"/>
                  </a:cubicBezTo>
                  <a:cubicBezTo>
                    <a:pt x="86231" y="17759"/>
                    <a:pt x="86231" y="18921"/>
                    <a:pt x="87437" y="19917"/>
                  </a:cubicBezTo>
                  <a:cubicBezTo>
                    <a:pt x="88643" y="20746"/>
                    <a:pt x="89246" y="20580"/>
                    <a:pt x="89246" y="21244"/>
                  </a:cubicBezTo>
                  <a:cubicBezTo>
                    <a:pt x="89246" y="21742"/>
                    <a:pt x="89246" y="22240"/>
                    <a:pt x="89849" y="22406"/>
                  </a:cubicBezTo>
                  <a:cubicBezTo>
                    <a:pt x="90452" y="22572"/>
                    <a:pt x="93065" y="23568"/>
                    <a:pt x="93266" y="24398"/>
                  </a:cubicBezTo>
                  <a:cubicBezTo>
                    <a:pt x="93467" y="25062"/>
                    <a:pt x="95075" y="28215"/>
                    <a:pt x="94070" y="27717"/>
                  </a:cubicBezTo>
                  <a:cubicBezTo>
                    <a:pt x="93065" y="27053"/>
                    <a:pt x="91457" y="25726"/>
                    <a:pt x="91055" y="25394"/>
                  </a:cubicBezTo>
                  <a:cubicBezTo>
                    <a:pt x="90653" y="25228"/>
                    <a:pt x="90251" y="24564"/>
                    <a:pt x="89246" y="24730"/>
                  </a:cubicBezTo>
                  <a:cubicBezTo>
                    <a:pt x="88241" y="25062"/>
                    <a:pt x="87638" y="25394"/>
                    <a:pt x="87236" y="25062"/>
                  </a:cubicBezTo>
                  <a:cubicBezTo>
                    <a:pt x="86834" y="24896"/>
                    <a:pt x="84221" y="23402"/>
                    <a:pt x="83618" y="23070"/>
                  </a:cubicBezTo>
                  <a:cubicBezTo>
                    <a:pt x="83216" y="22572"/>
                    <a:pt x="82613" y="21742"/>
                    <a:pt x="82613" y="21244"/>
                  </a:cubicBezTo>
                  <a:cubicBezTo>
                    <a:pt x="82613" y="20912"/>
                    <a:pt x="82613" y="17759"/>
                    <a:pt x="83216" y="17261"/>
                  </a:cubicBezTo>
                  <a:cubicBezTo>
                    <a:pt x="83819" y="16929"/>
                    <a:pt x="85025" y="16099"/>
                    <a:pt x="85226" y="15435"/>
                  </a:cubicBezTo>
                  <a:cubicBezTo>
                    <a:pt x="85226" y="14771"/>
                    <a:pt x="86030" y="13112"/>
                    <a:pt x="86030" y="12614"/>
                  </a:cubicBezTo>
                  <a:cubicBezTo>
                    <a:pt x="86030" y="11950"/>
                    <a:pt x="85628" y="10622"/>
                    <a:pt x="85829" y="9958"/>
                  </a:cubicBezTo>
                  <a:cubicBezTo>
                    <a:pt x="86030" y="9294"/>
                    <a:pt x="86432" y="6970"/>
                    <a:pt x="86432" y="6970"/>
                  </a:cubicBezTo>
                  <a:cubicBezTo>
                    <a:pt x="86633" y="6639"/>
                    <a:pt x="86432" y="6307"/>
                    <a:pt x="85829" y="6307"/>
                  </a:cubicBezTo>
                  <a:cubicBezTo>
                    <a:pt x="85427" y="6307"/>
                    <a:pt x="84623" y="6141"/>
                    <a:pt x="84221" y="6639"/>
                  </a:cubicBezTo>
                  <a:cubicBezTo>
                    <a:pt x="83819" y="6970"/>
                    <a:pt x="83417" y="7634"/>
                    <a:pt x="83618" y="8132"/>
                  </a:cubicBezTo>
                  <a:cubicBezTo>
                    <a:pt x="83618" y="8630"/>
                    <a:pt x="84422" y="9294"/>
                    <a:pt x="84221" y="9792"/>
                  </a:cubicBezTo>
                  <a:cubicBezTo>
                    <a:pt x="84020" y="10124"/>
                    <a:pt x="83216" y="11950"/>
                    <a:pt x="83015" y="12614"/>
                  </a:cubicBezTo>
                  <a:cubicBezTo>
                    <a:pt x="82814" y="13112"/>
                    <a:pt x="82412" y="14439"/>
                    <a:pt x="81608" y="14605"/>
                  </a:cubicBezTo>
                  <a:cubicBezTo>
                    <a:pt x="81005" y="14771"/>
                    <a:pt x="78592" y="14937"/>
                    <a:pt x="78190" y="15269"/>
                  </a:cubicBezTo>
                  <a:cubicBezTo>
                    <a:pt x="77788" y="15601"/>
                    <a:pt x="72361" y="19087"/>
                    <a:pt x="73165" y="19751"/>
                  </a:cubicBezTo>
                  <a:cubicBezTo>
                    <a:pt x="73969" y="20414"/>
                    <a:pt x="74773" y="20912"/>
                    <a:pt x="74572" y="21410"/>
                  </a:cubicBezTo>
                  <a:cubicBezTo>
                    <a:pt x="74572" y="21908"/>
                    <a:pt x="74371" y="23402"/>
                    <a:pt x="74572" y="23734"/>
                  </a:cubicBezTo>
                  <a:cubicBezTo>
                    <a:pt x="74572" y="24066"/>
                    <a:pt x="76783" y="28049"/>
                    <a:pt x="75979" y="28547"/>
                  </a:cubicBezTo>
                  <a:cubicBezTo>
                    <a:pt x="75376" y="29045"/>
                    <a:pt x="73768" y="30207"/>
                    <a:pt x="73567" y="30539"/>
                  </a:cubicBezTo>
                  <a:cubicBezTo>
                    <a:pt x="73567" y="31037"/>
                    <a:pt x="72763" y="32863"/>
                    <a:pt x="72361" y="33526"/>
                  </a:cubicBezTo>
                  <a:cubicBezTo>
                    <a:pt x="71959" y="34024"/>
                    <a:pt x="70351" y="36016"/>
                    <a:pt x="70351" y="36348"/>
                  </a:cubicBezTo>
                  <a:cubicBezTo>
                    <a:pt x="70351" y="36680"/>
                    <a:pt x="70954" y="39834"/>
                    <a:pt x="70552" y="40165"/>
                  </a:cubicBezTo>
                  <a:cubicBezTo>
                    <a:pt x="70150" y="40497"/>
                    <a:pt x="68944" y="41493"/>
                    <a:pt x="68944" y="41825"/>
                  </a:cubicBezTo>
                  <a:cubicBezTo>
                    <a:pt x="68944" y="42323"/>
                    <a:pt x="68944" y="43651"/>
                    <a:pt x="69547" y="43651"/>
                  </a:cubicBezTo>
                  <a:cubicBezTo>
                    <a:pt x="69949" y="43817"/>
                    <a:pt x="71557" y="43651"/>
                    <a:pt x="71959" y="44149"/>
                  </a:cubicBezTo>
                  <a:cubicBezTo>
                    <a:pt x="72160" y="44481"/>
                    <a:pt x="72763" y="45145"/>
                    <a:pt x="73366" y="44979"/>
                  </a:cubicBezTo>
                  <a:cubicBezTo>
                    <a:pt x="74170" y="44647"/>
                    <a:pt x="75376" y="44315"/>
                    <a:pt x="75979" y="43817"/>
                  </a:cubicBezTo>
                  <a:cubicBezTo>
                    <a:pt x="76381" y="43319"/>
                    <a:pt x="76783" y="42987"/>
                    <a:pt x="77185" y="43319"/>
                  </a:cubicBezTo>
                  <a:cubicBezTo>
                    <a:pt x="77386" y="43651"/>
                    <a:pt x="78391" y="44315"/>
                    <a:pt x="78994" y="44481"/>
                  </a:cubicBezTo>
                  <a:cubicBezTo>
                    <a:pt x="79396" y="44647"/>
                    <a:pt x="82211" y="44979"/>
                    <a:pt x="82814" y="45809"/>
                  </a:cubicBezTo>
                  <a:cubicBezTo>
                    <a:pt x="83618" y="46473"/>
                    <a:pt x="85226" y="47966"/>
                    <a:pt x="85628" y="48464"/>
                  </a:cubicBezTo>
                  <a:cubicBezTo>
                    <a:pt x="85829" y="48962"/>
                    <a:pt x="87236" y="50124"/>
                    <a:pt x="86633" y="50622"/>
                  </a:cubicBezTo>
                  <a:cubicBezTo>
                    <a:pt x="86231" y="51120"/>
                    <a:pt x="85628" y="52116"/>
                    <a:pt x="85829" y="52614"/>
                  </a:cubicBezTo>
                  <a:cubicBezTo>
                    <a:pt x="86030" y="53278"/>
                    <a:pt x="86633" y="53775"/>
                    <a:pt x="86231" y="54439"/>
                  </a:cubicBezTo>
                  <a:cubicBezTo>
                    <a:pt x="85829" y="55269"/>
                    <a:pt x="85829" y="55601"/>
                    <a:pt x="85226" y="55767"/>
                  </a:cubicBezTo>
                  <a:cubicBezTo>
                    <a:pt x="84824" y="56099"/>
                    <a:pt x="83819" y="56265"/>
                    <a:pt x="83819" y="56763"/>
                  </a:cubicBezTo>
                  <a:cubicBezTo>
                    <a:pt x="83819" y="57427"/>
                    <a:pt x="83819" y="58921"/>
                    <a:pt x="83819" y="59419"/>
                  </a:cubicBezTo>
                  <a:cubicBezTo>
                    <a:pt x="84020" y="59751"/>
                    <a:pt x="84824" y="60746"/>
                    <a:pt x="85427" y="60912"/>
                  </a:cubicBezTo>
                  <a:cubicBezTo>
                    <a:pt x="86030" y="61078"/>
                    <a:pt x="87839" y="61410"/>
                    <a:pt x="87839" y="61908"/>
                  </a:cubicBezTo>
                  <a:cubicBezTo>
                    <a:pt x="88040" y="62406"/>
                    <a:pt x="88643" y="63236"/>
                    <a:pt x="87839" y="63236"/>
                  </a:cubicBezTo>
                  <a:cubicBezTo>
                    <a:pt x="86834" y="63236"/>
                    <a:pt x="85829" y="63070"/>
                    <a:pt x="85025" y="62738"/>
                  </a:cubicBezTo>
                  <a:cubicBezTo>
                    <a:pt x="84422" y="62572"/>
                    <a:pt x="82412" y="61576"/>
                    <a:pt x="82211" y="60912"/>
                  </a:cubicBezTo>
                  <a:cubicBezTo>
                    <a:pt x="81809" y="60414"/>
                    <a:pt x="81809" y="59917"/>
                    <a:pt x="81608" y="58755"/>
                  </a:cubicBezTo>
                  <a:cubicBezTo>
                    <a:pt x="81608" y="57759"/>
                    <a:pt x="82010" y="55933"/>
                    <a:pt x="82412" y="55435"/>
                  </a:cubicBezTo>
                  <a:cubicBezTo>
                    <a:pt x="82814" y="55103"/>
                    <a:pt x="83618" y="54107"/>
                    <a:pt x="83819" y="53775"/>
                  </a:cubicBezTo>
                  <a:cubicBezTo>
                    <a:pt x="83819" y="53443"/>
                    <a:pt x="83216" y="50622"/>
                    <a:pt x="82412" y="50290"/>
                  </a:cubicBezTo>
                  <a:cubicBezTo>
                    <a:pt x="81809" y="50124"/>
                    <a:pt x="81206" y="49626"/>
                    <a:pt x="81005" y="48962"/>
                  </a:cubicBezTo>
                  <a:cubicBezTo>
                    <a:pt x="80804" y="48298"/>
                    <a:pt x="80603" y="46804"/>
                    <a:pt x="79798" y="46970"/>
                  </a:cubicBezTo>
                  <a:cubicBezTo>
                    <a:pt x="79195" y="46970"/>
                    <a:pt x="76783" y="47302"/>
                    <a:pt x="76180" y="47302"/>
                  </a:cubicBezTo>
                  <a:cubicBezTo>
                    <a:pt x="75577" y="47302"/>
                    <a:pt x="74170" y="47136"/>
                    <a:pt x="73567" y="47468"/>
                  </a:cubicBezTo>
                  <a:cubicBezTo>
                    <a:pt x="72964" y="47634"/>
                    <a:pt x="69949" y="49958"/>
                    <a:pt x="69949" y="50788"/>
                  </a:cubicBezTo>
                  <a:cubicBezTo>
                    <a:pt x="70150" y="51618"/>
                    <a:pt x="71155" y="54937"/>
                    <a:pt x="70954" y="55269"/>
                  </a:cubicBezTo>
                  <a:cubicBezTo>
                    <a:pt x="70954" y="55767"/>
                    <a:pt x="70552" y="57095"/>
                    <a:pt x="70150" y="57759"/>
                  </a:cubicBezTo>
                  <a:cubicBezTo>
                    <a:pt x="69547" y="58257"/>
                    <a:pt x="65326" y="61908"/>
                    <a:pt x="65326" y="62406"/>
                  </a:cubicBezTo>
                  <a:cubicBezTo>
                    <a:pt x="65125" y="63070"/>
                    <a:pt x="65326" y="64564"/>
                    <a:pt x="64522" y="64896"/>
                  </a:cubicBezTo>
                  <a:cubicBezTo>
                    <a:pt x="63919" y="65394"/>
                    <a:pt x="60904" y="66390"/>
                    <a:pt x="60301" y="66556"/>
                  </a:cubicBezTo>
                  <a:cubicBezTo>
                    <a:pt x="59497" y="66721"/>
                    <a:pt x="58894" y="66390"/>
                    <a:pt x="58291" y="67053"/>
                  </a:cubicBezTo>
                  <a:cubicBezTo>
                    <a:pt x="57688" y="67551"/>
                    <a:pt x="57487" y="67717"/>
                    <a:pt x="56884" y="67717"/>
                  </a:cubicBezTo>
                  <a:cubicBezTo>
                    <a:pt x="56281" y="67717"/>
                    <a:pt x="54472" y="67883"/>
                    <a:pt x="54472" y="68381"/>
                  </a:cubicBezTo>
                  <a:cubicBezTo>
                    <a:pt x="54472" y="68879"/>
                    <a:pt x="54673" y="70539"/>
                    <a:pt x="53668" y="70705"/>
                  </a:cubicBezTo>
                  <a:cubicBezTo>
                    <a:pt x="52663" y="70705"/>
                    <a:pt x="51457" y="71037"/>
                    <a:pt x="51055" y="70539"/>
                  </a:cubicBezTo>
                  <a:cubicBezTo>
                    <a:pt x="50854" y="70041"/>
                    <a:pt x="49849" y="68879"/>
                    <a:pt x="49246" y="68879"/>
                  </a:cubicBezTo>
                  <a:cubicBezTo>
                    <a:pt x="48844" y="68879"/>
                    <a:pt x="47236" y="68879"/>
                    <a:pt x="46633" y="68547"/>
                  </a:cubicBezTo>
                  <a:cubicBezTo>
                    <a:pt x="46030" y="68049"/>
                    <a:pt x="45226" y="67883"/>
                    <a:pt x="44221" y="67385"/>
                  </a:cubicBezTo>
                  <a:cubicBezTo>
                    <a:pt x="43015" y="66887"/>
                    <a:pt x="42412" y="66887"/>
                    <a:pt x="42010" y="66390"/>
                  </a:cubicBezTo>
                  <a:cubicBezTo>
                    <a:pt x="41608" y="65892"/>
                    <a:pt x="40000" y="64066"/>
                    <a:pt x="40000" y="63568"/>
                  </a:cubicBezTo>
                  <a:cubicBezTo>
                    <a:pt x="40000" y="63070"/>
                    <a:pt x="39798" y="61244"/>
                    <a:pt x="41005" y="61742"/>
                  </a:cubicBezTo>
                  <a:cubicBezTo>
                    <a:pt x="42010" y="62074"/>
                    <a:pt x="44422" y="63734"/>
                    <a:pt x="45025" y="64066"/>
                  </a:cubicBezTo>
                  <a:cubicBezTo>
                    <a:pt x="45829" y="64398"/>
                    <a:pt x="46834" y="64232"/>
                    <a:pt x="47638" y="63900"/>
                  </a:cubicBezTo>
                  <a:cubicBezTo>
                    <a:pt x="48442" y="63568"/>
                    <a:pt x="48643" y="63402"/>
                    <a:pt x="49246" y="63568"/>
                  </a:cubicBezTo>
                  <a:cubicBezTo>
                    <a:pt x="50050" y="63734"/>
                    <a:pt x="51859" y="64232"/>
                    <a:pt x="52663" y="63900"/>
                  </a:cubicBezTo>
                  <a:cubicBezTo>
                    <a:pt x="53467" y="63568"/>
                    <a:pt x="54472" y="62406"/>
                    <a:pt x="54673" y="62074"/>
                  </a:cubicBezTo>
                  <a:cubicBezTo>
                    <a:pt x="54874" y="61576"/>
                    <a:pt x="57688" y="59087"/>
                    <a:pt x="58090" y="58921"/>
                  </a:cubicBezTo>
                  <a:cubicBezTo>
                    <a:pt x="59095" y="58423"/>
                    <a:pt x="60502" y="57261"/>
                    <a:pt x="61708" y="57095"/>
                  </a:cubicBezTo>
                  <a:cubicBezTo>
                    <a:pt x="63115" y="56763"/>
                    <a:pt x="63316" y="53443"/>
                    <a:pt x="63316" y="52946"/>
                  </a:cubicBezTo>
                  <a:cubicBezTo>
                    <a:pt x="63316" y="52448"/>
                    <a:pt x="65527" y="51120"/>
                    <a:pt x="66130" y="50788"/>
                  </a:cubicBezTo>
                  <a:cubicBezTo>
                    <a:pt x="66733" y="50456"/>
                    <a:pt x="66733" y="49460"/>
                    <a:pt x="66532" y="48796"/>
                  </a:cubicBezTo>
                  <a:cubicBezTo>
                    <a:pt x="66532" y="48298"/>
                    <a:pt x="65728" y="47468"/>
                    <a:pt x="64522" y="46970"/>
                  </a:cubicBezTo>
                  <a:cubicBezTo>
                    <a:pt x="63316" y="46639"/>
                    <a:pt x="63517" y="45145"/>
                    <a:pt x="63316" y="44149"/>
                  </a:cubicBezTo>
                  <a:cubicBezTo>
                    <a:pt x="63316" y="43319"/>
                    <a:pt x="64321" y="41493"/>
                    <a:pt x="64522" y="40829"/>
                  </a:cubicBezTo>
                  <a:cubicBezTo>
                    <a:pt x="64723" y="40331"/>
                    <a:pt x="66130" y="36348"/>
                    <a:pt x="66130" y="36016"/>
                  </a:cubicBezTo>
                  <a:cubicBezTo>
                    <a:pt x="66130" y="35518"/>
                    <a:pt x="66733" y="33029"/>
                    <a:pt x="66733" y="32365"/>
                  </a:cubicBezTo>
                  <a:cubicBezTo>
                    <a:pt x="66733" y="31867"/>
                    <a:pt x="68140" y="30373"/>
                    <a:pt x="69145" y="29045"/>
                  </a:cubicBezTo>
                  <a:cubicBezTo>
                    <a:pt x="70150" y="27717"/>
                    <a:pt x="71155" y="23070"/>
                    <a:pt x="71155" y="22074"/>
                  </a:cubicBezTo>
                  <a:cubicBezTo>
                    <a:pt x="71155" y="21078"/>
                    <a:pt x="70351" y="20414"/>
                    <a:pt x="69547" y="19751"/>
                  </a:cubicBezTo>
                  <a:cubicBezTo>
                    <a:pt x="68542" y="18921"/>
                    <a:pt x="69748" y="17261"/>
                    <a:pt x="69949" y="16763"/>
                  </a:cubicBezTo>
                  <a:cubicBezTo>
                    <a:pt x="69949" y="16265"/>
                    <a:pt x="73366" y="13775"/>
                    <a:pt x="73768" y="13278"/>
                  </a:cubicBezTo>
                  <a:cubicBezTo>
                    <a:pt x="74170" y="12946"/>
                    <a:pt x="74572" y="9792"/>
                    <a:pt x="74773" y="9128"/>
                  </a:cubicBezTo>
                  <a:cubicBezTo>
                    <a:pt x="74773" y="8630"/>
                    <a:pt x="75577" y="7966"/>
                    <a:pt x="75979" y="7468"/>
                  </a:cubicBezTo>
                  <a:cubicBezTo>
                    <a:pt x="76381" y="7136"/>
                    <a:pt x="75577" y="4481"/>
                    <a:pt x="74974" y="3817"/>
                  </a:cubicBezTo>
                  <a:cubicBezTo>
                    <a:pt x="74371" y="3319"/>
                    <a:pt x="72763" y="3319"/>
                    <a:pt x="71959" y="3319"/>
                  </a:cubicBezTo>
                  <a:cubicBezTo>
                    <a:pt x="71356" y="3153"/>
                    <a:pt x="70552" y="2655"/>
                    <a:pt x="70351" y="2323"/>
                  </a:cubicBezTo>
                  <a:cubicBezTo>
                    <a:pt x="69949" y="1991"/>
                    <a:pt x="67537" y="1991"/>
                    <a:pt x="66934" y="1991"/>
                  </a:cubicBezTo>
                  <a:cubicBezTo>
                    <a:pt x="66532" y="1991"/>
                    <a:pt x="65326" y="829"/>
                    <a:pt x="65125" y="331"/>
                  </a:cubicBezTo>
                  <a:cubicBezTo>
                    <a:pt x="64723" y="0"/>
                    <a:pt x="63718" y="331"/>
                    <a:pt x="63316" y="663"/>
                  </a:cubicBezTo>
                  <a:cubicBezTo>
                    <a:pt x="62914" y="829"/>
                    <a:pt x="62110" y="1493"/>
                    <a:pt x="61909" y="1991"/>
                  </a:cubicBezTo>
                  <a:cubicBezTo>
                    <a:pt x="61909" y="2489"/>
                    <a:pt x="58291" y="9294"/>
                    <a:pt x="57889" y="10290"/>
                  </a:cubicBezTo>
                  <a:cubicBezTo>
                    <a:pt x="57487" y="11120"/>
                    <a:pt x="54874" y="12946"/>
                    <a:pt x="53869" y="13278"/>
                  </a:cubicBezTo>
                  <a:cubicBezTo>
                    <a:pt x="53065" y="13775"/>
                    <a:pt x="50452" y="14605"/>
                    <a:pt x="49045" y="14771"/>
                  </a:cubicBezTo>
                  <a:cubicBezTo>
                    <a:pt x="47638" y="15103"/>
                    <a:pt x="46633" y="17427"/>
                    <a:pt x="46231" y="18589"/>
                  </a:cubicBezTo>
                  <a:cubicBezTo>
                    <a:pt x="45628" y="19585"/>
                    <a:pt x="47035" y="19751"/>
                    <a:pt x="47638" y="19751"/>
                  </a:cubicBezTo>
                  <a:cubicBezTo>
                    <a:pt x="48040" y="19917"/>
                    <a:pt x="47638" y="20912"/>
                    <a:pt x="47437" y="21576"/>
                  </a:cubicBezTo>
                  <a:cubicBezTo>
                    <a:pt x="47236" y="22074"/>
                    <a:pt x="47035" y="22406"/>
                    <a:pt x="46231" y="22904"/>
                  </a:cubicBezTo>
                  <a:cubicBezTo>
                    <a:pt x="45628" y="23568"/>
                    <a:pt x="45628" y="25892"/>
                    <a:pt x="45628" y="26224"/>
                  </a:cubicBezTo>
                  <a:cubicBezTo>
                    <a:pt x="45628" y="26556"/>
                    <a:pt x="45427" y="27053"/>
                    <a:pt x="45025" y="27883"/>
                  </a:cubicBezTo>
                  <a:cubicBezTo>
                    <a:pt x="44623" y="28547"/>
                    <a:pt x="42613" y="28879"/>
                    <a:pt x="41809" y="29543"/>
                  </a:cubicBezTo>
                  <a:cubicBezTo>
                    <a:pt x="41005" y="30041"/>
                    <a:pt x="41809" y="30871"/>
                    <a:pt x="42814" y="32199"/>
                  </a:cubicBezTo>
                  <a:cubicBezTo>
                    <a:pt x="44020" y="33360"/>
                    <a:pt x="44824" y="33526"/>
                    <a:pt x="45427" y="33858"/>
                  </a:cubicBezTo>
                  <a:cubicBezTo>
                    <a:pt x="45829" y="34190"/>
                    <a:pt x="45427" y="35850"/>
                    <a:pt x="45226" y="36680"/>
                  </a:cubicBezTo>
                  <a:cubicBezTo>
                    <a:pt x="45025" y="37510"/>
                    <a:pt x="45829" y="39004"/>
                    <a:pt x="46231" y="39668"/>
                  </a:cubicBezTo>
                  <a:cubicBezTo>
                    <a:pt x="46633" y="40165"/>
                    <a:pt x="47437" y="40331"/>
                    <a:pt x="48040" y="40663"/>
                  </a:cubicBezTo>
                  <a:cubicBezTo>
                    <a:pt x="48643" y="40995"/>
                    <a:pt x="46633" y="42323"/>
                    <a:pt x="45829" y="42821"/>
                  </a:cubicBezTo>
                  <a:cubicBezTo>
                    <a:pt x="45226" y="43153"/>
                    <a:pt x="45427" y="45145"/>
                    <a:pt x="45427" y="45975"/>
                  </a:cubicBezTo>
                  <a:cubicBezTo>
                    <a:pt x="45226" y="46804"/>
                    <a:pt x="44020" y="46804"/>
                    <a:pt x="43015" y="46970"/>
                  </a:cubicBezTo>
                  <a:cubicBezTo>
                    <a:pt x="42211" y="46970"/>
                    <a:pt x="41206" y="45145"/>
                    <a:pt x="41005" y="44647"/>
                  </a:cubicBezTo>
                  <a:cubicBezTo>
                    <a:pt x="40804" y="44149"/>
                    <a:pt x="40603" y="43485"/>
                    <a:pt x="40603" y="42655"/>
                  </a:cubicBezTo>
                  <a:cubicBezTo>
                    <a:pt x="40402" y="41991"/>
                    <a:pt x="39396" y="40497"/>
                    <a:pt x="38994" y="40000"/>
                  </a:cubicBezTo>
                  <a:cubicBezTo>
                    <a:pt x="38391" y="39668"/>
                    <a:pt x="36381" y="37012"/>
                    <a:pt x="35577" y="36182"/>
                  </a:cubicBezTo>
                  <a:cubicBezTo>
                    <a:pt x="34974" y="35518"/>
                    <a:pt x="33969" y="34854"/>
                    <a:pt x="33165" y="34190"/>
                  </a:cubicBezTo>
                  <a:cubicBezTo>
                    <a:pt x="32763" y="33858"/>
                    <a:pt x="32361" y="33029"/>
                    <a:pt x="31758" y="32365"/>
                  </a:cubicBezTo>
                  <a:cubicBezTo>
                    <a:pt x="31356" y="33360"/>
                    <a:pt x="30351" y="34024"/>
                    <a:pt x="29547" y="34688"/>
                  </a:cubicBezTo>
                  <a:cubicBezTo>
                    <a:pt x="29145" y="34854"/>
                    <a:pt x="28944" y="35186"/>
                    <a:pt x="28743" y="35352"/>
                  </a:cubicBezTo>
                  <a:cubicBezTo>
                    <a:pt x="28743" y="35518"/>
                    <a:pt x="29145" y="35684"/>
                    <a:pt x="29748" y="36182"/>
                  </a:cubicBezTo>
                  <a:cubicBezTo>
                    <a:pt x="29949" y="36348"/>
                    <a:pt x="30150" y="36348"/>
                    <a:pt x="30150" y="36514"/>
                  </a:cubicBezTo>
                  <a:cubicBezTo>
                    <a:pt x="30351" y="36514"/>
                    <a:pt x="30351" y="36514"/>
                    <a:pt x="30552" y="36680"/>
                  </a:cubicBezTo>
                  <a:cubicBezTo>
                    <a:pt x="30753" y="36846"/>
                    <a:pt x="30954" y="37012"/>
                    <a:pt x="31155" y="37012"/>
                  </a:cubicBezTo>
                  <a:cubicBezTo>
                    <a:pt x="31155" y="37178"/>
                    <a:pt x="31356" y="37178"/>
                    <a:pt x="31557" y="37344"/>
                  </a:cubicBezTo>
                  <a:cubicBezTo>
                    <a:pt x="31959" y="38008"/>
                    <a:pt x="31356" y="41327"/>
                    <a:pt x="31155" y="41493"/>
                  </a:cubicBezTo>
                  <a:cubicBezTo>
                    <a:pt x="31155" y="41659"/>
                    <a:pt x="31155" y="41659"/>
                    <a:pt x="30954" y="41825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0" name="Shape 6904">
              <a:extLst>
                <a:ext uri="{FF2B5EF4-FFF2-40B4-BE49-F238E27FC236}">
                  <a16:creationId xmlns:a16="http://schemas.microsoft.com/office/drawing/2014/main" id="{67CAB10A-5909-4330-ABDA-26984F29F5A4}"/>
                </a:ext>
              </a:extLst>
            </p:cNvPr>
            <p:cNvSpPr/>
            <p:nvPr/>
          </p:nvSpPr>
          <p:spPr>
            <a:xfrm>
              <a:off x="2883739" y="3309424"/>
              <a:ext cx="1409457" cy="96676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54575" y="114661"/>
                  </a:moveTo>
                  <a:cubicBezTo>
                    <a:pt x="54739" y="114661"/>
                    <a:pt x="55068" y="114893"/>
                    <a:pt x="55232" y="115125"/>
                  </a:cubicBezTo>
                  <a:cubicBezTo>
                    <a:pt x="55561" y="115125"/>
                    <a:pt x="55890" y="115357"/>
                    <a:pt x="56054" y="115589"/>
                  </a:cubicBezTo>
                  <a:cubicBezTo>
                    <a:pt x="56054" y="115589"/>
                    <a:pt x="56383" y="115822"/>
                    <a:pt x="56547" y="116054"/>
                  </a:cubicBezTo>
                  <a:cubicBezTo>
                    <a:pt x="57041" y="116286"/>
                    <a:pt x="57369" y="116518"/>
                    <a:pt x="57534" y="116982"/>
                  </a:cubicBezTo>
                  <a:cubicBezTo>
                    <a:pt x="57863" y="117214"/>
                    <a:pt x="58191" y="117678"/>
                    <a:pt x="58520" y="117911"/>
                  </a:cubicBezTo>
                  <a:cubicBezTo>
                    <a:pt x="58684" y="118143"/>
                    <a:pt x="59506" y="118143"/>
                    <a:pt x="60164" y="117911"/>
                  </a:cubicBezTo>
                  <a:cubicBezTo>
                    <a:pt x="60164" y="117911"/>
                    <a:pt x="60328" y="118143"/>
                    <a:pt x="60328" y="118143"/>
                  </a:cubicBezTo>
                  <a:cubicBezTo>
                    <a:pt x="60986" y="118839"/>
                    <a:pt x="61808" y="119767"/>
                    <a:pt x="61972" y="119767"/>
                  </a:cubicBezTo>
                  <a:cubicBezTo>
                    <a:pt x="61972" y="119767"/>
                    <a:pt x="62136" y="119767"/>
                    <a:pt x="62301" y="119535"/>
                  </a:cubicBezTo>
                  <a:cubicBezTo>
                    <a:pt x="62630" y="119535"/>
                    <a:pt x="62794" y="119303"/>
                    <a:pt x="62958" y="119303"/>
                  </a:cubicBezTo>
                  <a:cubicBezTo>
                    <a:pt x="63123" y="119303"/>
                    <a:pt x="63287" y="119767"/>
                    <a:pt x="63452" y="119767"/>
                  </a:cubicBezTo>
                  <a:cubicBezTo>
                    <a:pt x="63452" y="119767"/>
                    <a:pt x="63452" y="120000"/>
                    <a:pt x="63616" y="120000"/>
                  </a:cubicBezTo>
                  <a:cubicBezTo>
                    <a:pt x="63616" y="119767"/>
                    <a:pt x="63780" y="119767"/>
                    <a:pt x="63780" y="119535"/>
                  </a:cubicBezTo>
                  <a:cubicBezTo>
                    <a:pt x="64109" y="119071"/>
                    <a:pt x="65589" y="118375"/>
                    <a:pt x="66082" y="118143"/>
                  </a:cubicBezTo>
                  <a:cubicBezTo>
                    <a:pt x="66082" y="117911"/>
                    <a:pt x="66410" y="116982"/>
                    <a:pt x="66739" y="114893"/>
                  </a:cubicBezTo>
                  <a:cubicBezTo>
                    <a:pt x="66739" y="114429"/>
                    <a:pt x="66739" y="114429"/>
                    <a:pt x="66739" y="114429"/>
                  </a:cubicBezTo>
                  <a:cubicBezTo>
                    <a:pt x="66739" y="114197"/>
                    <a:pt x="66904" y="113965"/>
                    <a:pt x="70027" y="110947"/>
                  </a:cubicBezTo>
                  <a:cubicBezTo>
                    <a:pt x="70191" y="110947"/>
                    <a:pt x="70191" y="110947"/>
                    <a:pt x="70191" y="110947"/>
                  </a:cubicBezTo>
                  <a:cubicBezTo>
                    <a:pt x="70356" y="110715"/>
                    <a:pt x="70684" y="110483"/>
                    <a:pt x="71835" y="110251"/>
                  </a:cubicBezTo>
                  <a:cubicBezTo>
                    <a:pt x="72493" y="110019"/>
                    <a:pt x="73315" y="109555"/>
                    <a:pt x="73643" y="109555"/>
                  </a:cubicBezTo>
                  <a:cubicBezTo>
                    <a:pt x="73808" y="109090"/>
                    <a:pt x="73643" y="106537"/>
                    <a:pt x="73479" y="105841"/>
                  </a:cubicBezTo>
                  <a:cubicBezTo>
                    <a:pt x="73479" y="105377"/>
                    <a:pt x="73479" y="104912"/>
                    <a:pt x="73479" y="104680"/>
                  </a:cubicBezTo>
                  <a:cubicBezTo>
                    <a:pt x="73479" y="103520"/>
                    <a:pt x="76109" y="96324"/>
                    <a:pt x="76109" y="96092"/>
                  </a:cubicBezTo>
                  <a:cubicBezTo>
                    <a:pt x="76273" y="95860"/>
                    <a:pt x="76602" y="95628"/>
                    <a:pt x="78410" y="95164"/>
                  </a:cubicBezTo>
                  <a:cubicBezTo>
                    <a:pt x="78739" y="95164"/>
                    <a:pt x="78739" y="95164"/>
                    <a:pt x="78739" y="95164"/>
                  </a:cubicBezTo>
                  <a:cubicBezTo>
                    <a:pt x="78739" y="95164"/>
                    <a:pt x="79890" y="94700"/>
                    <a:pt x="80712" y="95164"/>
                  </a:cubicBezTo>
                  <a:cubicBezTo>
                    <a:pt x="81534" y="95860"/>
                    <a:pt x="82849" y="96557"/>
                    <a:pt x="83178" y="96557"/>
                  </a:cubicBezTo>
                  <a:cubicBezTo>
                    <a:pt x="83342" y="96557"/>
                    <a:pt x="83506" y="96557"/>
                    <a:pt x="83671" y="96557"/>
                  </a:cubicBezTo>
                  <a:cubicBezTo>
                    <a:pt x="86136" y="96324"/>
                    <a:pt x="86958" y="96557"/>
                    <a:pt x="87287" y="97021"/>
                  </a:cubicBezTo>
                  <a:cubicBezTo>
                    <a:pt x="87452" y="97253"/>
                    <a:pt x="87452" y="97485"/>
                    <a:pt x="87616" y="97717"/>
                  </a:cubicBezTo>
                  <a:cubicBezTo>
                    <a:pt x="87780" y="97949"/>
                    <a:pt x="88109" y="98646"/>
                    <a:pt x="88273" y="98646"/>
                  </a:cubicBezTo>
                  <a:cubicBezTo>
                    <a:pt x="88602" y="98878"/>
                    <a:pt x="91397" y="99574"/>
                    <a:pt x="91890" y="99342"/>
                  </a:cubicBezTo>
                  <a:cubicBezTo>
                    <a:pt x="92547" y="98646"/>
                    <a:pt x="94520" y="97485"/>
                    <a:pt x="95178" y="98646"/>
                  </a:cubicBezTo>
                  <a:cubicBezTo>
                    <a:pt x="95178" y="98646"/>
                    <a:pt x="95178" y="98646"/>
                    <a:pt x="95178" y="98646"/>
                  </a:cubicBezTo>
                  <a:cubicBezTo>
                    <a:pt x="96493" y="100735"/>
                    <a:pt x="96986" y="101431"/>
                    <a:pt x="97150" y="101431"/>
                  </a:cubicBezTo>
                  <a:cubicBezTo>
                    <a:pt x="97315" y="101431"/>
                    <a:pt x="97643" y="101199"/>
                    <a:pt x="97972" y="101199"/>
                  </a:cubicBezTo>
                  <a:cubicBezTo>
                    <a:pt x="99123" y="100735"/>
                    <a:pt x="99616" y="100735"/>
                    <a:pt x="99780" y="100967"/>
                  </a:cubicBezTo>
                  <a:cubicBezTo>
                    <a:pt x="99945" y="100967"/>
                    <a:pt x="100109" y="100967"/>
                    <a:pt x="100273" y="101199"/>
                  </a:cubicBezTo>
                  <a:cubicBezTo>
                    <a:pt x="101424" y="102127"/>
                    <a:pt x="102082" y="102591"/>
                    <a:pt x="102410" y="102823"/>
                  </a:cubicBezTo>
                  <a:cubicBezTo>
                    <a:pt x="102410" y="102591"/>
                    <a:pt x="102575" y="101895"/>
                    <a:pt x="102575" y="101431"/>
                  </a:cubicBezTo>
                  <a:cubicBezTo>
                    <a:pt x="102904" y="99574"/>
                    <a:pt x="103068" y="98646"/>
                    <a:pt x="103561" y="98646"/>
                  </a:cubicBezTo>
                  <a:cubicBezTo>
                    <a:pt x="103561" y="98646"/>
                    <a:pt x="104054" y="98413"/>
                    <a:pt x="104383" y="98181"/>
                  </a:cubicBezTo>
                  <a:cubicBezTo>
                    <a:pt x="106520" y="97021"/>
                    <a:pt x="107671" y="96324"/>
                    <a:pt x="108164" y="96789"/>
                  </a:cubicBezTo>
                  <a:cubicBezTo>
                    <a:pt x="108493" y="96789"/>
                    <a:pt x="111287" y="99110"/>
                    <a:pt x="112273" y="100270"/>
                  </a:cubicBezTo>
                  <a:cubicBezTo>
                    <a:pt x="114904" y="96789"/>
                    <a:pt x="114904" y="96789"/>
                    <a:pt x="114904" y="96789"/>
                  </a:cubicBezTo>
                  <a:cubicBezTo>
                    <a:pt x="114904" y="96789"/>
                    <a:pt x="114904" y="96789"/>
                    <a:pt x="114904" y="96789"/>
                  </a:cubicBezTo>
                  <a:cubicBezTo>
                    <a:pt x="116383" y="96092"/>
                    <a:pt x="118027" y="95164"/>
                    <a:pt x="118191" y="94932"/>
                  </a:cubicBezTo>
                  <a:cubicBezTo>
                    <a:pt x="118520" y="94468"/>
                    <a:pt x="119835" y="91914"/>
                    <a:pt x="119999" y="91218"/>
                  </a:cubicBezTo>
                  <a:cubicBezTo>
                    <a:pt x="119999" y="91218"/>
                    <a:pt x="119835" y="90986"/>
                    <a:pt x="119835" y="90986"/>
                  </a:cubicBezTo>
                  <a:cubicBezTo>
                    <a:pt x="119671" y="90986"/>
                    <a:pt x="119506" y="90754"/>
                    <a:pt x="119342" y="90754"/>
                  </a:cubicBezTo>
                  <a:cubicBezTo>
                    <a:pt x="119178" y="90522"/>
                    <a:pt x="118356" y="89825"/>
                    <a:pt x="117534" y="89129"/>
                  </a:cubicBezTo>
                  <a:cubicBezTo>
                    <a:pt x="116547" y="88201"/>
                    <a:pt x="115397" y="87504"/>
                    <a:pt x="114904" y="86808"/>
                  </a:cubicBezTo>
                  <a:cubicBezTo>
                    <a:pt x="113917" y="85880"/>
                    <a:pt x="114082" y="83558"/>
                    <a:pt x="114082" y="82166"/>
                  </a:cubicBezTo>
                  <a:cubicBezTo>
                    <a:pt x="114082" y="81934"/>
                    <a:pt x="114246" y="81702"/>
                    <a:pt x="114246" y="81702"/>
                  </a:cubicBezTo>
                  <a:cubicBezTo>
                    <a:pt x="114246" y="81470"/>
                    <a:pt x="114246" y="81470"/>
                    <a:pt x="114246" y="81237"/>
                  </a:cubicBezTo>
                  <a:cubicBezTo>
                    <a:pt x="113917" y="80541"/>
                    <a:pt x="112273" y="77988"/>
                    <a:pt x="111945" y="77292"/>
                  </a:cubicBezTo>
                  <a:cubicBezTo>
                    <a:pt x="111945" y="77292"/>
                    <a:pt x="111616" y="77059"/>
                    <a:pt x="110794" y="77292"/>
                  </a:cubicBezTo>
                  <a:cubicBezTo>
                    <a:pt x="110794" y="77292"/>
                    <a:pt x="110630" y="77292"/>
                    <a:pt x="110630" y="77292"/>
                  </a:cubicBezTo>
                  <a:cubicBezTo>
                    <a:pt x="110465" y="77292"/>
                    <a:pt x="110136" y="77524"/>
                    <a:pt x="109972" y="77524"/>
                  </a:cubicBezTo>
                  <a:cubicBezTo>
                    <a:pt x="109479" y="77756"/>
                    <a:pt x="109150" y="77988"/>
                    <a:pt x="108821" y="77988"/>
                  </a:cubicBezTo>
                  <a:cubicBezTo>
                    <a:pt x="108493" y="77988"/>
                    <a:pt x="108000" y="77524"/>
                    <a:pt x="106849" y="74274"/>
                  </a:cubicBezTo>
                  <a:cubicBezTo>
                    <a:pt x="106849" y="74042"/>
                    <a:pt x="106849" y="74042"/>
                    <a:pt x="106849" y="74042"/>
                  </a:cubicBezTo>
                  <a:cubicBezTo>
                    <a:pt x="106520" y="73578"/>
                    <a:pt x="104876" y="72882"/>
                    <a:pt x="104054" y="72649"/>
                  </a:cubicBezTo>
                  <a:cubicBezTo>
                    <a:pt x="103726" y="72649"/>
                    <a:pt x="103561" y="72417"/>
                    <a:pt x="103397" y="72417"/>
                  </a:cubicBezTo>
                  <a:cubicBezTo>
                    <a:pt x="103232" y="72417"/>
                    <a:pt x="103068" y="72882"/>
                    <a:pt x="103068" y="73114"/>
                  </a:cubicBezTo>
                  <a:cubicBezTo>
                    <a:pt x="102904" y="73578"/>
                    <a:pt x="102739" y="73810"/>
                    <a:pt x="102410" y="74042"/>
                  </a:cubicBezTo>
                  <a:cubicBezTo>
                    <a:pt x="102410" y="74042"/>
                    <a:pt x="102246" y="74042"/>
                    <a:pt x="102082" y="74042"/>
                  </a:cubicBezTo>
                  <a:cubicBezTo>
                    <a:pt x="101424" y="73578"/>
                    <a:pt x="100109" y="70560"/>
                    <a:pt x="99945" y="69632"/>
                  </a:cubicBezTo>
                  <a:cubicBezTo>
                    <a:pt x="99780" y="68471"/>
                    <a:pt x="99287" y="67311"/>
                    <a:pt x="98958" y="66382"/>
                  </a:cubicBezTo>
                  <a:cubicBezTo>
                    <a:pt x="98630" y="66382"/>
                    <a:pt x="97643" y="67311"/>
                    <a:pt x="95835" y="69168"/>
                  </a:cubicBezTo>
                  <a:cubicBezTo>
                    <a:pt x="95506" y="69632"/>
                    <a:pt x="95342" y="69864"/>
                    <a:pt x="95178" y="69864"/>
                  </a:cubicBezTo>
                  <a:cubicBezTo>
                    <a:pt x="94849" y="70096"/>
                    <a:pt x="94520" y="70793"/>
                    <a:pt x="94356" y="71257"/>
                  </a:cubicBezTo>
                  <a:cubicBezTo>
                    <a:pt x="94027" y="71953"/>
                    <a:pt x="93698" y="72417"/>
                    <a:pt x="93205" y="72649"/>
                  </a:cubicBezTo>
                  <a:cubicBezTo>
                    <a:pt x="92712" y="73114"/>
                    <a:pt x="86136" y="72882"/>
                    <a:pt x="85808" y="72649"/>
                  </a:cubicBezTo>
                  <a:cubicBezTo>
                    <a:pt x="84986" y="72649"/>
                    <a:pt x="84000" y="71025"/>
                    <a:pt x="83671" y="70328"/>
                  </a:cubicBezTo>
                  <a:cubicBezTo>
                    <a:pt x="83342" y="69632"/>
                    <a:pt x="82684" y="69168"/>
                    <a:pt x="82191" y="68704"/>
                  </a:cubicBezTo>
                  <a:cubicBezTo>
                    <a:pt x="81863" y="68471"/>
                    <a:pt x="81534" y="68239"/>
                    <a:pt x="81369" y="68007"/>
                  </a:cubicBezTo>
                  <a:cubicBezTo>
                    <a:pt x="80712" y="67311"/>
                    <a:pt x="81041" y="66150"/>
                    <a:pt x="81205" y="65454"/>
                  </a:cubicBezTo>
                  <a:cubicBezTo>
                    <a:pt x="81205" y="65222"/>
                    <a:pt x="81369" y="64990"/>
                    <a:pt x="81369" y="64758"/>
                  </a:cubicBezTo>
                  <a:cubicBezTo>
                    <a:pt x="81205" y="64526"/>
                    <a:pt x="79561" y="63597"/>
                    <a:pt x="78739" y="63365"/>
                  </a:cubicBezTo>
                  <a:cubicBezTo>
                    <a:pt x="78410" y="63365"/>
                    <a:pt x="78410" y="63597"/>
                    <a:pt x="78246" y="63829"/>
                  </a:cubicBezTo>
                  <a:cubicBezTo>
                    <a:pt x="78082" y="64061"/>
                    <a:pt x="77917" y="64294"/>
                    <a:pt x="77753" y="64526"/>
                  </a:cubicBezTo>
                  <a:cubicBezTo>
                    <a:pt x="77095" y="64758"/>
                    <a:pt x="76767" y="63829"/>
                    <a:pt x="76438" y="63133"/>
                  </a:cubicBezTo>
                  <a:cubicBezTo>
                    <a:pt x="76273" y="62901"/>
                    <a:pt x="76273" y="62669"/>
                    <a:pt x="76109" y="62437"/>
                  </a:cubicBezTo>
                  <a:cubicBezTo>
                    <a:pt x="75945" y="61972"/>
                    <a:pt x="75123" y="61740"/>
                    <a:pt x="74630" y="61508"/>
                  </a:cubicBezTo>
                  <a:cubicBezTo>
                    <a:pt x="74136" y="61276"/>
                    <a:pt x="73808" y="61276"/>
                    <a:pt x="73643" y="61044"/>
                  </a:cubicBezTo>
                  <a:cubicBezTo>
                    <a:pt x="73315" y="60812"/>
                    <a:pt x="72493" y="61276"/>
                    <a:pt x="71835" y="61508"/>
                  </a:cubicBezTo>
                  <a:cubicBezTo>
                    <a:pt x="71671" y="61508"/>
                    <a:pt x="71506" y="61508"/>
                    <a:pt x="71178" y="61508"/>
                  </a:cubicBezTo>
                  <a:cubicBezTo>
                    <a:pt x="70520" y="61740"/>
                    <a:pt x="69698" y="60580"/>
                    <a:pt x="68876" y="59187"/>
                  </a:cubicBezTo>
                  <a:cubicBezTo>
                    <a:pt x="68712" y="58723"/>
                    <a:pt x="68547" y="58491"/>
                    <a:pt x="68547" y="58491"/>
                  </a:cubicBezTo>
                  <a:cubicBezTo>
                    <a:pt x="68383" y="58259"/>
                    <a:pt x="68054" y="58259"/>
                    <a:pt x="67726" y="58259"/>
                  </a:cubicBezTo>
                  <a:cubicBezTo>
                    <a:pt x="67397" y="58259"/>
                    <a:pt x="67232" y="58259"/>
                    <a:pt x="67068" y="58259"/>
                  </a:cubicBezTo>
                  <a:cubicBezTo>
                    <a:pt x="66410" y="58027"/>
                    <a:pt x="65917" y="57098"/>
                    <a:pt x="65260" y="55241"/>
                  </a:cubicBezTo>
                  <a:cubicBezTo>
                    <a:pt x="65095" y="55009"/>
                    <a:pt x="65095" y="54777"/>
                    <a:pt x="65095" y="54777"/>
                  </a:cubicBezTo>
                  <a:cubicBezTo>
                    <a:pt x="64931" y="54313"/>
                    <a:pt x="64109" y="54313"/>
                    <a:pt x="63780" y="54313"/>
                  </a:cubicBezTo>
                  <a:cubicBezTo>
                    <a:pt x="63452" y="54313"/>
                    <a:pt x="62136" y="54545"/>
                    <a:pt x="60986" y="54777"/>
                  </a:cubicBezTo>
                  <a:cubicBezTo>
                    <a:pt x="59999" y="55009"/>
                    <a:pt x="59178" y="55009"/>
                    <a:pt x="59013" y="55009"/>
                  </a:cubicBezTo>
                  <a:cubicBezTo>
                    <a:pt x="58520" y="55009"/>
                    <a:pt x="58191" y="53849"/>
                    <a:pt x="57863" y="52224"/>
                  </a:cubicBezTo>
                  <a:cubicBezTo>
                    <a:pt x="57863" y="51760"/>
                    <a:pt x="57863" y="51528"/>
                    <a:pt x="57863" y="51528"/>
                  </a:cubicBezTo>
                  <a:cubicBezTo>
                    <a:pt x="57698" y="50831"/>
                    <a:pt x="57863" y="50135"/>
                    <a:pt x="58027" y="49439"/>
                  </a:cubicBezTo>
                  <a:cubicBezTo>
                    <a:pt x="58027" y="48974"/>
                    <a:pt x="58191" y="48510"/>
                    <a:pt x="58191" y="48278"/>
                  </a:cubicBezTo>
                  <a:cubicBezTo>
                    <a:pt x="58191" y="48046"/>
                    <a:pt x="57369" y="46885"/>
                    <a:pt x="57041" y="46189"/>
                  </a:cubicBezTo>
                  <a:cubicBezTo>
                    <a:pt x="56547" y="45493"/>
                    <a:pt x="56219" y="45029"/>
                    <a:pt x="56054" y="44564"/>
                  </a:cubicBezTo>
                  <a:cubicBezTo>
                    <a:pt x="55726" y="43868"/>
                    <a:pt x="55726" y="42707"/>
                    <a:pt x="55726" y="42011"/>
                  </a:cubicBezTo>
                  <a:cubicBezTo>
                    <a:pt x="55726" y="41315"/>
                    <a:pt x="55397" y="38762"/>
                    <a:pt x="55232" y="37601"/>
                  </a:cubicBezTo>
                  <a:cubicBezTo>
                    <a:pt x="55232" y="37137"/>
                    <a:pt x="54082" y="35744"/>
                    <a:pt x="53589" y="35048"/>
                  </a:cubicBezTo>
                  <a:cubicBezTo>
                    <a:pt x="53095" y="34352"/>
                    <a:pt x="52767" y="33887"/>
                    <a:pt x="52602" y="33655"/>
                  </a:cubicBezTo>
                  <a:cubicBezTo>
                    <a:pt x="52438" y="33423"/>
                    <a:pt x="51287" y="33423"/>
                    <a:pt x="50958" y="33655"/>
                  </a:cubicBezTo>
                  <a:cubicBezTo>
                    <a:pt x="50630" y="33655"/>
                    <a:pt x="50301" y="33655"/>
                    <a:pt x="50136" y="33655"/>
                  </a:cubicBezTo>
                  <a:cubicBezTo>
                    <a:pt x="49808" y="33655"/>
                    <a:pt x="49479" y="34119"/>
                    <a:pt x="49150" y="34584"/>
                  </a:cubicBezTo>
                  <a:cubicBezTo>
                    <a:pt x="48986" y="34816"/>
                    <a:pt x="48821" y="35048"/>
                    <a:pt x="48657" y="35280"/>
                  </a:cubicBezTo>
                  <a:cubicBezTo>
                    <a:pt x="48000" y="35744"/>
                    <a:pt x="47506" y="34816"/>
                    <a:pt x="47178" y="34119"/>
                  </a:cubicBezTo>
                  <a:cubicBezTo>
                    <a:pt x="47013" y="33887"/>
                    <a:pt x="47013" y="33655"/>
                    <a:pt x="46849" y="33655"/>
                  </a:cubicBezTo>
                  <a:cubicBezTo>
                    <a:pt x="46684" y="33423"/>
                    <a:pt x="46027" y="33887"/>
                    <a:pt x="45698" y="34352"/>
                  </a:cubicBezTo>
                  <a:cubicBezTo>
                    <a:pt x="45534" y="34584"/>
                    <a:pt x="45369" y="34816"/>
                    <a:pt x="45205" y="34816"/>
                  </a:cubicBezTo>
                  <a:cubicBezTo>
                    <a:pt x="44547" y="35280"/>
                    <a:pt x="42575" y="34816"/>
                    <a:pt x="42082" y="34584"/>
                  </a:cubicBezTo>
                  <a:cubicBezTo>
                    <a:pt x="41589" y="34352"/>
                    <a:pt x="40273" y="32727"/>
                    <a:pt x="39945" y="31798"/>
                  </a:cubicBezTo>
                  <a:cubicBezTo>
                    <a:pt x="39616" y="30638"/>
                    <a:pt x="40438" y="29709"/>
                    <a:pt x="40931" y="29013"/>
                  </a:cubicBezTo>
                  <a:cubicBezTo>
                    <a:pt x="41095" y="28781"/>
                    <a:pt x="41260" y="28781"/>
                    <a:pt x="41260" y="28549"/>
                  </a:cubicBezTo>
                  <a:cubicBezTo>
                    <a:pt x="41260" y="28549"/>
                    <a:pt x="41260" y="28549"/>
                    <a:pt x="41260" y="28317"/>
                  </a:cubicBezTo>
                  <a:cubicBezTo>
                    <a:pt x="41260" y="27852"/>
                    <a:pt x="40931" y="27156"/>
                    <a:pt x="40273" y="26460"/>
                  </a:cubicBezTo>
                  <a:cubicBezTo>
                    <a:pt x="39780" y="25764"/>
                    <a:pt x="37643" y="24371"/>
                    <a:pt x="37315" y="24139"/>
                  </a:cubicBezTo>
                  <a:cubicBezTo>
                    <a:pt x="37150" y="23907"/>
                    <a:pt x="36000" y="24371"/>
                    <a:pt x="35506" y="24603"/>
                  </a:cubicBezTo>
                  <a:cubicBezTo>
                    <a:pt x="34849" y="24603"/>
                    <a:pt x="34520" y="24835"/>
                    <a:pt x="34356" y="24835"/>
                  </a:cubicBezTo>
                  <a:cubicBezTo>
                    <a:pt x="33863" y="24835"/>
                    <a:pt x="33369" y="24603"/>
                    <a:pt x="32383" y="24139"/>
                  </a:cubicBezTo>
                  <a:cubicBezTo>
                    <a:pt x="32219" y="23907"/>
                    <a:pt x="31890" y="23907"/>
                    <a:pt x="31726" y="23675"/>
                  </a:cubicBezTo>
                  <a:cubicBezTo>
                    <a:pt x="31397" y="23675"/>
                    <a:pt x="30082" y="24139"/>
                    <a:pt x="29589" y="24371"/>
                  </a:cubicBezTo>
                  <a:cubicBezTo>
                    <a:pt x="29260" y="24371"/>
                    <a:pt x="29095" y="24603"/>
                    <a:pt x="28931" y="24603"/>
                  </a:cubicBezTo>
                  <a:cubicBezTo>
                    <a:pt x="28109" y="24835"/>
                    <a:pt x="23835" y="17872"/>
                    <a:pt x="23671" y="16943"/>
                  </a:cubicBezTo>
                  <a:cubicBezTo>
                    <a:pt x="23342" y="15783"/>
                    <a:pt x="24328" y="14622"/>
                    <a:pt x="24821" y="13926"/>
                  </a:cubicBezTo>
                  <a:cubicBezTo>
                    <a:pt x="24986" y="13694"/>
                    <a:pt x="25150" y="13462"/>
                    <a:pt x="25150" y="13462"/>
                  </a:cubicBezTo>
                  <a:cubicBezTo>
                    <a:pt x="25315" y="12998"/>
                    <a:pt x="25808" y="11605"/>
                    <a:pt x="25808" y="11141"/>
                  </a:cubicBezTo>
                  <a:cubicBezTo>
                    <a:pt x="25808" y="10444"/>
                    <a:pt x="26136" y="8588"/>
                    <a:pt x="26136" y="7659"/>
                  </a:cubicBezTo>
                  <a:cubicBezTo>
                    <a:pt x="26136" y="6963"/>
                    <a:pt x="25808" y="4642"/>
                    <a:pt x="25643" y="3713"/>
                  </a:cubicBezTo>
                  <a:cubicBezTo>
                    <a:pt x="25479" y="3017"/>
                    <a:pt x="25643" y="1160"/>
                    <a:pt x="25972" y="0"/>
                  </a:cubicBezTo>
                  <a:cubicBezTo>
                    <a:pt x="25808" y="0"/>
                    <a:pt x="25643" y="0"/>
                    <a:pt x="25479" y="0"/>
                  </a:cubicBezTo>
                  <a:cubicBezTo>
                    <a:pt x="25315" y="232"/>
                    <a:pt x="24164" y="928"/>
                    <a:pt x="23671" y="1392"/>
                  </a:cubicBezTo>
                  <a:cubicBezTo>
                    <a:pt x="23506" y="1624"/>
                    <a:pt x="23013" y="2088"/>
                    <a:pt x="22520" y="2785"/>
                  </a:cubicBezTo>
                  <a:cubicBezTo>
                    <a:pt x="22027" y="3249"/>
                    <a:pt x="21369" y="3713"/>
                    <a:pt x="21205" y="3945"/>
                  </a:cubicBezTo>
                  <a:cubicBezTo>
                    <a:pt x="21041" y="4177"/>
                    <a:pt x="20876" y="4410"/>
                    <a:pt x="20547" y="4874"/>
                  </a:cubicBezTo>
                  <a:cubicBezTo>
                    <a:pt x="19890" y="5570"/>
                    <a:pt x="19232" y="6499"/>
                    <a:pt x="18904" y="6731"/>
                  </a:cubicBezTo>
                  <a:cubicBezTo>
                    <a:pt x="18575" y="7195"/>
                    <a:pt x="18082" y="7195"/>
                    <a:pt x="17589" y="7195"/>
                  </a:cubicBezTo>
                  <a:cubicBezTo>
                    <a:pt x="17589" y="7195"/>
                    <a:pt x="17424" y="7195"/>
                    <a:pt x="17260" y="7195"/>
                  </a:cubicBezTo>
                  <a:cubicBezTo>
                    <a:pt x="17260" y="7427"/>
                    <a:pt x="16931" y="7427"/>
                    <a:pt x="16602" y="7195"/>
                  </a:cubicBezTo>
                  <a:cubicBezTo>
                    <a:pt x="16438" y="6963"/>
                    <a:pt x="16273" y="6499"/>
                    <a:pt x="16273" y="6034"/>
                  </a:cubicBezTo>
                  <a:cubicBezTo>
                    <a:pt x="16109" y="5338"/>
                    <a:pt x="15945" y="4874"/>
                    <a:pt x="15780" y="4874"/>
                  </a:cubicBezTo>
                  <a:cubicBezTo>
                    <a:pt x="15616" y="4642"/>
                    <a:pt x="15123" y="4410"/>
                    <a:pt x="14958" y="4642"/>
                  </a:cubicBezTo>
                  <a:cubicBezTo>
                    <a:pt x="14794" y="4642"/>
                    <a:pt x="14301" y="5338"/>
                    <a:pt x="11506" y="9284"/>
                  </a:cubicBezTo>
                  <a:cubicBezTo>
                    <a:pt x="10849" y="9980"/>
                    <a:pt x="10356" y="11605"/>
                    <a:pt x="10356" y="12301"/>
                  </a:cubicBezTo>
                  <a:cubicBezTo>
                    <a:pt x="10356" y="12765"/>
                    <a:pt x="10356" y="13230"/>
                    <a:pt x="10520" y="13694"/>
                  </a:cubicBezTo>
                  <a:cubicBezTo>
                    <a:pt x="10684" y="14854"/>
                    <a:pt x="11013" y="16247"/>
                    <a:pt x="10356" y="16711"/>
                  </a:cubicBezTo>
                  <a:cubicBezTo>
                    <a:pt x="10191" y="16943"/>
                    <a:pt x="9863" y="17176"/>
                    <a:pt x="9534" y="17408"/>
                  </a:cubicBezTo>
                  <a:cubicBezTo>
                    <a:pt x="8876" y="17872"/>
                    <a:pt x="7890" y="18568"/>
                    <a:pt x="7726" y="19032"/>
                  </a:cubicBezTo>
                  <a:cubicBezTo>
                    <a:pt x="7726" y="19264"/>
                    <a:pt x="7397" y="21818"/>
                    <a:pt x="6904" y="22282"/>
                  </a:cubicBezTo>
                  <a:cubicBezTo>
                    <a:pt x="6739" y="22514"/>
                    <a:pt x="6575" y="22514"/>
                    <a:pt x="6246" y="22746"/>
                  </a:cubicBezTo>
                  <a:cubicBezTo>
                    <a:pt x="5917" y="23210"/>
                    <a:pt x="5095" y="23907"/>
                    <a:pt x="4931" y="24139"/>
                  </a:cubicBezTo>
                  <a:cubicBezTo>
                    <a:pt x="4438" y="25067"/>
                    <a:pt x="3452" y="27156"/>
                    <a:pt x="3452" y="27620"/>
                  </a:cubicBezTo>
                  <a:cubicBezTo>
                    <a:pt x="3780" y="28317"/>
                    <a:pt x="4109" y="30406"/>
                    <a:pt x="3780" y="31334"/>
                  </a:cubicBezTo>
                  <a:cubicBezTo>
                    <a:pt x="3780" y="31566"/>
                    <a:pt x="3616" y="31798"/>
                    <a:pt x="3452" y="32030"/>
                  </a:cubicBezTo>
                  <a:cubicBezTo>
                    <a:pt x="3123" y="32263"/>
                    <a:pt x="3123" y="32495"/>
                    <a:pt x="3123" y="32727"/>
                  </a:cubicBezTo>
                  <a:cubicBezTo>
                    <a:pt x="3123" y="32959"/>
                    <a:pt x="3123" y="33191"/>
                    <a:pt x="3123" y="33423"/>
                  </a:cubicBezTo>
                  <a:cubicBezTo>
                    <a:pt x="3123" y="34584"/>
                    <a:pt x="3123" y="35512"/>
                    <a:pt x="2794" y="35744"/>
                  </a:cubicBezTo>
                  <a:cubicBezTo>
                    <a:pt x="2794" y="35976"/>
                    <a:pt x="2630" y="35976"/>
                    <a:pt x="2630" y="36208"/>
                  </a:cubicBezTo>
                  <a:cubicBezTo>
                    <a:pt x="1150" y="38297"/>
                    <a:pt x="328" y="39226"/>
                    <a:pt x="164" y="39690"/>
                  </a:cubicBezTo>
                  <a:cubicBezTo>
                    <a:pt x="164" y="39690"/>
                    <a:pt x="164" y="39922"/>
                    <a:pt x="164" y="40154"/>
                  </a:cubicBezTo>
                  <a:cubicBezTo>
                    <a:pt x="164" y="41083"/>
                    <a:pt x="164" y="41779"/>
                    <a:pt x="0" y="42243"/>
                  </a:cubicBezTo>
                  <a:cubicBezTo>
                    <a:pt x="657" y="42475"/>
                    <a:pt x="1479" y="43172"/>
                    <a:pt x="1479" y="43868"/>
                  </a:cubicBezTo>
                  <a:cubicBezTo>
                    <a:pt x="1479" y="44796"/>
                    <a:pt x="1643" y="45725"/>
                    <a:pt x="1808" y="45957"/>
                  </a:cubicBezTo>
                  <a:cubicBezTo>
                    <a:pt x="1972" y="46189"/>
                    <a:pt x="2630" y="46885"/>
                    <a:pt x="3780" y="48742"/>
                  </a:cubicBezTo>
                  <a:cubicBezTo>
                    <a:pt x="3945" y="48742"/>
                    <a:pt x="4109" y="49206"/>
                    <a:pt x="4602" y="49671"/>
                  </a:cubicBezTo>
                  <a:cubicBezTo>
                    <a:pt x="6410" y="52224"/>
                    <a:pt x="7397" y="53617"/>
                    <a:pt x="7561" y="53849"/>
                  </a:cubicBezTo>
                  <a:cubicBezTo>
                    <a:pt x="7726" y="54081"/>
                    <a:pt x="7890" y="54545"/>
                    <a:pt x="8054" y="55241"/>
                  </a:cubicBezTo>
                  <a:cubicBezTo>
                    <a:pt x="8383" y="56170"/>
                    <a:pt x="8876" y="58027"/>
                    <a:pt x="9205" y="58259"/>
                  </a:cubicBezTo>
                  <a:cubicBezTo>
                    <a:pt x="9369" y="58491"/>
                    <a:pt x="9369" y="58491"/>
                    <a:pt x="9369" y="58491"/>
                  </a:cubicBezTo>
                  <a:cubicBezTo>
                    <a:pt x="10027" y="59419"/>
                    <a:pt x="10520" y="59883"/>
                    <a:pt x="10684" y="60348"/>
                  </a:cubicBezTo>
                  <a:cubicBezTo>
                    <a:pt x="10684" y="60580"/>
                    <a:pt x="11178" y="64294"/>
                    <a:pt x="10684" y="65222"/>
                  </a:cubicBezTo>
                  <a:cubicBezTo>
                    <a:pt x="10356" y="65918"/>
                    <a:pt x="9863" y="67079"/>
                    <a:pt x="9863" y="67543"/>
                  </a:cubicBezTo>
                  <a:cubicBezTo>
                    <a:pt x="9863" y="67775"/>
                    <a:pt x="9863" y="68239"/>
                    <a:pt x="9863" y="68936"/>
                  </a:cubicBezTo>
                  <a:cubicBezTo>
                    <a:pt x="9863" y="70328"/>
                    <a:pt x="10027" y="72649"/>
                    <a:pt x="9863" y="73346"/>
                  </a:cubicBezTo>
                  <a:cubicBezTo>
                    <a:pt x="9863" y="73810"/>
                    <a:pt x="9863" y="74274"/>
                    <a:pt x="9698" y="74738"/>
                  </a:cubicBezTo>
                  <a:cubicBezTo>
                    <a:pt x="9698" y="75203"/>
                    <a:pt x="9534" y="76363"/>
                    <a:pt x="9534" y="76595"/>
                  </a:cubicBezTo>
                  <a:cubicBezTo>
                    <a:pt x="9698" y="76595"/>
                    <a:pt x="9863" y="76827"/>
                    <a:pt x="9863" y="77059"/>
                  </a:cubicBezTo>
                  <a:cubicBezTo>
                    <a:pt x="10684" y="77988"/>
                    <a:pt x="11178" y="78452"/>
                    <a:pt x="11178" y="78916"/>
                  </a:cubicBezTo>
                  <a:cubicBezTo>
                    <a:pt x="11178" y="79381"/>
                    <a:pt x="11178" y="79381"/>
                    <a:pt x="11178" y="79381"/>
                  </a:cubicBezTo>
                  <a:cubicBezTo>
                    <a:pt x="11178" y="81237"/>
                    <a:pt x="11013" y="81934"/>
                    <a:pt x="10849" y="82166"/>
                  </a:cubicBezTo>
                  <a:cubicBezTo>
                    <a:pt x="10849" y="82398"/>
                    <a:pt x="10684" y="82398"/>
                    <a:pt x="10520" y="82630"/>
                  </a:cubicBezTo>
                  <a:cubicBezTo>
                    <a:pt x="9863" y="83326"/>
                    <a:pt x="9534" y="84023"/>
                    <a:pt x="9534" y="84255"/>
                  </a:cubicBezTo>
                  <a:cubicBezTo>
                    <a:pt x="9698" y="84255"/>
                    <a:pt x="9698" y="84487"/>
                    <a:pt x="9698" y="84719"/>
                  </a:cubicBezTo>
                  <a:cubicBezTo>
                    <a:pt x="9698" y="85415"/>
                    <a:pt x="9863" y="87040"/>
                    <a:pt x="10191" y="87272"/>
                  </a:cubicBezTo>
                  <a:cubicBezTo>
                    <a:pt x="10191" y="87272"/>
                    <a:pt x="10520" y="87504"/>
                    <a:pt x="10684" y="87736"/>
                  </a:cubicBezTo>
                  <a:cubicBezTo>
                    <a:pt x="11506" y="88433"/>
                    <a:pt x="12328" y="89129"/>
                    <a:pt x="12493" y="89593"/>
                  </a:cubicBezTo>
                  <a:cubicBezTo>
                    <a:pt x="12821" y="90058"/>
                    <a:pt x="13315" y="90986"/>
                    <a:pt x="13315" y="91914"/>
                  </a:cubicBezTo>
                  <a:cubicBezTo>
                    <a:pt x="13315" y="92147"/>
                    <a:pt x="13315" y="92379"/>
                    <a:pt x="13315" y="92611"/>
                  </a:cubicBezTo>
                  <a:cubicBezTo>
                    <a:pt x="13150" y="93307"/>
                    <a:pt x="13315" y="93307"/>
                    <a:pt x="13479" y="93307"/>
                  </a:cubicBezTo>
                  <a:cubicBezTo>
                    <a:pt x="13643" y="93307"/>
                    <a:pt x="13808" y="93307"/>
                    <a:pt x="13972" y="93307"/>
                  </a:cubicBezTo>
                  <a:cubicBezTo>
                    <a:pt x="14301" y="93307"/>
                    <a:pt x="14630" y="93075"/>
                    <a:pt x="14958" y="94003"/>
                  </a:cubicBezTo>
                  <a:cubicBezTo>
                    <a:pt x="14958" y="94003"/>
                    <a:pt x="15123" y="94468"/>
                    <a:pt x="15287" y="94700"/>
                  </a:cubicBezTo>
                  <a:cubicBezTo>
                    <a:pt x="15616" y="95164"/>
                    <a:pt x="15945" y="95628"/>
                    <a:pt x="15780" y="96092"/>
                  </a:cubicBezTo>
                  <a:cubicBezTo>
                    <a:pt x="15780" y="96324"/>
                    <a:pt x="15780" y="96789"/>
                    <a:pt x="15616" y="97021"/>
                  </a:cubicBezTo>
                  <a:cubicBezTo>
                    <a:pt x="15616" y="97485"/>
                    <a:pt x="15452" y="97949"/>
                    <a:pt x="15452" y="98181"/>
                  </a:cubicBezTo>
                  <a:cubicBezTo>
                    <a:pt x="15452" y="98413"/>
                    <a:pt x="15452" y="98646"/>
                    <a:pt x="15452" y="98878"/>
                  </a:cubicBezTo>
                  <a:cubicBezTo>
                    <a:pt x="15287" y="99342"/>
                    <a:pt x="15287" y="100735"/>
                    <a:pt x="15452" y="100967"/>
                  </a:cubicBezTo>
                  <a:cubicBezTo>
                    <a:pt x="15452" y="100967"/>
                    <a:pt x="15945" y="101663"/>
                    <a:pt x="16273" y="102359"/>
                  </a:cubicBezTo>
                  <a:cubicBezTo>
                    <a:pt x="16602" y="102591"/>
                    <a:pt x="17917" y="103520"/>
                    <a:pt x="18410" y="103752"/>
                  </a:cubicBezTo>
                  <a:cubicBezTo>
                    <a:pt x="18904" y="104216"/>
                    <a:pt x="20712" y="104216"/>
                    <a:pt x="21041" y="103984"/>
                  </a:cubicBezTo>
                  <a:cubicBezTo>
                    <a:pt x="21205" y="103752"/>
                    <a:pt x="21369" y="103288"/>
                    <a:pt x="21369" y="102591"/>
                  </a:cubicBezTo>
                  <a:cubicBezTo>
                    <a:pt x="21863" y="101431"/>
                    <a:pt x="22027" y="100967"/>
                    <a:pt x="22356" y="100735"/>
                  </a:cubicBezTo>
                  <a:cubicBezTo>
                    <a:pt x="22356" y="100502"/>
                    <a:pt x="22356" y="100502"/>
                    <a:pt x="22520" y="100502"/>
                  </a:cubicBezTo>
                  <a:cubicBezTo>
                    <a:pt x="22849" y="100270"/>
                    <a:pt x="23178" y="99806"/>
                    <a:pt x="23671" y="100038"/>
                  </a:cubicBezTo>
                  <a:cubicBezTo>
                    <a:pt x="23835" y="100038"/>
                    <a:pt x="24000" y="100270"/>
                    <a:pt x="24328" y="100270"/>
                  </a:cubicBezTo>
                  <a:cubicBezTo>
                    <a:pt x="24657" y="100502"/>
                    <a:pt x="25808" y="101199"/>
                    <a:pt x="25972" y="100967"/>
                  </a:cubicBezTo>
                  <a:cubicBezTo>
                    <a:pt x="26136" y="100735"/>
                    <a:pt x="26301" y="100502"/>
                    <a:pt x="26465" y="100270"/>
                  </a:cubicBezTo>
                  <a:cubicBezTo>
                    <a:pt x="26630" y="99806"/>
                    <a:pt x="26958" y="99110"/>
                    <a:pt x="27452" y="99110"/>
                  </a:cubicBezTo>
                  <a:cubicBezTo>
                    <a:pt x="27616" y="99110"/>
                    <a:pt x="27945" y="99342"/>
                    <a:pt x="28273" y="99342"/>
                  </a:cubicBezTo>
                  <a:cubicBezTo>
                    <a:pt x="28931" y="99342"/>
                    <a:pt x="30575" y="99574"/>
                    <a:pt x="30739" y="99342"/>
                  </a:cubicBezTo>
                  <a:cubicBezTo>
                    <a:pt x="30904" y="99342"/>
                    <a:pt x="31068" y="99110"/>
                    <a:pt x="31068" y="98878"/>
                  </a:cubicBezTo>
                  <a:cubicBezTo>
                    <a:pt x="31561" y="98413"/>
                    <a:pt x="31890" y="97949"/>
                    <a:pt x="32219" y="97717"/>
                  </a:cubicBezTo>
                  <a:cubicBezTo>
                    <a:pt x="32383" y="97717"/>
                    <a:pt x="32383" y="97717"/>
                    <a:pt x="32383" y="97717"/>
                  </a:cubicBezTo>
                  <a:cubicBezTo>
                    <a:pt x="32876" y="97717"/>
                    <a:pt x="33369" y="97485"/>
                    <a:pt x="33863" y="97021"/>
                  </a:cubicBezTo>
                  <a:cubicBezTo>
                    <a:pt x="34191" y="96789"/>
                    <a:pt x="34684" y="96557"/>
                    <a:pt x="35013" y="96557"/>
                  </a:cubicBezTo>
                  <a:cubicBezTo>
                    <a:pt x="35342" y="96324"/>
                    <a:pt x="35671" y="96092"/>
                    <a:pt x="35835" y="95860"/>
                  </a:cubicBezTo>
                  <a:cubicBezTo>
                    <a:pt x="35835" y="95860"/>
                    <a:pt x="36000" y="95164"/>
                    <a:pt x="36000" y="94700"/>
                  </a:cubicBezTo>
                  <a:cubicBezTo>
                    <a:pt x="36164" y="93539"/>
                    <a:pt x="36164" y="92379"/>
                    <a:pt x="36821" y="92379"/>
                  </a:cubicBezTo>
                  <a:cubicBezTo>
                    <a:pt x="36986" y="92379"/>
                    <a:pt x="37150" y="92379"/>
                    <a:pt x="37479" y="92379"/>
                  </a:cubicBezTo>
                  <a:cubicBezTo>
                    <a:pt x="37972" y="92147"/>
                    <a:pt x="38630" y="92147"/>
                    <a:pt x="38958" y="92611"/>
                  </a:cubicBezTo>
                  <a:cubicBezTo>
                    <a:pt x="39287" y="93075"/>
                    <a:pt x="39616" y="93307"/>
                    <a:pt x="40109" y="93771"/>
                  </a:cubicBezTo>
                  <a:cubicBezTo>
                    <a:pt x="40273" y="93771"/>
                    <a:pt x="40438" y="94003"/>
                    <a:pt x="40602" y="94235"/>
                  </a:cubicBezTo>
                  <a:cubicBezTo>
                    <a:pt x="40931" y="94468"/>
                    <a:pt x="40931" y="94468"/>
                    <a:pt x="40931" y="94468"/>
                  </a:cubicBezTo>
                  <a:cubicBezTo>
                    <a:pt x="41424" y="94932"/>
                    <a:pt x="41917" y="95628"/>
                    <a:pt x="42246" y="96092"/>
                  </a:cubicBezTo>
                  <a:cubicBezTo>
                    <a:pt x="42739" y="96789"/>
                    <a:pt x="43397" y="97253"/>
                    <a:pt x="43890" y="97253"/>
                  </a:cubicBezTo>
                  <a:cubicBezTo>
                    <a:pt x="44547" y="97021"/>
                    <a:pt x="45863" y="97485"/>
                    <a:pt x="46356" y="97949"/>
                  </a:cubicBezTo>
                  <a:cubicBezTo>
                    <a:pt x="46684" y="97949"/>
                    <a:pt x="47013" y="98413"/>
                    <a:pt x="47178" y="98878"/>
                  </a:cubicBezTo>
                  <a:cubicBezTo>
                    <a:pt x="47506" y="99110"/>
                    <a:pt x="47835" y="99574"/>
                    <a:pt x="48000" y="99806"/>
                  </a:cubicBezTo>
                  <a:cubicBezTo>
                    <a:pt x="48493" y="100038"/>
                    <a:pt x="48657" y="100502"/>
                    <a:pt x="48821" y="100735"/>
                  </a:cubicBezTo>
                  <a:cubicBezTo>
                    <a:pt x="48821" y="100967"/>
                    <a:pt x="48986" y="101199"/>
                    <a:pt x="49150" y="101663"/>
                  </a:cubicBezTo>
                  <a:cubicBezTo>
                    <a:pt x="49479" y="102127"/>
                    <a:pt x="49808" y="103288"/>
                    <a:pt x="50136" y="103984"/>
                  </a:cubicBezTo>
                  <a:cubicBezTo>
                    <a:pt x="50465" y="104448"/>
                    <a:pt x="50630" y="104912"/>
                    <a:pt x="50630" y="105145"/>
                  </a:cubicBezTo>
                  <a:cubicBezTo>
                    <a:pt x="50630" y="105145"/>
                    <a:pt x="50794" y="105377"/>
                    <a:pt x="50794" y="105377"/>
                  </a:cubicBezTo>
                  <a:cubicBezTo>
                    <a:pt x="51616" y="106769"/>
                    <a:pt x="51945" y="107466"/>
                    <a:pt x="51945" y="107930"/>
                  </a:cubicBezTo>
                  <a:cubicBezTo>
                    <a:pt x="51945" y="108162"/>
                    <a:pt x="51945" y="108394"/>
                    <a:pt x="51945" y="108626"/>
                  </a:cubicBezTo>
                  <a:cubicBezTo>
                    <a:pt x="51780" y="109787"/>
                    <a:pt x="51780" y="110483"/>
                    <a:pt x="51945" y="110483"/>
                  </a:cubicBezTo>
                  <a:cubicBezTo>
                    <a:pt x="52109" y="110483"/>
                    <a:pt x="52438" y="110483"/>
                    <a:pt x="52602" y="110715"/>
                  </a:cubicBezTo>
                  <a:cubicBezTo>
                    <a:pt x="53589" y="110715"/>
                    <a:pt x="54739" y="110947"/>
                    <a:pt x="54575" y="112108"/>
                  </a:cubicBezTo>
                  <a:cubicBezTo>
                    <a:pt x="54575" y="112340"/>
                    <a:pt x="54575" y="112340"/>
                    <a:pt x="54575" y="112340"/>
                  </a:cubicBezTo>
                  <a:cubicBezTo>
                    <a:pt x="54575" y="113036"/>
                    <a:pt x="54410" y="114197"/>
                    <a:pt x="54575" y="114661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1" name="Shape 6905">
              <a:extLst>
                <a:ext uri="{FF2B5EF4-FFF2-40B4-BE49-F238E27FC236}">
                  <a16:creationId xmlns:a16="http://schemas.microsoft.com/office/drawing/2014/main" id="{5CA60EAF-23FC-4EB7-BA1E-3395566F4791}"/>
                </a:ext>
              </a:extLst>
            </p:cNvPr>
            <p:cNvSpPr/>
            <p:nvPr/>
          </p:nvSpPr>
          <p:spPr>
            <a:xfrm>
              <a:off x="2469873" y="3654693"/>
              <a:ext cx="602951" cy="673746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3461" y="101333"/>
                  </a:moveTo>
                  <a:cubicBezTo>
                    <a:pt x="104230" y="101000"/>
                    <a:pt x="105384" y="101333"/>
                    <a:pt x="106538" y="101666"/>
                  </a:cubicBezTo>
                  <a:cubicBezTo>
                    <a:pt x="106538" y="101666"/>
                    <a:pt x="106923" y="101666"/>
                    <a:pt x="107307" y="101666"/>
                  </a:cubicBezTo>
                  <a:cubicBezTo>
                    <a:pt x="107692" y="101666"/>
                    <a:pt x="108461" y="100666"/>
                    <a:pt x="108846" y="100333"/>
                  </a:cubicBezTo>
                  <a:cubicBezTo>
                    <a:pt x="109230" y="100333"/>
                    <a:pt x="109230" y="100000"/>
                    <a:pt x="109615" y="100000"/>
                  </a:cubicBezTo>
                  <a:cubicBezTo>
                    <a:pt x="110384" y="99000"/>
                    <a:pt x="111923" y="99666"/>
                    <a:pt x="113461" y="100333"/>
                  </a:cubicBezTo>
                  <a:cubicBezTo>
                    <a:pt x="113846" y="100333"/>
                    <a:pt x="113846" y="100333"/>
                    <a:pt x="113846" y="100333"/>
                  </a:cubicBezTo>
                  <a:cubicBezTo>
                    <a:pt x="114230" y="100333"/>
                    <a:pt x="116153" y="100000"/>
                    <a:pt x="119230" y="98333"/>
                  </a:cubicBezTo>
                  <a:cubicBezTo>
                    <a:pt x="120000" y="97666"/>
                    <a:pt x="120000" y="96333"/>
                    <a:pt x="119615" y="95000"/>
                  </a:cubicBezTo>
                  <a:cubicBezTo>
                    <a:pt x="119615" y="94666"/>
                    <a:pt x="119615" y="94333"/>
                    <a:pt x="119615" y="94000"/>
                  </a:cubicBezTo>
                  <a:cubicBezTo>
                    <a:pt x="119615" y="93666"/>
                    <a:pt x="119230" y="93000"/>
                    <a:pt x="119230" y="92333"/>
                  </a:cubicBezTo>
                  <a:cubicBezTo>
                    <a:pt x="118846" y="91666"/>
                    <a:pt x="118461" y="91000"/>
                    <a:pt x="118461" y="90333"/>
                  </a:cubicBezTo>
                  <a:cubicBezTo>
                    <a:pt x="118461" y="90000"/>
                    <a:pt x="118846" y="89333"/>
                    <a:pt x="118846" y="88666"/>
                  </a:cubicBezTo>
                  <a:cubicBezTo>
                    <a:pt x="119230" y="88000"/>
                    <a:pt x="119230" y="87666"/>
                    <a:pt x="119615" y="87000"/>
                  </a:cubicBezTo>
                  <a:cubicBezTo>
                    <a:pt x="119615" y="86333"/>
                    <a:pt x="118461" y="85000"/>
                    <a:pt x="117307" y="84333"/>
                  </a:cubicBezTo>
                  <a:cubicBezTo>
                    <a:pt x="116538" y="83666"/>
                    <a:pt x="116538" y="82000"/>
                    <a:pt x="116923" y="80333"/>
                  </a:cubicBezTo>
                  <a:cubicBezTo>
                    <a:pt x="116923" y="79666"/>
                    <a:pt x="116923" y="79666"/>
                    <a:pt x="116923" y="79333"/>
                  </a:cubicBezTo>
                  <a:cubicBezTo>
                    <a:pt x="116923" y="78666"/>
                    <a:pt x="117307" y="78000"/>
                    <a:pt x="117692" y="77333"/>
                  </a:cubicBezTo>
                  <a:cubicBezTo>
                    <a:pt x="117692" y="77000"/>
                    <a:pt x="117692" y="76333"/>
                    <a:pt x="118076" y="76333"/>
                  </a:cubicBezTo>
                  <a:cubicBezTo>
                    <a:pt x="118076" y="76000"/>
                    <a:pt x="117307" y="75333"/>
                    <a:pt x="116923" y="75000"/>
                  </a:cubicBezTo>
                  <a:cubicBezTo>
                    <a:pt x="116538" y="74666"/>
                    <a:pt x="116153" y="74333"/>
                    <a:pt x="115769" y="73666"/>
                  </a:cubicBezTo>
                  <a:cubicBezTo>
                    <a:pt x="115769" y="73666"/>
                    <a:pt x="115769" y="73666"/>
                    <a:pt x="115000" y="73666"/>
                  </a:cubicBezTo>
                  <a:cubicBezTo>
                    <a:pt x="114615" y="73666"/>
                    <a:pt x="113846" y="73666"/>
                    <a:pt x="113076" y="73666"/>
                  </a:cubicBezTo>
                  <a:cubicBezTo>
                    <a:pt x="111538" y="73333"/>
                    <a:pt x="111923" y="72000"/>
                    <a:pt x="111923" y="71000"/>
                  </a:cubicBezTo>
                  <a:cubicBezTo>
                    <a:pt x="111923" y="71000"/>
                    <a:pt x="111923" y="70666"/>
                    <a:pt x="111923" y="70333"/>
                  </a:cubicBezTo>
                  <a:cubicBezTo>
                    <a:pt x="111923" y="70000"/>
                    <a:pt x="111153" y="68666"/>
                    <a:pt x="110384" y="67666"/>
                  </a:cubicBezTo>
                  <a:cubicBezTo>
                    <a:pt x="110000" y="67333"/>
                    <a:pt x="107692" y="66000"/>
                    <a:pt x="106538" y="65333"/>
                  </a:cubicBezTo>
                  <a:cubicBezTo>
                    <a:pt x="105769" y="64999"/>
                    <a:pt x="105384" y="64999"/>
                    <a:pt x="105000" y="64666"/>
                  </a:cubicBezTo>
                  <a:cubicBezTo>
                    <a:pt x="103846" y="64000"/>
                    <a:pt x="103461" y="62000"/>
                    <a:pt x="103461" y="60000"/>
                  </a:cubicBezTo>
                  <a:cubicBezTo>
                    <a:pt x="103461" y="59666"/>
                    <a:pt x="103461" y="59666"/>
                    <a:pt x="103461" y="59333"/>
                  </a:cubicBezTo>
                  <a:cubicBezTo>
                    <a:pt x="103076" y="58333"/>
                    <a:pt x="104615" y="57000"/>
                    <a:pt x="106153" y="56000"/>
                  </a:cubicBezTo>
                  <a:cubicBezTo>
                    <a:pt x="106153" y="55666"/>
                    <a:pt x="106538" y="55666"/>
                    <a:pt x="106538" y="55666"/>
                  </a:cubicBezTo>
                  <a:cubicBezTo>
                    <a:pt x="106538" y="55333"/>
                    <a:pt x="106923" y="54666"/>
                    <a:pt x="106923" y="52333"/>
                  </a:cubicBezTo>
                  <a:cubicBezTo>
                    <a:pt x="106923" y="51666"/>
                    <a:pt x="106923" y="51666"/>
                    <a:pt x="106923" y="51666"/>
                  </a:cubicBezTo>
                  <a:cubicBezTo>
                    <a:pt x="106538" y="51333"/>
                    <a:pt x="105384" y="50333"/>
                    <a:pt x="104615" y="49666"/>
                  </a:cubicBezTo>
                  <a:cubicBezTo>
                    <a:pt x="104230" y="49666"/>
                    <a:pt x="103846" y="49333"/>
                    <a:pt x="103846" y="49000"/>
                  </a:cubicBezTo>
                  <a:cubicBezTo>
                    <a:pt x="102692" y="48333"/>
                    <a:pt x="103076" y="47000"/>
                    <a:pt x="103461" y="45333"/>
                  </a:cubicBezTo>
                  <a:cubicBezTo>
                    <a:pt x="103846" y="44666"/>
                    <a:pt x="103846" y="44000"/>
                    <a:pt x="104230" y="43666"/>
                  </a:cubicBezTo>
                  <a:cubicBezTo>
                    <a:pt x="104230" y="42333"/>
                    <a:pt x="103846" y="39333"/>
                    <a:pt x="103846" y="37333"/>
                  </a:cubicBezTo>
                  <a:cubicBezTo>
                    <a:pt x="103846" y="36333"/>
                    <a:pt x="103846" y="35666"/>
                    <a:pt x="103846" y="35333"/>
                  </a:cubicBezTo>
                  <a:cubicBezTo>
                    <a:pt x="103846" y="34000"/>
                    <a:pt x="106153" y="31333"/>
                    <a:pt x="106153" y="31333"/>
                  </a:cubicBezTo>
                  <a:cubicBezTo>
                    <a:pt x="106538" y="30666"/>
                    <a:pt x="106153" y="26333"/>
                    <a:pt x="105769" y="25333"/>
                  </a:cubicBezTo>
                  <a:cubicBezTo>
                    <a:pt x="105769" y="25000"/>
                    <a:pt x="103846" y="24000"/>
                    <a:pt x="103461" y="23666"/>
                  </a:cubicBezTo>
                  <a:cubicBezTo>
                    <a:pt x="102692" y="23333"/>
                    <a:pt x="102692" y="23333"/>
                    <a:pt x="102692" y="23333"/>
                  </a:cubicBezTo>
                  <a:cubicBezTo>
                    <a:pt x="101923" y="22666"/>
                    <a:pt x="101153" y="20666"/>
                    <a:pt x="99615" y="18333"/>
                  </a:cubicBezTo>
                  <a:cubicBezTo>
                    <a:pt x="99230" y="17333"/>
                    <a:pt x="98846" y="16666"/>
                    <a:pt x="98846" y="16333"/>
                  </a:cubicBezTo>
                  <a:cubicBezTo>
                    <a:pt x="98461" y="16000"/>
                    <a:pt x="93846" y="12333"/>
                    <a:pt x="91923" y="10666"/>
                  </a:cubicBezTo>
                  <a:cubicBezTo>
                    <a:pt x="91153" y="10000"/>
                    <a:pt x="90384" y="9333"/>
                    <a:pt x="90000" y="9000"/>
                  </a:cubicBezTo>
                  <a:cubicBezTo>
                    <a:pt x="86538" y="6000"/>
                    <a:pt x="85769" y="5333"/>
                    <a:pt x="85384" y="5333"/>
                  </a:cubicBezTo>
                  <a:cubicBezTo>
                    <a:pt x="84615" y="4666"/>
                    <a:pt x="84230" y="2666"/>
                    <a:pt x="84230" y="1333"/>
                  </a:cubicBezTo>
                  <a:cubicBezTo>
                    <a:pt x="83846" y="1333"/>
                    <a:pt x="82692" y="333"/>
                    <a:pt x="81153" y="0"/>
                  </a:cubicBezTo>
                  <a:cubicBezTo>
                    <a:pt x="80384" y="333"/>
                    <a:pt x="79230" y="1333"/>
                    <a:pt x="78846" y="1666"/>
                  </a:cubicBezTo>
                  <a:cubicBezTo>
                    <a:pt x="78461" y="2000"/>
                    <a:pt x="78461" y="3333"/>
                    <a:pt x="78461" y="4333"/>
                  </a:cubicBezTo>
                  <a:cubicBezTo>
                    <a:pt x="78461" y="4333"/>
                    <a:pt x="78461" y="4333"/>
                    <a:pt x="78461" y="4333"/>
                  </a:cubicBezTo>
                  <a:cubicBezTo>
                    <a:pt x="78461" y="4666"/>
                    <a:pt x="78461" y="4666"/>
                    <a:pt x="78461" y="4666"/>
                  </a:cubicBezTo>
                  <a:cubicBezTo>
                    <a:pt x="78461" y="4666"/>
                    <a:pt x="78461" y="4666"/>
                    <a:pt x="78461" y="5000"/>
                  </a:cubicBezTo>
                  <a:cubicBezTo>
                    <a:pt x="78076" y="7333"/>
                    <a:pt x="78076" y="8666"/>
                    <a:pt x="76923" y="9000"/>
                  </a:cubicBezTo>
                  <a:cubicBezTo>
                    <a:pt x="75384" y="9333"/>
                    <a:pt x="72692" y="11000"/>
                    <a:pt x="72692" y="11666"/>
                  </a:cubicBezTo>
                  <a:cubicBezTo>
                    <a:pt x="72692" y="14333"/>
                    <a:pt x="72307" y="16333"/>
                    <a:pt x="71538" y="17333"/>
                  </a:cubicBezTo>
                  <a:cubicBezTo>
                    <a:pt x="71538" y="17333"/>
                    <a:pt x="71153" y="18333"/>
                    <a:pt x="70769" y="19000"/>
                  </a:cubicBezTo>
                  <a:cubicBezTo>
                    <a:pt x="70000" y="21333"/>
                    <a:pt x="69615" y="22666"/>
                    <a:pt x="68461" y="23000"/>
                  </a:cubicBezTo>
                  <a:cubicBezTo>
                    <a:pt x="67307" y="23666"/>
                    <a:pt x="63846" y="26333"/>
                    <a:pt x="63076" y="27333"/>
                  </a:cubicBezTo>
                  <a:cubicBezTo>
                    <a:pt x="62692" y="28333"/>
                    <a:pt x="57307" y="35000"/>
                    <a:pt x="55769" y="35000"/>
                  </a:cubicBezTo>
                  <a:cubicBezTo>
                    <a:pt x="55000" y="35333"/>
                    <a:pt x="54230" y="35333"/>
                    <a:pt x="53461" y="35333"/>
                  </a:cubicBezTo>
                  <a:cubicBezTo>
                    <a:pt x="52692" y="35333"/>
                    <a:pt x="51153" y="35333"/>
                    <a:pt x="51153" y="35333"/>
                  </a:cubicBezTo>
                  <a:cubicBezTo>
                    <a:pt x="49615" y="36000"/>
                    <a:pt x="46923" y="38333"/>
                    <a:pt x="46923" y="39000"/>
                  </a:cubicBezTo>
                  <a:cubicBezTo>
                    <a:pt x="46923" y="39333"/>
                    <a:pt x="46538" y="39666"/>
                    <a:pt x="46538" y="40000"/>
                  </a:cubicBezTo>
                  <a:cubicBezTo>
                    <a:pt x="46538" y="41666"/>
                    <a:pt x="46538" y="44000"/>
                    <a:pt x="47307" y="45333"/>
                  </a:cubicBezTo>
                  <a:cubicBezTo>
                    <a:pt x="47692" y="45666"/>
                    <a:pt x="48076" y="46333"/>
                    <a:pt x="48461" y="46666"/>
                  </a:cubicBezTo>
                  <a:cubicBezTo>
                    <a:pt x="49615" y="47666"/>
                    <a:pt x="50384" y="48666"/>
                    <a:pt x="50000" y="50000"/>
                  </a:cubicBezTo>
                  <a:cubicBezTo>
                    <a:pt x="49615" y="51666"/>
                    <a:pt x="48461" y="53666"/>
                    <a:pt x="48076" y="54333"/>
                  </a:cubicBezTo>
                  <a:cubicBezTo>
                    <a:pt x="47692" y="54666"/>
                    <a:pt x="47307" y="55000"/>
                    <a:pt x="46923" y="55666"/>
                  </a:cubicBezTo>
                  <a:cubicBezTo>
                    <a:pt x="46538" y="56000"/>
                    <a:pt x="45384" y="57333"/>
                    <a:pt x="45384" y="57666"/>
                  </a:cubicBezTo>
                  <a:cubicBezTo>
                    <a:pt x="45769" y="58000"/>
                    <a:pt x="46153" y="58333"/>
                    <a:pt x="46153" y="58666"/>
                  </a:cubicBezTo>
                  <a:cubicBezTo>
                    <a:pt x="47307" y="59666"/>
                    <a:pt x="48846" y="61000"/>
                    <a:pt x="47692" y="62000"/>
                  </a:cubicBezTo>
                  <a:cubicBezTo>
                    <a:pt x="47692" y="62000"/>
                    <a:pt x="47307" y="62333"/>
                    <a:pt x="46923" y="62666"/>
                  </a:cubicBezTo>
                  <a:cubicBezTo>
                    <a:pt x="44230" y="65333"/>
                    <a:pt x="42692" y="66666"/>
                    <a:pt x="41538" y="66666"/>
                  </a:cubicBezTo>
                  <a:cubicBezTo>
                    <a:pt x="40769" y="66666"/>
                    <a:pt x="39615" y="66333"/>
                    <a:pt x="38846" y="66333"/>
                  </a:cubicBezTo>
                  <a:cubicBezTo>
                    <a:pt x="38076" y="66333"/>
                    <a:pt x="36923" y="66000"/>
                    <a:pt x="36538" y="66000"/>
                  </a:cubicBezTo>
                  <a:cubicBezTo>
                    <a:pt x="35000" y="66666"/>
                    <a:pt x="32692" y="68000"/>
                    <a:pt x="32692" y="68666"/>
                  </a:cubicBezTo>
                  <a:cubicBezTo>
                    <a:pt x="32692" y="68666"/>
                    <a:pt x="33076" y="69000"/>
                    <a:pt x="33076" y="69333"/>
                  </a:cubicBezTo>
                  <a:cubicBezTo>
                    <a:pt x="34230" y="70666"/>
                    <a:pt x="35384" y="72000"/>
                    <a:pt x="34230" y="73000"/>
                  </a:cubicBezTo>
                  <a:cubicBezTo>
                    <a:pt x="34230" y="73000"/>
                    <a:pt x="33846" y="73666"/>
                    <a:pt x="33461" y="74000"/>
                  </a:cubicBezTo>
                  <a:cubicBezTo>
                    <a:pt x="31538" y="76000"/>
                    <a:pt x="30384" y="77333"/>
                    <a:pt x="29230" y="77333"/>
                  </a:cubicBezTo>
                  <a:cubicBezTo>
                    <a:pt x="29230" y="77333"/>
                    <a:pt x="28461" y="77000"/>
                    <a:pt x="28461" y="76666"/>
                  </a:cubicBezTo>
                  <a:cubicBezTo>
                    <a:pt x="27692" y="75333"/>
                    <a:pt x="25000" y="72333"/>
                    <a:pt x="24230" y="72000"/>
                  </a:cubicBezTo>
                  <a:cubicBezTo>
                    <a:pt x="23461" y="72333"/>
                    <a:pt x="21923" y="73000"/>
                    <a:pt x="21538" y="73333"/>
                  </a:cubicBezTo>
                  <a:cubicBezTo>
                    <a:pt x="21538" y="73333"/>
                    <a:pt x="21538" y="73666"/>
                    <a:pt x="21538" y="74000"/>
                  </a:cubicBezTo>
                  <a:cubicBezTo>
                    <a:pt x="19230" y="80666"/>
                    <a:pt x="18461" y="81666"/>
                    <a:pt x="17692" y="81666"/>
                  </a:cubicBezTo>
                  <a:cubicBezTo>
                    <a:pt x="17307" y="82000"/>
                    <a:pt x="16923" y="82000"/>
                    <a:pt x="16538" y="82333"/>
                  </a:cubicBezTo>
                  <a:cubicBezTo>
                    <a:pt x="14615" y="83000"/>
                    <a:pt x="13461" y="83666"/>
                    <a:pt x="12692" y="83666"/>
                  </a:cubicBezTo>
                  <a:cubicBezTo>
                    <a:pt x="12307" y="83666"/>
                    <a:pt x="12307" y="83666"/>
                    <a:pt x="12307" y="83666"/>
                  </a:cubicBezTo>
                  <a:cubicBezTo>
                    <a:pt x="11538" y="84000"/>
                    <a:pt x="9615" y="84000"/>
                    <a:pt x="8461" y="83000"/>
                  </a:cubicBezTo>
                  <a:cubicBezTo>
                    <a:pt x="7692" y="82666"/>
                    <a:pt x="6538" y="82666"/>
                    <a:pt x="6153" y="82666"/>
                  </a:cubicBezTo>
                  <a:cubicBezTo>
                    <a:pt x="6153" y="82666"/>
                    <a:pt x="6153" y="83000"/>
                    <a:pt x="5769" y="83000"/>
                  </a:cubicBezTo>
                  <a:cubicBezTo>
                    <a:pt x="5769" y="83333"/>
                    <a:pt x="5769" y="83666"/>
                    <a:pt x="5769" y="84333"/>
                  </a:cubicBezTo>
                  <a:cubicBezTo>
                    <a:pt x="6153" y="86000"/>
                    <a:pt x="6153" y="88000"/>
                    <a:pt x="5000" y="89000"/>
                  </a:cubicBezTo>
                  <a:cubicBezTo>
                    <a:pt x="4615" y="89333"/>
                    <a:pt x="4230" y="89666"/>
                    <a:pt x="3846" y="90333"/>
                  </a:cubicBezTo>
                  <a:cubicBezTo>
                    <a:pt x="2307" y="92000"/>
                    <a:pt x="1153" y="93000"/>
                    <a:pt x="384" y="93666"/>
                  </a:cubicBezTo>
                  <a:cubicBezTo>
                    <a:pt x="384" y="93666"/>
                    <a:pt x="384" y="93666"/>
                    <a:pt x="0" y="93666"/>
                  </a:cubicBezTo>
                  <a:cubicBezTo>
                    <a:pt x="1153" y="95000"/>
                    <a:pt x="4230" y="98000"/>
                    <a:pt x="5000" y="99000"/>
                  </a:cubicBezTo>
                  <a:cubicBezTo>
                    <a:pt x="6153" y="99666"/>
                    <a:pt x="8076" y="100666"/>
                    <a:pt x="9230" y="101000"/>
                  </a:cubicBezTo>
                  <a:cubicBezTo>
                    <a:pt x="9230" y="101000"/>
                    <a:pt x="10000" y="101000"/>
                    <a:pt x="10384" y="101000"/>
                  </a:cubicBezTo>
                  <a:cubicBezTo>
                    <a:pt x="11923" y="101000"/>
                    <a:pt x="13461" y="101333"/>
                    <a:pt x="13846" y="102333"/>
                  </a:cubicBezTo>
                  <a:cubicBezTo>
                    <a:pt x="13846" y="102333"/>
                    <a:pt x="13846" y="102333"/>
                    <a:pt x="13846" y="102333"/>
                  </a:cubicBezTo>
                  <a:cubicBezTo>
                    <a:pt x="14615" y="104333"/>
                    <a:pt x="15000" y="105000"/>
                    <a:pt x="15384" y="105666"/>
                  </a:cubicBezTo>
                  <a:cubicBezTo>
                    <a:pt x="16923" y="104000"/>
                    <a:pt x="17692" y="103000"/>
                    <a:pt x="18461" y="102333"/>
                  </a:cubicBezTo>
                  <a:cubicBezTo>
                    <a:pt x="18461" y="102333"/>
                    <a:pt x="18461" y="102333"/>
                    <a:pt x="18461" y="102333"/>
                  </a:cubicBezTo>
                  <a:cubicBezTo>
                    <a:pt x="19615" y="101666"/>
                    <a:pt x="20000" y="101333"/>
                    <a:pt x="20769" y="101333"/>
                  </a:cubicBezTo>
                  <a:cubicBezTo>
                    <a:pt x="20769" y="101333"/>
                    <a:pt x="21153" y="101333"/>
                    <a:pt x="21538" y="101333"/>
                  </a:cubicBezTo>
                  <a:cubicBezTo>
                    <a:pt x="22307" y="101333"/>
                    <a:pt x="23461" y="101000"/>
                    <a:pt x="24230" y="102000"/>
                  </a:cubicBezTo>
                  <a:cubicBezTo>
                    <a:pt x="24615" y="102333"/>
                    <a:pt x="25384" y="102666"/>
                    <a:pt x="25769" y="102666"/>
                  </a:cubicBezTo>
                  <a:cubicBezTo>
                    <a:pt x="26923" y="103000"/>
                    <a:pt x="27692" y="103666"/>
                    <a:pt x="28076" y="104000"/>
                  </a:cubicBezTo>
                  <a:cubicBezTo>
                    <a:pt x="28461" y="104333"/>
                    <a:pt x="28461" y="105000"/>
                    <a:pt x="28846" y="105333"/>
                  </a:cubicBezTo>
                  <a:cubicBezTo>
                    <a:pt x="29230" y="106000"/>
                    <a:pt x="29230" y="106666"/>
                    <a:pt x="30000" y="106666"/>
                  </a:cubicBezTo>
                  <a:cubicBezTo>
                    <a:pt x="30384" y="106666"/>
                    <a:pt x="30769" y="107000"/>
                    <a:pt x="31153" y="107000"/>
                  </a:cubicBezTo>
                  <a:cubicBezTo>
                    <a:pt x="32692" y="107000"/>
                    <a:pt x="33846" y="107333"/>
                    <a:pt x="34230" y="108000"/>
                  </a:cubicBezTo>
                  <a:cubicBezTo>
                    <a:pt x="35384" y="109333"/>
                    <a:pt x="35769" y="109333"/>
                    <a:pt x="35769" y="109333"/>
                  </a:cubicBezTo>
                  <a:cubicBezTo>
                    <a:pt x="35769" y="109333"/>
                    <a:pt x="36153" y="109333"/>
                    <a:pt x="36538" y="109333"/>
                  </a:cubicBezTo>
                  <a:cubicBezTo>
                    <a:pt x="37307" y="109333"/>
                    <a:pt x="38846" y="109000"/>
                    <a:pt x="39615" y="110000"/>
                  </a:cubicBezTo>
                  <a:cubicBezTo>
                    <a:pt x="41538" y="112666"/>
                    <a:pt x="41923" y="112666"/>
                    <a:pt x="41923" y="112666"/>
                  </a:cubicBezTo>
                  <a:cubicBezTo>
                    <a:pt x="42307" y="112333"/>
                    <a:pt x="42692" y="112333"/>
                    <a:pt x="42692" y="112333"/>
                  </a:cubicBezTo>
                  <a:cubicBezTo>
                    <a:pt x="43846" y="111333"/>
                    <a:pt x="45384" y="110333"/>
                    <a:pt x="46923" y="111000"/>
                  </a:cubicBezTo>
                  <a:cubicBezTo>
                    <a:pt x="48076" y="111333"/>
                    <a:pt x="49230" y="111666"/>
                    <a:pt x="50384" y="112666"/>
                  </a:cubicBezTo>
                  <a:cubicBezTo>
                    <a:pt x="51153" y="113000"/>
                    <a:pt x="51538" y="113666"/>
                    <a:pt x="52692" y="114333"/>
                  </a:cubicBezTo>
                  <a:cubicBezTo>
                    <a:pt x="53461" y="115000"/>
                    <a:pt x="55000" y="116333"/>
                    <a:pt x="55769" y="116666"/>
                  </a:cubicBezTo>
                  <a:cubicBezTo>
                    <a:pt x="55769" y="116666"/>
                    <a:pt x="56538" y="116000"/>
                    <a:pt x="57307" y="115666"/>
                  </a:cubicBezTo>
                  <a:cubicBezTo>
                    <a:pt x="60000" y="114000"/>
                    <a:pt x="62307" y="113000"/>
                    <a:pt x="63461" y="113333"/>
                  </a:cubicBezTo>
                  <a:cubicBezTo>
                    <a:pt x="64230" y="113333"/>
                    <a:pt x="64615" y="113666"/>
                    <a:pt x="65384" y="113666"/>
                  </a:cubicBezTo>
                  <a:cubicBezTo>
                    <a:pt x="66538" y="114000"/>
                    <a:pt x="67307" y="114333"/>
                    <a:pt x="68076" y="114333"/>
                  </a:cubicBezTo>
                  <a:cubicBezTo>
                    <a:pt x="69230" y="114333"/>
                    <a:pt x="70384" y="114666"/>
                    <a:pt x="71538" y="115000"/>
                  </a:cubicBezTo>
                  <a:cubicBezTo>
                    <a:pt x="71923" y="115333"/>
                    <a:pt x="72307" y="115333"/>
                    <a:pt x="72692" y="115333"/>
                  </a:cubicBezTo>
                  <a:cubicBezTo>
                    <a:pt x="73076" y="115666"/>
                    <a:pt x="73461" y="115666"/>
                    <a:pt x="73846" y="115666"/>
                  </a:cubicBezTo>
                  <a:cubicBezTo>
                    <a:pt x="74230" y="115666"/>
                    <a:pt x="74615" y="116000"/>
                    <a:pt x="75000" y="115666"/>
                  </a:cubicBezTo>
                  <a:cubicBezTo>
                    <a:pt x="75000" y="115666"/>
                    <a:pt x="75000" y="115666"/>
                    <a:pt x="75384" y="115666"/>
                  </a:cubicBezTo>
                  <a:cubicBezTo>
                    <a:pt x="75769" y="115333"/>
                    <a:pt x="76538" y="114666"/>
                    <a:pt x="78076" y="116000"/>
                  </a:cubicBezTo>
                  <a:cubicBezTo>
                    <a:pt x="78846" y="116666"/>
                    <a:pt x="80384" y="118666"/>
                    <a:pt x="81153" y="120000"/>
                  </a:cubicBezTo>
                  <a:cubicBezTo>
                    <a:pt x="82692" y="118666"/>
                    <a:pt x="85384" y="116666"/>
                    <a:pt x="86923" y="116333"/>
                  </a:cubicBezTo>
                  <a:cubicBezTo>
                    <a:pt x="88461" y="116333"/>
                    <a:pt x="92692" y="116000"/>
                    <a:pt x="93076" y="116000"/>
                  </a:cubicBezTo>
                  <a:cubicBezTo>
                    <a:pt x="93461" y="116000"/>
                    <a:pt x="93461" y="116333"/>
                    <a:pt x="93461" y="116333"/>
                  </a:cubicBezTo>
                  <a:cubicBezTo>
                    <a:pt x="95384" y="118000"/>
                    <a:pt x="95384" y="118000"/>
                    <a:pt x="95384" y="118000"/>
                  </a:cubicBezTo>
                  <a:cubicBezTo>
                    <a:pt x="95769" y="117666"/>
                    <a:pt x="96538" y="117333"/>
                    <a:pt x="97692" y="116666"/>
                  </a:cubicBezTo>
                  <a:cubicBezTo>
                    <a:pt x="97692" y="116666"/>
                    <a:pt x="98076" y="116666"/>
                    <a:pt x="98076" y="116666"/>
                  </a:cubicBezTo>
                  <a:cubicBezTo>
                    <a:pt x="98076" y="116000"/>
                    <a:pt x="98076" y="115000"/>
                    <a:pt x="97307" y="113000"/>
                  </a:cubicBezTo>
                  <a:cubicBezTo>
                    <a:pt x="97307" y="112666"/>
                    <a:pt x="97307" y="112666"/>
                    <a:pt x="97307" y="112666"/>
                  </a:cubicBezTo>
                  <a:cubicBezTo>
                    <a:pt x="96923" y="111666"/>
                    <a:pt x="98076" y="111000"/>
                    <a:pt x="98846" y="110666"/>
                  </a:cubicBezTo>
                  <a:cubicBezTo>
                    <a:pt x="98846" y="110666"/>
                    <a:pt x="99230" y="110333"/>
                    <a:pt x="99230" y="110333"/>
                  </a:cubicBezTo>
                  <a:cubicBezTo>
                    <a:pt x="99230" y="110000"/>
                    <a:pt x="99230" y="109333"/>
                    <a:pt x="98076" y="106666"/>
                  </a:cubicBezTo>
                  <a:cubicBezTo>
                    <a:pt x="98076" y="106333"/>
                    <a:pt x="98076" y="106333"/>
                    <a:pt x="98076" y="106333"/>
                  </a:cubicBezTo>
                  <a:cubicBezTo>
                    <a:pt x="97692" y="105000"/>
                    <a:pt x="103461" y="101333"/>
                    <a:pt x="103461" y="101333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2" name="Shape 6906">
              <a:extLst>
                <a:ext uri="{FF2B5EF4-FFF2-40B4-BE49-F238E27FC236}">
                  <a16:creationId xmlns:a16="http://schemas.microsoft.com/office/drawing/2014/main" id="{D62D5CF3-3A5A-4446-80CD-69883A9208D8}"/>
                </a:ext>
              </a:extLst>
            </p:cNvPr>
            <p:cNvSpPr/>
            <p:nvPr/>
          </p:nvSpPr>
          <p:spPr>
            <a:xfrm>
              <a:off x="2340601" y="4231392"/>
              <a:ext cx="408076" cy="47124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72857"/>
                  </a:moveTo>
                  <a:cubicBezTo>
                    <a:pt x="120000" y="71904"/>
                    <a:pt x="117725" y="70000"/>
                    <a:pt x="117156" y="69047"/>
                  </a:cubicBezTo>
                  <a:cubicBezTo>
                    <a:pt x="116587" y="68571"/>
                    <a:pt x="116018" y="68095"/>
                    <a:pt x="116018" y="67619"/>
                  </a:cubicBezTo>
                  <a:cubicBezTo>
                    <a:pt x="115450" y="67619"/>
                    <a:pt x="114312" y="68095"/>
                    <a:pt x="113175" y="68095"/>
                  </a:cubicBezTo>
                  <a:cubicBezTo>
                    <a:pt x="112606" y="68095"/>
                    <a:pt x="111469" y="68095"/>
                    <a:pt x="110900" y="68095"/>
                  </a:cubicBezTo>
                  <a:cubicBezTo>
                    <a:pt x="108625" y="68095"/>
                    <a:pt x="108056" y="66666"/>
                    <a:pt x="106919" y="65714"/>
                  </a:cubicBezTo>
                  <a:cubicBezTo>
                    <a:pt x="106919" y="65238"/>
                    <a:pt x="106919" y="65238"/>
                    <a:pt x="106919" y="64761"/>
                  </a:cubicBezTo>
                  <a:cubicBezTo>
                    <a:pt x="106350" y="64761"/>
                    <a:pt x="106350" y="64761"/>
                    <a:pt x="105213" y="64761"/>
                  </a:cubicBezTo>
                  <a:cubicBezTo>
                    <a:pt x="104644" y="64761"/>
                    <a:pt x="104075" y="64761"/>
                    <a:pt x="102938" y="64285"/>
                  </a:cubicBezTo>
                  <a:cubicBezTo>
                    <a:pt x="101232" y="63809"/>
                    <a:pt x="100663" y="63333"/>
                    <a:pt x="100094" y="62380"/>
                  </a:cubicBezTo>
                  <a:cubicBezTo>
                    <a:pt x="99526" y="62380"/>
                    <a:pt x="99526" y="62380"/>
                    <a:pt x="99526" y="61904"/>
                  </a:cubicBezTo>
                  <a:cubicBezTo>
                    <a:pt x="98388" y="60952"/>
                    <a:pt x="97819" y="56666"/>
                    <a:pt x="98388" y="55714"/>
                  </a:cubicBezTo>
                  <a:cubicBezTo>
                    <a:pt x="98957" y="54761"/>
                    <a:pt x="100094" y="54761"/>
                    <a:pt x="103507" y="54285"/>
                  </a:cubicBezTo>
                  <a:cubicBezTo>
                    <a:pt x="104075" y="54285"/>
                    <a:pt x="104644" y="54285"/>
                    <a:pt x="105213" y="54285"/>
                  </a:cubicBezTo>
                  <a:cubicBezTo>
                    <a:pt x="105781" y="53809"/>
                    <a:pt x="106350" y="52380"/>
                    <a:pt x="106919" y="51904"/>
                  </a:cubicBezTo>
                  <a:cubicBezTo>
                    <a:pt x="106919" y="51904"/>
                    <a:pt x="107488" y="51428"/>
                    <a:pt x="107488" y="51428"/>
                  </a:cubicBezTo>
                  <a:cubicBezTo>
                    <a:pt x="107488" y="51428"/>
                    <a:pt x="107488" y="50476"/>
                    <a:pt x="106350" y="46190"/>
                  </a:cubicBezTo>
                  <a:cubicBezTo>
                    <a:pt x="106350" y="45714"/>
                    <a:pt x="106350" y="45714"/>
                    <a:pt x="106350" y="45714"/>
                  </a:cubicBezTo>
                  <a:cubicBezTo>
                    <a:pt x="105781" y="44761"/>
                    <a:pt x="106919" y="43333"/>
                    <a:pt x="109763" y="41428"/>
                  </a:cubicBezTo>
                  <a:cubicBezTo>
                    <a:pt x="110331" y="41428"/>
                    <a:pt x="110331" y="41428"/>
                    <a:pt x="110900" y="41428"/>
                  </a:cubicBezTo>
                  <a:cubicBezTo>
                    <a:pt x="113175" y="41428"/>
                    <a:pt x="116018" y="41428"/>
                    <a:pt x="116587" y="40952"/>
                  </a:cubicBezTo>
                  <a:cubicBezTo>
                    <a:pt x="117156" y="40952"/>
                    <a:pt x="118862" y="39047"/>
                    <a:pt x="120000" y="37142"/>
                  </a:cubicBezTo>
                  <a:cubicBezTo>
                    <a:pt x="120000" y="36666"/>
                    <a:pt x="120000" y="34285"/>
                    <a:pt x="119431" y="32857"/>
                  </a:cubicBezTo>
                  <a:cubicBezTo>
                    <a:pt x="119431" y="31428"/>
                    <a:pt x="119431" y="30476"/>
                    <a:pt x="119431" y="29523"/>
                  </a:cubicBezTo>
                  <a:cubicBezTo>
                    <a:pt x="119431" y="21904"/>
                    <a:pt x="119431" y="21904"/>
                    <a:pt x="119431" y="21904"/>
                  </a:cubicBezTo>
                  <a:cubicBezTo>
                    <a:pt x="118293" y="21428"/>
                    <a:pt x="116587" y="20000"/>
                    <a:pt x="114312" y="18095"/>
                  </a:cubicBezTo>
                  <a:cubicBezTo>
                    <a:pt x="113175" y="17142"/>
                    <a:pt x="112037" y="16190"/>
                    <a:pt x="111469" y="15714"/>
                  </a:cubicBezTo>
                  <a:cubicBezTo>
                    <a:pt x="109763" y="14761"/>
                    <a:pt x="108056" y="13809"/>
                    <a:pt x="106350" y="13333"/>
                  </a:cubicBezTo>
                  <a:cubicBezTo>
                    <a:pt x="105781" y="13333"/>
                    <a:pt x="104075" y="14285"/>
                    <a:pt x="102938" y="15238"/>
                  </a:cubicBezTo>
                  <a:cubicBezTo>
                    <a:pt x="102369" y="15238"/>
                    <a:pt x="101800" y="15714"/>
                    <a:pt x="101800" y="15714"/>
                  </a:cubicBezTo>
                  <a:cubicBezTo>
                    <a:pt x="101232" y="16190"/>
                    <a:pt x="100663" y="16190"/>
                    <a:pt x="99526" y="16190"/>
                  </a:cubicBezTo>
                  <a:cubicBezTo>
                    <a:pt x="97819" y="15714"/>
                    <a:pt x="96113" y="13809"/>
                    <a:pt x="94976" y="11428"/>
                  </a:cubicBezTo>
                  <a:cubicBezTo>
                    <a:pt x="94407" y="11428"/>
                    <a:pt x="92701" y="11428"/>
                    <a:pt x="92132" y="11428"/>
                  </a:cubicBezTo>
                  <a:cubicBezTo>
                    <a:pt x="91563" y="11428"/>
                    <a:pt x="91563" y="11428"/>
                    <a:pt x="90995" y="11428"/>
                  </a:cubicBezTo>
                  <a:cubicBezTo>
                    <a:pt x="89289" y="11428"/>
                    <a:pt x="88151" y="10000"/>
                    <a:pt x="87014" y="8571"/>
                  </a:cubicBezTo>
                  <a:cubicBezTo>
                    <a:pt x="86445" y="8571"/>
                    <a:pt x="84739" y="8095"/>
                    <a:pt x="84170" y="8095"/>
                  </a:cubicBezTo>
                  <a:cubicBezTo>
                    <a:pt x="83033" y="7619"/>
                    <a:pt x="82464" y="7619"/>
                    <a:pt x="81895" y="7619"/>
                  </a:cubicBezTo>
                  <a:cubicBezTo>
                    <a:pt x="79620" y="7142"/>
                    <a:pt x="79052" y="5714"/>
                    <a:pt x="78483" y="4285"/>
                  </a:cubicBezTo>
                  <a:cubicBezTo>
                    <a:pt x="78483" y="3809"/>
                    <a:pt x="77914" y="3333"/>
                    <a:pt x="77914" y="3333"/>
                  </a:cubicBezTo>
                  <a:cubicBezTo>
                    <a:pt x="77345" y="2857"/>
                    <a:pt x="76208" y="2380"/>
                    <a:pt x="75639" y="1904"/>
                  </a:cubicBezTo>
                  <a:cubicBezTo>
                    <a:pt x="73933" y="1428"/>
                    <a:pt x="72796" y="952"/>
                    <a:pt x="72227" y="0"/>
                  </a:cubicBezTo>
                  <a:cubicBezTo>
                    <a:pt x="71658" y="0"/>
                    <a:pt x="71658" y="0"/>
                    <a:pt x="70521" y="0"/>
                  </a:cubicBezTo>
                  <a:cubicBezTo>
                    <a:pt x="69952" y="0"/>
                    <a:pt x="69383" y="0"/>
                    <a:pt x="68815" y="0"/>
                  </a:cubicBezTo>
                  <a:cubicBezTo>
                    <a:pt x="68246" y="0"/>
                    <a:pt x="68246" y="476"/>
                    <a:pt x="68246" y="476"/>
                  </a:cubicBezTo>
                  <a:cubicBezTo>
                    <a:pt x="68815" y="2380"/>
                    <a:pt x="70521" y="5714"/>
                    <a:pt x="69383" y="7142"/>
                  </a:cubicBezTo>
                  <a:cubicBezTo>
                    <a:pt x="68815" y="8095"/>
                    <a:pt x="68246" y="9523"/>
                    <a:pt x="67677" y="10476"/>
                  </a:cubicBezTo>
                  <a:cubicBezTo>
                    <a:pt x="66540" y="12857"/>
                    <a:pt x="65402" y="14761"/>
                    <a:pt x="64834" y="16190"/>
                  </a:cubicBezTo>
                  <a:cubicBezTo>
                    <a:pt x="63127" y="17619"/>
                    <a:pt x="63127" y="18095"/>
                    <a:pt x="63127" y="19047"/>
                  </a:cubicBezTo>
                  <a:cubicBezTo>
                    <a:pt x="63127" y="21428"/>
                    <a:pt x="63127" y="23809"/>
                    <a:pt x="60853" y="23809"/>
                  </a:cubicBezTo>
                  <a:cubicBezTo>
                    <a:pt x="60284" y="24285"/>
                    <a:pt x="60284" y="24285"/>
                    <a:pt x="60284" y="24285"/>
                  </a:cubicBezTo>
                  <a:cubicBezTo>
                    <a:pt x="58578" y="24285"/>
                    <a:pt x="54597" y="25238"/>
                    <a:pt x="53459" y="26190"/>
                  </a:cubicBezTo>
                  <a:cubicBezTo>
                    <a:pt x="52890" y="26190"/>
                    <a:pt x="52322" y="27142"/>
                    <a:pt x="51753" y="27619"/>
                  </a:cubicBezTo>
                  <a:cubicBezTo>
                    <a:pt x="50047" y="29047"/>
                    <a:pt x="48909" y="30000"/>
                    <a:pt x="47772" y="30000"/>
                  </a:cubicBezTo>
                  <a:cubicBezTo>
                    <a:pt x="46635" y="30000"/>
                    <a:pt x="38104" y="28095"/>
                    <a:pt x="38104" y="25714"/>
                  </a:cubicBezTo>
                  <a:cubicBezTo>
                    <a:pt x="38104" y="24285"/>
                    <a:pt x="37535" y="22380"/>
                    <a:pt x="36398" y="21428"/>
                  </a:cubicBezTo>
                  <a:cubicBezTo>
                    <a:pt x="35260" y="20476"/>
                    <a:pt x="32985" y="19047"/>
                    <a:pt x="29573" y="17142"/>
                  </a:cubicBezTo>
                  <a:cubicBezTo>
                    <a:pt x="27867" y="16190"/>
                    <a:pt x="23317" y="15238"/>
                    <a:pt x="21611" y="15714"/>
                  </a:cubicBezTo>
                  <a:cubicBezTo>
                    <a:pt x="18767" y="16666"/>
                    <a:pt x="14786" y="18571"/>
                    <a:pt x="14218" y="19523"/>
                  </a:cubicBezTo>
                  <a:cubicBezTo>
                    <a:pt x="14218" y="20000"/>
                    <a:pt x="14218" y="20476"/>
                    <a:pt x="13649" y="20952"/>
                  </a:cubicBezTo>
                  <a:cubicBezTo>
                    <a:pt x="13649" y="22380"/>
                    <a:pt x="13080" y="22857"/>
                    <a:pt x="14218" y="23809"/>
                  </a:cubicBezTo>
                  <a:cubicBezTo>
                    <a:pt x="14786" y="24285"/>
                    <a:pt x="15355" y="24761"/>
                    <a:pt x="15924" y="25238"/>
                  </a:cubicBezTo>
                  <a:cubicBezTo>
                    <a:pt x="18199" y="27142"/>
                    <a:pt x="19905" y="28095"/>
                    <a:pt x="19905" y="29047"/>
                  </a:cubicBezTo>
                  <a:cubicBezTo>
                    <a:pt x="19905" y="30000"/>
                    <a:pt x="19905" y="34761"/>
                    <a:pt x="20473" y="36190"/>
                  </a:cubicBezTo>
                  <a:cubicBezTo>
                    <a:pt x="21611" y="38095"/>
                    <a:pt x="24454" y="43809"/>
                    <a:pt x="25592" y="44285"/>
                  </a:cubicBezTo>
                  <a:cubicBezTo>
                    <a:pt x="26729" y="44761"/>
                    <a:pt x="32985" y="45714"/>
                    <a:pt x="34123" y="45238"/>
                  </a:cubicBezTo>
                  <a:cubicBezTo>
                    <a:pt x="34123" y="45238"/>
                    <a:pt x="34691" y="45238"/>
                    <a:pt x="34691" y="44761"/>
                  </a:cubicBezTo>
                  <a:cubicBezTo>
                    <a:pt x="36398" y="43809"/>
                    <a:pt x="38104" y="43333"/>
                    <a:pt x="39810" y="43333"/>
                  </a:cubicBezTo>
                  <a:cubicBezTo>
                    <a:pt x="40947" y="43333"/>
                    <a:pt x="49478" y="45238"/>
                    <a:pt x="50047" y="47142"/>
                  </a:cubicBezTo>
                  <a:cubicBezTo>
                    <a:pt x="50616" y="47142"/>
                    <a:pt x="50616" y="47619"/>
                    <a:pt x="50616" y="48095"/>
                  </a:cubicBezTo>
                  <a:cubicBezTo>
                    <a:pt x="52322" y="51428"/>
                    <a:pt x="53459" y="52857"/>
                    <a:pt x="53459" y="53809"/>
                  </a:cubicBezTo>
                  <a:cubicBezTo>
                    <a:pt x="53459" y="53809"/>
                    <a:pt x="53459" y="54285"/>
                    <a:pt x="53459" y="54761"/>
                  </a:cubicBezTo>
                  <a:cubicBezTo>
                    <a:pt x="54028" y="56666"/>
                    <a:pt x="54597" y="58571"/>
                    <a:pt x="54028" y="59523"/>
                  </a:cubicBezTo>
                  <a:cubicBezTo>
                    <a:pt x="53459" y="60000"/>
                    <a:pt x="53459" y="60476"/>
                    <a:pt x="52322" y="60476"/>
                  </a:cubicBezTo>
                  <a:cubicBezTo>
                    <a:pt x="52322" y="60952"/>
                    <a:pt x="51753" y="60952"/>
                    <a:pt x="51184" y="60952"/>
                  </a:cubicBezTo>
                  <a:cubicBezTo>
                    <a:pt x="49478" y="61428"/>
                    <a:pt x="47772" y="61904"/>
                    <a:pt x="46066" y="60476"/>
                  </a:cubicBezTo>
                  <a:cubicBezTo>
                    <a:pt x="46066" y="60476"/>
                    <a:pt x="45497" y="60000"/>
                    <a:pt x="45497" y="59523"/>
                  </a:cubicBezTo>
                  <a:cubicBezTo>
                    <a:pt x="44928" y="58571"/>
                    <a:pt x="43791" y="57142"/>
                    <a:pt x="43222" y="57142"/>
                  </a:cubicBezTo>
                  <a:cubicBezTo>
                    <a:pt x="42654" y="57142"/>
                    <a:pt x="41516" y="57142"/>
                    <a:pt x="40947" y="57142"/>
                  </a:cubicBezTo>
                  <a:cubicBezTo>
                    <a:pt x="40379" y="57142"/>
                    <a:pt x="39810" y="57142"/>
                    <a:pt x="39810" y="57142"/>
                  </a:cubicBezTo>
                  <a:cubicBezTo>
                    <a:pt x="39810" y="57142"/>
                    <a:pt x="39810" y="57619"/>
                    <a:pt x="39810" y="57619"/>
                  </a:cubicBezTo>
                  <a:cubicBezTo>
                    <a:pt x="39810" y="58571"/>
                    <a:pt x="39810" y="60476"/>
                    <a:pt x="37535" y="60476"/>
                  </a:cubicBezTo>
                  <a:cubicBezTo>
                    <a:pt x="35829" y="60952"/>
                    <a:pt x="32417" y="62380"/>
                    <a:pt x="31848" y="62857"/>
                  </a:cubicBezTo>
                  <a:cubicBezTo>
                    <a:pt x="31848" y="62857"/>
                    <a:pt x="31279" y="63333"/>
                    <a:pt x="30142" y="63809"/>
                  </a:cubicBezTo>
                  <a:cubicBezTo>
                    <a:pt x="25023" y="67142"/>
                    <a:pt x="24454" y="68095"/>
                    <a:pt x="24454" y="68571"/>
                  </a:cubicBezTo>
                  <a:cubicBezTo>
                    <a:pt x="24454" y="69047"/>
                    <a:pt x="24454" y="69523"/>
                    <a:pt x="24454" y="69523"/>
                  </a:cubicBezTo>
                  <a:cubicBezTo>
                    <a:pt x="24454" y="71428"/>
                    <a:pt x="24454" y="72857"/>
                    <a:pt x="22748" y="73809"/>
                  </a:cubicBezTo>
                  <a:cubicBezTo>
                    <a:pt x="21042" y="74761"/>
                    <a:pt x="19336" y="76666"/>
                    <a:pt x="19336" y="77619"/>
                  </a:cubicBezTo>
                  <a:cubicBezTo>
                    <a:pt x="19336" y="78095"/>
                    <a:pt x="19336" y="78095"/>
                    <a:pt x="19336" y="78571"/>
                  </a:cubicBezTo>
                  <a:cubicBezTo>
                    <a:pt x="19336" y="81904"/>
                    <a:pt x="19336" y="83333"/>
                    <a:pt x="18199" y="83809"/>
                  </a:cubicBezTo>
                  <a:cubicBezTo>
                    <a:pt x="18199" y="84285"/>
                    <a:pt x="17630" y="84285"/>
                    <a:pt x="17630" y="84285"/>
                  </a:cubicBezTo>
                  <a:cubicBezTo>
                    <a:pt x="17061" y="84285"/>
                    <a:pt x="17061" y="84285"/>
                    <a:pt x="17061" y="84285"/>
                  </a:cubicBezTo>
                  <a:cubicBezTo>
                    <a:pt x="15924" y="84285"/>
                    <a:pt x="14218" y="84285"/>
                    <a:pt x="13649" y="84761"/>
                  </a:cubicBezTo>
                  <a:cubicBezTo>
                    <a:pt x="13649" y="85238"/>
                    <a:pt x="13080" y="85714"/>
                    <a:pt x="12511" y="86190"/>
                  </a:cubicBezTo>
                  <a:cubicBezTo>
                    <a:pt x="11374" y="87619"/>
                    <a:pt x="9099" y="90476"/>
                    <a:pt x="9099" y="91428"/>
                  </a:cubicBezTo>
                  <a:cubicBezTo>
                    <a:pt x="9099" y="91904"/>
                    <a:pt x="9099" y="91904"/>
                    <a:pt x="9099" y="92380"/>
                  </a:cubicBezTo>
                  <a:cubicBezTo>
                    <a:pt x="9099" y="94285"/>
                    <a:pt x="9668" y="96666"/>
                    <a:pt x="7393" y="97619"/>
                  </a:cubicBezTo>
                  <a:cubicBezTo>
                    <a:pt x="6824" y="98095"/>
                    <a:pt x="6824" y="98095"/>
                    <a:pt x="6824" y="98095"/>
                  </a:cubicBezTo>
                  <a:cubicBezTo>
                    <a:pt x="5118" y="98571"/>
                    <a:pt x="2274" y="99523"/>
                    <a:pt x="0" y="102380"/>
                  </a:cubicBezTo>
                  <a:cubicBezTo>
                    <a:pt x="0" y="102380"/>
                    <a:pt x="568" y="102380"/>
                    <a:pt x="568" y="102380"/>
                  </a:cubicBezTo>
                  <a:cubicBezTo>
                    <a:pt x="3412" y="102380"/>
                    <a:pt x="10236" y="102857"/>
                    <a:pt x="11374" y="102380"/>
                  </a:cubicBezTo>
                  <a:cubicBezTo>
                    <a:pt x="12511" y="101904"/>
                    <a:pt x="15924" y="100952"/>
                    <a:pt x="18767" y="101904"/>
                  </a:cubicBezTo>
                  <a:cubicBezTo>
                    <a:pt x="20473" y="102380"/>
                    <a:pt x="23317" y="102857"/>
                    <a:pt x="24454" y="102857"/>
                  </a:cubicBezTo>
                  <a:cubicBezTo>
                    <a:pt x="26161" y="102857"/>
                    <a:pt x="28436" y="103333"/>
                    <a:pt x="30142" y="104285"/>
                  </a:cubicBezTo>
                  <a:cubicBezTo>
                    <a:pt x="31279" y="105238"/>
                    <a:pt x="32985" y="107142"/>
                    <a:pt x="31848" y="109523"/>
                  </a:cubicBezTo>
                  <a:cubicBezTo>
                    <a:pt x="30710" y="111904"/>
                    <a:pt x="25592" y="114761"/>
                    <a:pt x="24454" y="115238"/>
                  </a:cubicBezTo>
                  <a:cubicBezTo>
                    <a:pt x="23886" y="115238"/>
                    <a:pt x="23317" y="115238"/>
                    <a:pt x="23317" y="115238"/>
                  </a:cubicBezTo>
                  <a:cubicBezTo>
                    <a:pt x="22748" y="115714"/>
                    <a:pt x="22748" y="115714"/>
                    <a:pt x="22180" y="116190"/>
                  </a:cubicBezTo>
                  <a:cubicBezTo>
                    <a:pt x="22180" y="116190"/>
                    <a:pt x="22180" y="116190"/>
                    <a:pt x="22180" y="116190"/>
                  </a:cubicBezTo>
                  <a:cubicBezTo>
                    <a:pt x="22180" y="117619"/>
                    <a:pt x="22180" y="118571"/>
                    <a:pt x="22180" y="118571"/>
                  </a:cubicBezTo>
                  <a:cubicBezTo>
                    <a:pt x="24454" y="118571"/>
                    <a:pt x="27298" y="119047"/>
                    <a:pt x="27867" y="119047"/>
                  </a:cubicBezTo>
                  <a:cubicBezTo>
                    <a:pt x="27867" y="119047"/>
                    <a:pt x="28436" y="119047"/>
                    <a:pt x="28436" y="119523"/>
                  </a:cubicBezTo>
                  <a:cubicBezTo>
                    <a:pt x="29004" y="118095"/>
                    <a:pt x="30142" y="117142"/>
                    <a:pt x="31848" y="118095"/>
                  </a:cubicBezTo>
                  <a:cubicBezTo>
                    <a:pt x="34691" y="120000"/>
                    <a:pt x="40379" y="120000"/>
                    <a:pt x="43222" y="118095"/>
                  </a:cubicBezTo>
                  <a:cubicBezTo>
                    <a:pt x="45497" y="116190"/>
                    <a:pt x="48341" y="114285"/>
                    <a:pt x="47772" y="112380"/>
                  </a:cubicBezTo>
                  <a:cubicBezTo>
                    <a:pt x="47772" y="110000"/>
                    <a:pt x="44360" y="103809"/>
                    <a:pt x="46635" y="102857"/>
                  </a:cubicBezTo>
                  <a:cubicBezTo>
                    <a:pt x="48909" y="101904"/>
                    <a:pt x="60853" y="99523"/>
                    <a:pt x="62559" y="100952"/>
                  </a:cubicBezTo>
                  <a:cubicBezTo>
                    <a:pt x="63696" y="101904"/>
                    <a:pt x="68246" y="105714"/>
                    <a:pt x="70521" y="106190"/>
                  </a:cubicBezTo>
                  <a:cubicBezTo>
                    <a:pt x="72796" y="106666"/>
                    <a:pt x="73364" y="105714"/>
                    <a:pt x="75071" y="105238"/>
                  </a:cubicBezTo>
                  <a:cubicBezTo>
                    <a:pt x="77345" y="104761"/>
                    <a:pt x="79620" y="104285"/>
                    <a:pt x="78483" y="102380"/>
                  </a:cubicBezTo>
                  <a:cubicBezTo>
                    <a:pt x="77914" y="100476"/>
                    <a:pt x="67677" y="92380"/>
                    <a:pt x="65971" y="92380"/>
                  </a:cubicBezTo>
                  <a:cubicBezTo>
                    <a:pt x="63696" y="92380"/>
                    <a:pt x="64834" y="90476"/>
                    <a:pt x="67109" y="89523"/>
                  </a:cubicBezTo>
                  <a:cubicBezTo>
                    <a:pt x="68815" y="89047"/>
                    <a:pt x="71658" y="88095"/>
                    <a:pt x="70521" y="85714"/>
                  </a:cubicBezTo>
                  <a:cubicBezTo>
                    <a:pt x="69952" y="83809"/>
                    <a:pt x="69383" y="80000"/>
                    <a:pt x="69952" y="78095"/>
                  </a:cubicBezTo>
                  <a:cubicBezTo>
                    <a:pt x="70521" y="76190"/>
                    <a:pt x="71658" y="74285"/>
                    <a:pt x="73364" y="74285"/>
                  </a:cubicBezTo>
                  <a:cubicBezTo>
                    <a:pt x="75071" y="74285"/>
                    <a:pt x="80758" y="75238"/>
                    <a:pt x="82464" y="76190"/>
                  </a:cubicBezTo>
                  <a:cubicBezTo>
                    <a:pt x="84170" y="77142"/>
                    <a:pt x="93270" y="82380"/>
                    <a:pt x="94976" y="82857"/>
                  </a:cubicBezTo>
                  <a:cubicBezTo>
                    <a:pt x="96682" y="82857"/>
                    <a:pt x="102938" y="81428"/>
                    <a:pt x="106919" y="81904"/>
                  </a:cubicBezTo>
                  <a:cubicBezTo>
                    <a:pt x="108056" y="82380"/>
                    <a:pt x="109763" y="82857"/>
                    <a:pt x="111469" y="82857"/>
                  </a:cubicBezTo>
                  <a:cubicBezTo>
                    <a:pt x="112037" y="79047"/>
                    <a:pt x="118293" y="73809"/>
                    <a:pt x="120000" y="72857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3" name="Shape 6907">
              <a:extLst>
                <a:ext uri="{FF2B5EF4-FFF2-40B4-BE49-F238E27FC236}">
                  <a16:creationId xmlns:a16="http://schemas.microsoft.com/office/drawing/2014/main" id="{8F2DA45E-3060-489A-AF12-D79A131C2C73}"/>
                </a:ext>
              </a:extLst>
            </p:cNvPr>
            <p:cNvSpPr/>
            <p:nvPr/>
          </p:nvSpPr>
          <p:spPr>
            <a:xfrm>
              <a:off x="2683075" y="4296713"/>
              <a:ext cx="428336" cy="29021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109161"/>
                  </a:moveTo>
                  <a:cubicBezTo>
                    <a:pt x="118918" y="93677"/>
                    <a:pt x="118918" y="93677"/>
                    <a:pt x="118918" y="93677"/>
                  </a:cubicBezTo>
                  <a:cubicBezTo>
                    <a:pt x="118378" y="90580"/>
                    <a:pt x="107567" y="81290"/>
                    <a:pt x="104864" y="78967"/>
                  </a:cubicBezTo>
                  <a:cubicBezTo>
                    <a:pt x="102702" y="77419"/>
                    <a:pt x="103783" y="72774"/>
                    <a:pt x="104324" y="69677"/>
                  </a:cubicBezTo>
                  <a:cubicBezTo>
                    <a:pt x="104324" y="68129"/>
                    <a:pt x="104324" y="68129"/>
                    <a:pt x="104324" y="68129"/>
                  </a:cubicBezTo>
                  <a:cubicBezTo>
                    <a:pt x="104324" y="68129"/>
                    <a:pt x="104324" y="68129"/>
                    <a:pt x="104324" y="68129"/>
                  </a:cubicBezTo>
                  <a:cubicBezTo>
                    <a:pt x="104324" y="67354"/>
                    <a:pt x="102702" y="67354"/>
                    <a:pt x="102162" y="67354"/>
                  </a:cubicBezTo>
                  <a:cubicBezTo>
                    <a:pt x="101621" y="67354"/>
                    <a:pt x="101081" y="67354"/>
                    <a:pt x="100540" y="67354"/>
                  </a:cubicBezTo>
                  <a:cubicBezTo>
                    <a:pt x="98378" y="66580"/>
                    <a:pt x="97837" y="64258"/>
                    <a:pt x="97297" y="61935"/>
                  </a:cubicBezTo>
                  <a:cubicBezTo>
                    <a:pt x="97297" y="61161"/>
                    <a:pt x="97297" y="60387"/>
                    <a:pt x="96756" y="59612"/>
                  </a:cubicBezTo>
                  <a:cubicBezTo>
                    <a:pt x="96756" y="58838"/>
                    <a:pt x="96216" y="58838"/>
                    <a:pt x="95135" y="59612"/>
                  </a:cubicBezTo>
                  <a:cubicBezTo>
                    <a:pt x="94594" y="59612"/>
                    <a:pt x="93513" y="59612"/>
                    <a:pt x="92972" y="59612"/>
                  </a:cubicBezTo>
                  <a:cubicBezTo>
                    <a:pt x="90810" y="59612"/>
                    <a:pt x="86486" y="54967"/>
                    <a:pt x="85405" y="53419"/>
                  </a:cubicBezTo>
                  <a:cubicBezTo>
                    <a:pt x="85405" y="53419"/>
                    <a:pt x="84324" y="53419"/>
                    <a:pt x="83783" y="53419"/>
                  </a:cubicBezTo>
                  <a:cubicBezTo>
                    <a:pt x="83243" y="53419"/>
                    <a:pt x="82162" y="53419"/>
                    <a:pt x="81621" y="52645"/>
                  </a:cubicBezTo>
                  <a:cubicBezTo>
                    <a:pt x="81081" y="52645"/>
                    <a:pt x="81081" y="52645"/>
                    <a:pt x="80540" y="51870"/>
                  </a:cubicBezTo>
                  <a:cubicBezTo>
                    <a:pt x="79459" y="50322"/>
                    <a:pt x="80000" y="46451"/>
                    <a:pt x="81081" y="41806"/>
                  </a:cubicBezTo>
                  <a:cubicBezTo>
                    <a:pt x="81081" y="41032"/>
                    <a:pt x="81081" y="41032"/>
                    <a:pt x="81081" y="40258"/>
                  </a:cubicBezTo>
                  <a:cubicBezTo>
                    <a:pt x="81081" y="40258"/>
                    <a:pt x="79459" y="39483"/>
                    <a:pt x="78378" y="38709"/>
                  </a:cubicBezTo>
                  <a:cubicBezTo>
                    <a:pt x="77837" y="38709"/>
                    <a:pt x="77297" y="37935"/>
                    <a:pt x="76756" y="37935"/>
                  </a:cubicBezTo>
                  <a:cubicBezTo>
                    <a:pt x="75135" y="36387"/>
                    <a:pt x="74594" y="34838"/>
                    <a:pt x="74054" y="34064"/>
                  </a:cubicBezTo>
                  <a:cubicBezTo>
                    <a:pt x="74054" y="33290"/>
                    <a:pt x="74054" y="33290"/>
                    <a:pt x="74054" y="33290"/>
                  </a:cubicBezTo>
                  <a:cubicBezTo>
                    <a:pt x="74054" y="32516"/>
                    <a:pt x="73513" y="31741"/>
                    <a:pt x="72972" y="31741"/>
                  </a:cubicBezTo>
                  <a:cubicBezTo>
                    <a:pt x="71351" y="27870"/>
                    <a:pt x="69729" y="24774"/>
                    <a:pt x="69189" y="23225"/>
                  </a:cubicBezTo>
                  <a:cubicBezTo>
                    <a:pt x="68648" y="20903"/>
                    <a:pt x="70270" y="17806"/>
                    <a:pt x="72432" y="12387"/>
                  </a:cubicBezTo>
                  <a:cubicBezTo>
                    <a:pt x="72972" y="11612"/>
                    <a:pt x="72972" y="11612"/>
                    <a:pt x="73513" y="10838"/>
                  </a:cubicBezTo>
                  <a:cubicBezTo>
                    <a:pt x="70810" y="6967"/>
                    <a:pt x="70810" y="6967"/>
                    <a:pt x="70810" y="6967"/>
                  </a:cubicBezTo>
                  <a:cubicBezTo>
                    <a:pt x="69189" y="7741"/>
                    <a:pt x="64324" y="7741"/>
                    <a:pt x="62702" y="7741"/>
                  </a:cubicBezTo>
                  <a:cubicBezTo>
                    <a:pt x="61621" y="8516"/>
                    <a:pt x="57837" y="12387"/>
                    <a:pt x="55135" y="16258"/>
                  </a:cubicBezTo>
                  <a:cubicBezTo>
                    <a:pt x="55135" y="17032"/>
                    <a:pt x="54594" y="17032"/>
                    <a:pt x="54594" y="17032"/>
                  </a:cubicBezTo>
                  <a:cubicBezTo>
                    <a:pt x="54054" y="17032"/>
                    <a:pt x="54054" y="17032"/>
                    <a:pt x="54054" y="17032"/>
                  </a:cubicBezTo>
                  <a:cubicBezTo>
                    <a:pt x="54054" y="17032"/>
                    <a:pt x="53513" y="16258"/>
                    <a:pt x="53513" y="16258"/>
                  </a:cubicBezTo>
                  <a:cubicBezTo>
                    <a:pt x="53513" y="16258"/>
                    <a:pt x="50270" y="8516"/>
                    <a:pt x="48648" y="5419"/>
                  </a:cubicBezTo>
                  <a:cubicBezTo>
                    <a:pt x="48108" y="4645"/>
                    <a:pt x="48108" y="4645"/>
                    <a:pt x="48108" y="4645"/>
                  </a:cubicBezTo>
                  <a:cubicBezTo>
                    <a:pt x="48108" y="4645"/>
                    <a:pt x="47567" y="4645"/>
                    <a:pt x="47567" y="5419"/>
                  </a:cubicBezTo>
                  <a:cubicBezTo>
                    <a:pt x="47027" y="5419"/>
                    <a:pt x="47027" y="5419"/>
                    <a:pt x="46486" y="6193"/>
                  </a:cubicBezTo>
                  <a:cubicBezTo>
                    <a:pt x="45405" y="6967"/>
                    <a:pt x="44864" y="6193"/>
                    <a:pt x="43783" y="6193"/>
                  </a:cubicBezTo>
                  <a:cubicBezTo>
                    <a:pt x="43243" y="6193"/>
                    <a:pt x="42702" y="6193"/>
                    <a:pt x="42702" y="5419"/>
                  </a:cubicBezTo>
                  <a:cubicBezTo>
                    <a:pt x="41621" y="5419"/>
                    <a:pt x="41081" y="5419"/>
                    <a:pt x="40000" y="4645"/>
                  </a:cubicBezTo>
                  <a:cubicBezTo>
                    <a:pt x="38918" y="3870"/>
                    <a:pt x="37297" y="3096"/>
                    <a:pt x="36216" y="3096"/>
                  </a:cubicBezTo>
                  <a:cubicBezTo>
                    <a:pt x="34594" y="3096"/>
                    <a:pt x="32972" y="2322"/>
                    <a:pt x="31891" y="1548"/>
                  </a:cubicBezTo>
                  <a:cubicBezTo>
                    <a:pt x="30810" y="774"/>
                    <a:pt x="29729" y="774"/>
                    <a:pt x="29189" y="0"/>
                  </a:cubicBezTo>
                  <a:cubicBezTo>
                    <a:pt x="28108" y="0"/>
                    <a:pt x="23783" y="4645"/>
                    <a:pt x="22162" y="6193"/>
                  </a:cubicBezTo>
                  <a:cubicBezTo>
                    <a:pt x="21081" y="6967"/>
                    <a:pt x="20540" y="7741"/>
                    <a:pt x="20000" y="7741"/>
                  </a:cubicBezTo>
                  <a:cubicBezTo>
                    <a:pt x="20000" y="20903"/>
                    <a:pt x="20000" y="20903"/>
                    <a:pt x="20000" y="20903"/>
                  </a:cubicBezTo>
                  <a:cubicBezTo>
                    <a:pt x="20000" y="22451"/>
                    <a:pt x="20000" y="24000"/>
                    <a:pt x="20000" y="26322"/>
                  </a:cubicBezTo>
                  <a:cubicBezTo>
                    <a:pt x="20540" y="30967"/>
                    <a:pt x="20540" y="33290"/>
                    <a:pt x="20000" y="34064"/>
                  </a:cubicBezTo>
                  <a:cubicBezTo>
                    <a:pt x="19459" y="35612"/>
                    <a:pt x="17837" y="41032"/>
                    <a:pt x="16216" y="42580"/>
                  </a:cubicBezTo>
                  <a:cubicBezTo>
                    <a:pt x="15135" y="43354"/>
                    <a:pt x="11351" y="43354"/>
                    <a:pt x="9729" y="43354"/>
                  </a:cubicBezTo>
                  <a:cubicBezTo>
                    <a:pt x="8648" y="44903"/>
                    <a:pt x="7567" y="46451"/>
                    <a:pt x="7027" y="47225"/>
                  </a:cubicBezTo>
                  <a:cubicBezTo>
                    <a:pt x="7567" y="47225"/>
                    <a:pt x="7567" y="47225"/>
                    <a:pt x="7567" y="47225"/>
                  </a:cubicBezTo>
                  <a:cubicBezTo>
                    <a:pt x="8648" y="54967"/>
                    <a:pt x="8648" y="57290"/>
                    <a:pt x="8108" y="58064"/>
                  </a:cubicBezTo>
                  <a:cubicBezTo>
                    <a:pt x="8108" y="58064"/>
                    <a:pt x="8108" y="58838"/>
                    <a:pt x="7567" y="58838"/>
                  </a:cubicBezTo>
                  <a:cubicBezTo>
                    <a:pt x="6486" y="61935"/>
                    <a:pt x="5945" y="63483"/>
                    <a:pt x="4864" y="63483"/>
                  </a:cubicBezTo>
                  <a:cubicBezTo>
                    <a:pt x="4864" y="64258"/>
                    <a:pt x="4324" y="64258"/>
                    <a:pt x="3243" y="64258"/>
                  </a:cubicBezTo>
                  <a:cubicBezTo>
                    <a:pt x="2162" y="64258"/>
                    <a:pt x="540" y="65032"/>
                    <a:pt x="0" y="65032"/>
                  </a:cubicBezTo>
                  <a:cubicBezTo>
                    <a:pt x="0" y="66580"/>
                    <a:pt x="0" y="71225"/>
                    <a:pt x="540" y="72000"/>
                  </a:cubicBezTo>
                  <a:cubicBezTo>
                    <a:pt x="1081" y="72000"/>
                    <a:pt x="1081" y="72774"/>
                    <a:pt x="1081" y="72774"/>
                  </a:cubicBezTo>
                  <a:cubicBezTo>
                    <a:pt x="1621" y="73548"/>
                    <a:pt x="1621" y="74322"/>
                    <a:pt x="2702" y="75096"/>
                  </a:cubicBezTo>
                  <a:cubicBezTo>
                    <a:pt x="3243" y="75096"/>
                    <a:pt x="3783" y="75096"/>
                    <a:pt x="4324" y="75096"/>
                  </a:cubicBezTo>
                  <a:cubicBezTo>
                    <a:pt x="5405" y="75096"/>
                    <a:pt x="7027" y="75096"/>
                    <a:pt x="7567" y="77419"/>
                  </a:cubicBezTo>
                  <a:cubicBezTo>
                    <a:pt x="8108" y="77419"/>
                    <a:pt x="8108" y="78193"/>
                    <a:pt x="8108" y="78193"/>
                  </a:cubicBezTo>
                  <a:cubicBezTo>
                    <a:pt x="8648" y="80516"/>
                    <a:pt x="9189" y="80516"/>
                    <a:pt x="9729" y="80516"/>
                  </a:cubicBezTo>
                  <a:cubicBezTo>
                    <a:pt x="10270" y="80516"/>
                    <a:pt x="10810" y="80516"/>
                    <a:pt x="11891" y="80516"/>
                  </a:cubicBezTo>
                  <a:cubicBezTo>
                    <a:pt x="13513" y="79741"/>
                    <a:pt x="15135" y="79741"/>
                    <a:pt x="16216" y="81290"/>
                  </a:cubicBezTo>
                  <a:cubicBezTo>
                    <a:pt x="16756" y="82064"/>
                    <a:pt x="16756" y="82838"/>
                    <a:pt x="17297" y="83612"/>
                  </a:cubicBezTo>
                  <a:cubicBezTo>
                    <a:pt x="18918" y="86709"/>
                    <a:pt x="21621" y="90580"/>
                    <a:pt x="19459" y="92903"/>
                  </a:cubicBezTo>
                  <a:cubicBezTo>
                    <a:pt x="17297" y="96774"/>
                    <a:pt x="12972" y="103741"/>
                    <a:pt x="12432" y="108387"/>
                  </a:cubicBezTo>
                  <a:cubicBezTo>
                    <a:pt x="13513" y="108387"/>
                    <a:pt x="14594" y="109161"/>
                    <a:pt x="15135" y="109161"/>
                  </a:cubicBezTo>
                  <a:cubicBezTo>
                    <a:pt x="16756" y="109161"/>
                    <a:pt x="23243" y="107612"/>
                    <a:pt x="25405" y="109161"/>
                  </a:cubicBezTo>
                  <a:cubicBezTo>
                    <a:pt x="27567" y="110709"/>
                    <a:pt x="30270" y="111483"/>
                    <a:pt x="33513" y="111483"/>
                  </a:cubicBezTo>
                  <a:cubicBezTo>
                    <a:pt x="36756" y="111483"/>
                    <a:pt x="37837" y="109161"/>
                    <a:pt x="41621" y="112258"/>
                  </a:cubicBezTo>
                  <a:cubicBezTo>
                    <a:pt x="45945" y="115354"/>
                    <a:pt x="50270" y="116129"/>
                    <a:pt x="52432" y="115354"/>
                  </a:cubicBezTo>
                  <a:cubicBezTo>
                    <a:pt x="54594" y="115354"/>
                    <a:pt x="57837" y="106064"/>
                    <a:pt x="61081" y="107612"/>
                  </a:cubicBezTo>
                  <a:cubicBezTo>
                    <a:pt x="63783" y="109161"/>
                    <a:pt x="71351" y="115354"/>
                    <a:pt x="74054" y="115354"/>
                  </a:cubicBezTo>
                  <a:cubicBezTo>
                    <a:pt x="76216" y="115354"/>
                    <a:pt x="84864" y="116129"/>
                    <a:pt x="87027" y="115354"/>
                  </a:cubicBezTo>
                  <a:cubicBezTo>
                    <a:pt x="89189" y="113806"/>
                    <a:pt x="90270" y="110709"/>
                    <a:pt x="93513" y="114580"/>
                  </a:cubicBezTo>
                  <a:cubicBezTo>
                    <a:pt x="97297" y="118451"/>
                    <a:pt x="98918" y="120000"/>
                    <a:pt x="101081" y="119225"/>
                  </a:cubicBezTo>
                  <a:cubicBezTo>
                    <a:pt x="102702" y="118451"/>
                    <a:pt x="109729" y="116129"/>
                    <a:pt x="111351" y="116129"/>
                  </a:cubicBezTo>
                  <a:cubicBezTo>
                    <a:pt x="112972" y="116129"/>
                    <a:pt x="115675" y="116903"/>
                    <a:pt x="117297" y="115354"/>
                  </a:cubicBezTo>
                  <a:cubicBezTo>
                    <a:pt x="117837" y="113806"/>
                    <a:pt x="118918" y="111483"/>
                    <a:pt x="120000" y="109935"/>
                  </a:cubicBezTo>
                  <a:cubicBezTo>
                    <a:pt x="120000" y="109935"/>
                    <a:pt x="120000" y="109161"/>
                    <a:pt x="120000" y="109161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4" name="Shape 6908">
              <a:extLst>
                <a:ext uri="{FF2B5EF4-FFF2-40B4-BE49-F238E27FC236}">
                  <a16:creationId xmlns:a16="http://schemas.microsoft.com/office/drawing/2014/main" id="{4AD9BD98-36F4-4E87-993D-376DE01E9216}"/>
                </a:ext>
              </a:extLst>
            </p:cNvPr>
            <p:cNvSpPr/>
            <p:nvPr/>
          </p:nvSpPr>
          <p:spPr>
            <a:xfrm>
              <a:off x="2937763" y="4059689"/>
              <a:ext cx="686881" cy="53657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53258" y="113728"/>
                  </a:moveTo>
                  <a:cubicBezTo>
                    <a:pt x="53595" y="112055"/>
                    <a:pt x="54606" y="111219"/>
                    <a:pt x="55617" y="109965"/>
                  </a:cubicBezTo>
                  <a:cubicBezTo>
                    <a:pt x="56292" y="109547"/>
                    <a:pt x="56292" y="109547"/>
                    <a:pt x="56292" y="109547"/>
                  </a:cubicBezTo>
                  <a:cubicBezTo>
                    <a:pt x="56966" y="108710"/>
                    <a:pt x="56966" y="108292"/>
                    <a:pt x="56629" y="107456"/>
                  </a:cubicBezTo>
                  <a:cubicBezTo>
                    <a:pt x="56629" y="107038"/>
                    <a:pt x="56629" y="106620"/>
                    <a:pt x="56629" y="105783"/>
                  </a:cubicBezTo>
                  <a:cubicBezTo>
                    <a:pt x="56629" y="104529"/>
                    <a:pt x="57977" y="103693"/>
                    <a:pt x="59325" y="102857"/>
                  </a:cubicBezTo>
                  <a:cubicBezTo>
                    <a:pt x="60000" y="102857"/>
                    <a:pt x="60674" y="102439"/>
                    <a:pt x="60674" y="102439"/>
                  </a:cubicBezTo>
                  <a:cubicBezTo>
                    <a:pt x="61011" y="101602"/>
                    <a:pt x="62022" y="97421"/>
                    <a:pt x="61685" y="96167"/>
                  </a:cubicBezTo>
                  <a:cubicBezTo>
                    <a:pt x="61685" y="95331"/>
                    <a:pt x="61348" y="94076"/>
                    <a:pt x="67415" y="86968"/>
                  </a:cubicBezTo>
                  <a:cubicBezTo>
                    <a:pt x="67415" y="86968"/>
                    <a:pt x="67415" y="86968"/>
                    <a:pt x="67415" y="86968"/>
                  </a:cubicBezTo>
                  <a:cubicBezTo>
                    <a:pt x="67752" y="86550"/>
                    <a:pt x="68764" y="86132"/>
                    <a:pt x="70112" y="85714"/>
                  </a:cubicBezTo>
                  <a:cubicBezTo>
                    <a:pt x="70786" y="85714"/>
                    <a:pt x="71797" y="85296"/>
                    <a:pt x="72471" y="84878"/>
                  </a:cubicBezTo>
                  <a:cubicBezTo>
                    <a:pt x="73820" y="84459"/>
                    <a:pt x="73820" y="81951"/>
                    <a:pt x="73820" y="80696"/>
                  </a:cubicBezTo>
                  <a:cubicBezTo>
                    <a:pt x="73820" y="80278"/>
                    <a:pt x="73146" y="79442"/>
                    <a:pt x="71123" y="78606"/>
                  </a:cubicBezTo>
                  <a:cubicBezTo>
                    <a:pt x="69775" y="77770"/>
                    <a:pt x="69438" y="76097"/>
                    <a:pt x="69438" y="74843"/>
                  </a:cubicBezTo>
                  <a:cubicBezTo>
                    <a:pt x="69101" y="74425"/>
                    <a:pt x="69101" y="74425"/>
                    <a:pt x="69101" y="74006"/>
                  </a:cubicBezTo>
                  <a:cubicBezTo>
                    <a:pt x="69101" y="73588"/>
                    <a:pt x="67415" y="71916"/>
                    <a:pt x="65056" y="70662"/>
                  </a:cubicBezTo>
                  <a:cubicBezTo>
                    <a:pt x="63370" y="69407"/>
                    <a:pt x="63370" y="67317"/>
                    <a:pt x="63370" y="66480"/>
                  </a:cubicBezTo>
                  <a:cubicBezTo>
                    <a:pt x="63370" y="65644"/>
                    <a:pt x="63707" y="64390"/>
                    <a:pt x="67415" y="63135"/>
                  </a:cubicBezTo>
                  <a:cubicBezTo>
                    <a:pt x="67415" y="62299"/>
                    <a:pt x="67078" y="60627"/>
                    <a:pt x="66741" y="60209"/>
                  </a:cubicBezTo>
                  <a:cubicBezTo>
                    <a:pt x="66404" y="58954"/>
                    <a:pt x="66404" y="58118"/>
                    <a:pt x="66404" y="57700"/>
                  </a:cubicBezTo>
                  <a:cubicBezTo>
                    <a:pt x="66404" y="55191"/>
                    <a:pt x="66404" y="53937"/>
                    <a:pt x="66404" y="53101"/>
                  </a:cubicBezTo>
                  <a:cubicBezTo>
                    <a:pt x="66741" y="52682"/>
                    <a:pt x="67415" y="51846"/>
                    <a:pt x="68764" y="50174"/>
                  </a:cubicBezTo>
                  <a:cubicBezTo>
                    <a:pt x="68764" y="49756"/>
                    <a:pt x="69101" y="49756"/>
                    <a:pt x="69101" y="49756"/>
                  </a:cubicBezTo>
                  <a:cubicBezTo>
                    <a:pt x="69438" y="49337"/>
                    <a:pt x="69775" y="48501"/>
                    <a:pt x="70112" y="47665"/>
                  </a:cubicBezTo>
                  <a:cubicBezTo>
                    <a:pt x="70786" y="46829"/>
                    <a:pt x="71460" y="45574"/>
                    <a:pt x="71797" y="44738"/>
                  </a:cubicBezTo>
                  <a:cubicBezTo>
                    <a:pt x="73146" y="43066"/>
                    <a:pt x="74831" y="42648"/>
                    <a:pt x="75505" y="42229"/>
                  </a:cubicBezTo>
                  <a:cubicBezTo>
                    <a:pt x="76516" y="41811"/>
                    <a:pt x="78202" y="44320"/>
                    <a:pt x="79213" y="45993"/>
                  </a:cubicBezTo>
                  <a:cubicBezTo>
                    <a:pt x="79887" y="47247"/>
                    <a:pt x="78876" y="48919"/>
                    <a:pt x="77865" y="50592"/>
                  </a:cubicBezTo>
                  <a:cubicBezTo>
                    <a:pt x="77865" y="50592"/>
                    <a:pt x="77865" y="50592"/>
                    <a:pt x="77865" y="50592"/>
                  </a:cubicBezTo>
                  <a:cubicBezTo>
                    <a:pt x="77528" y="51010"/>
                    <a:pt x="77528" y="51428"/>
                    <a:pt x="77528" y="51846"/>
                  </a:cubicBezTo>
                  <a:cubicBezTo>
                    <a:pt x="77528" y="52264"/>
                    <a:pt x="77865" y="52682"/>
                    <a:pt x="77865" y="52682"/>
                  </a:cubicBezTo>
                  <a:cubicBezTo>
                    <a:pt x="77865" y="53101"/>
                    <a:pt x="79213" y="53519"/>
                    <a:pt x="79550" y="53937"/>
                  </a:cubicBezTo>
                  <a:cubicBezTo>
                    <a:pt x="79887" y="53937"/>
                    <a:pt x="79887" y="53937"/>
                    <a:pt x="79887" y="53937"/>
                  </a:cubicBezTo>
                  <a:cubicBezTo>
                    <a:pt x="80224" y="53937"/>
                    <a:pt x="81573" y="54355"/>
                    <a:pt x="82921" y="54773"/>
                  </a:cubicBezTo>
                  <a:cubicBezTo>
                    <a:pt x="85280" y="55609"/>
                    <a:pt x="86629" y="56027"/>
                    <a:pt x="86966" y="56445"/>
                  </a:cubicBezTo>
                  <a:cubicBezTo>
                    <a:pt x="87640" y="56445"/>
                    <a:pt x="88314" y="57282"/>
                    <a:pt x="88988" y="57700"/>
                  </a:cubicBezTo>
                  <a:cubicBezTo>
                    <a:pt x="89662" y="58536"/>
                    <a:pt x="90337" y="58954"/>
                    <a:pt x="90674" y="59372"/>
                  </a:cubicBezTo>
                  <a:cubicBezTo>
                    <a:pt x="91011" y="59372"/>
                    <a:pt x="92696" y="59372"/>
                    <a:pt x="93370" y="59372"/>
                  </a:cubicBezTo>
                  <a:cubicBezTo>
                    <a:pt x="93707" y="59372"/>
                    <a:pt x="94044" y="58954"/>
                    <a:pt x="94382" y="58954"/>
                  </a:cubicBezTo>
                  <a:cubicBezTo>
                    <a:pt x="94382" y="58954"/>
                    <a:pt x="94719" y="58536"/>
                    <a:pt x="95056" y="58118"/>
                  </a:cubicBezTo>
                  <a:cubicBezTo>
                    <a:pt x="95393" y="57700"/>
                    <a:pt x="95730" y="57282"/>
                    <a:pt x="96067" y="56864"/>
                  </a:cubicBezTo>
                  <a:cubicBezTo>
                    <a:pt x="97415" y="55609"/>
                    <a:pt x="101797" y="59790"/>
                    <a:pt x="101797" y="59790"/>
                  </a:cubicBezTo>
                  <a:cubicBezTo>
                    <a:pt x="102471" y="60209"/>
                    <a:pt x="104494" y="60209"/>
                    <a:pt x="105842" y="60209"/>
                  </a:cubicBezTo>
                  <a:cubicBezTo>
                    <a:pt x="106179" y="60209"/>
                    <a:pt x="106853" y="60209"/>
                    <a:pt x="107191" y="60209"/>
                  </a:cubicBezTo>
                  <a:cubicBezTo>
                    <a:pt x="108876" y="60209"/>
                    <a:pt x="111910" y="58954"/>
                    <a:pt x="112247" y="58954"/>
                  </a:cubicBezTo>
                  <a:cubicBezTo>
                    <a:pt x="112584" y="58118"/>
                    <a:pt x="114943" y="56027"/>
                    <a:pt x="116966" y="53937"/>
                  </a:cubicBezTo>
                  <a:cubicBezTo>
                    <a:pt x="117640" y="53101"/>
                    <a:pt x="117640" y="53101"/>
                    <a:pt x="117640" y="53101"/>
                  </a:cubicBezTo>
                  <a:cubicBezTo>
                    <a:pt x="117977" y="52682"/>
                    <a:pt x="118988" y="51428"/>
                    <a:pt x="120000" y="50174"/>
                  </a:cubicBezTo>
                  <a:cubicBezTo>
                    <a:pt x="119662" y="49756"/>
                    <a:pt x="119662" y="49337"/>
                    <a:pt x="119662" y="49337"/>
                  </a:cubicBezTo>
                  <a:cubicBezTo>
                    <a:pt x="119325" y="49337"/>
                    <a:pt x="118988" y="49337"/>
                    <a:pt x="118988" y="49337"/>
                  </a:cubicBezTo>
                  <a:cubicBezTo>
                    <a:pt x="118651" y="49756"/>
                    <a:pt x="117977" y="49756"/>
                    <a:pt x="117640" y="49756"/>
                  </a:cubicBezTo>
                  <a:cubicBezTo>
                    <a:pt x="116966" y="49756"/>
                    <a:pt x="115617" y="48919"/>
                    <a:pt x="113595" y="46411"/>
                  </a:cubicBezTo>
                  <a:cubicBezTo>
                    <a:pt x="112584" y="46829"/>
                    <a:pt x="110561" y="46829"/>
                    <a:pt x="109887" y="46411"/>
                  </a:cubicBezTo>
                  <a:cubicBezTo>
                    <a:pt x="109213" y="45993"/>
                    <a:pt x="108539" y="44738"/>
                    <a:pt x="107865" y="43902"/>
                  </a:cubicBezTo>
                  <a:cubicBezTo>
                    <a:pt x="107528" y="43484"/>
                    <a:pt x="106516" y="43066"/>
                    <a:pt x="105842" y="42648"/>
                  </a:cubicBezTo>
                  <a:cubicBezTo>
                    <a:pt x="105505" y="42648"/>
                    <a:pt x="104831" y="42229"/>
                    <a:pt x="104494" y="41811"/>
                  </a:cubicBezTo>
                  <a:cubicBezTo>
                    <a:pt x="104494" y="41811"/>
                    <a:pt x="103820" y="41393"/>
                    <a:pt x="103483" y="41393"/>
                  </a:cubicBezTo>
                  <a:cubicBezTo>
                    <a:pt x="102808" y="40975"/>
                    <a:pt x="102134" y="40557"/>
                    <a:pt x="101460" y="39721"/>
                  </a:cubicBezTo>
                  <a:cubicBezTo>
                    <a:pt x="100786" y="38885"/>
                    <a:pt x="100786" y="36376"/>
                    <a:pt x="101123" y="34703"/>
                  </a:cubicBezTo>
                  <a:cubicBezTo>
                    <a:pt x="101123" y="34285"/>
                    <a:pt x="101123" y="34285"/>
                    <a:pt x="101123" y="34285"/>
                  </a:cubicBezTo>
                  <a:cubicBezTo>
                    <a:pt x="100786" y="33867"/>
                    <a:pt x="99101" y="33449"/>
                    <a:pt x="98426" y="33449"/>
                  </a:cubicBezTo>
                  <a:cubicBezTo>
                    <a:pt x="97752" y="33031"/>
                    <a:pt x="97415" y="33031"/>
                    <a:pt x="97078" y="33031"/>
                  </a:cubicBezTo>
                  <a:cubicBezTo>
                    <a:pt x="95393" y="32613"/>
                    <a:pt x="95393" y="29686"/>
                    <a:pt x="95730" y="27595"/>
                  </a:cubicBezTo>
                  <a:cubicBezTo>
                    <a:pt x="95730" y="27595"/>
                    <a:pt x="95730" y="27177"/>
                    <a:pt x="95730" y="26759"/>
                  </a:cubicBezTo>
                  <a:cubicBezTo>
                    <a:pt x="95730" y="26341"/>
                    <a:pt x="95056" y="25087"/>
                    <a:pt x="93707" y="23414"/>
                  </a:cubicBezTo>
                  <a:cubicBezTo>
                    <a:pt x="93707" y="22996"/>
                    <a:pt x="93370" y="22996"/>
                    <a:pt x="93370" y="22578"/>
                  </a:cubicBezTo>
                  <a:cubicBezTo>
                    <a:pt x="93033" y="22160"/>
                    <a:pt x="92696" y="21324"/>
                    <a:pt x="92359" y="20487"/>
                  </a:cubicBezTo>
                  <a:cubicBezTo>
                    <a:pt x="91685" y="19233"/>
                    <a:pt x="91011" y="17142"/>
                    <a:pt x="90337" y="16306"/>
                  </a:cubicBezTo>
                  <a:cubicBezTo>
                    <a:pt x="90000" y="15888"/>
                    <a:pt x="89662" y="15052"/>
                    <a:pt x="89325" y="14634"/>
                  </a:cubicBezTo>
                  <a:cubicBezTo>
                    <a:pt x="89325" y="14216"/>
                    <a:pt x="88988" y="13797"/>
                    <a:pt x="88651" y="13379"/>
                  </a:cubicBezTo>
                  <a:cubicBezTo>
                    <a:pt x="87640" y="12961"/>
                    <a:pt x="86966" y="12125"/>
                    <a:pt x="86629" y="11707"/>
                  </a:cubicBezTo>
                  <a:cubicBezTo>
                    <a:pt x="85955" y="10871"/>
                    <a:pt x="85617" y="10452"/>
                    <a:pt x="85280" y="10034"/>
                  </a:cubicBezTo>
                  <a:cubicBezTo>
                    <a:pt x="84269" y="9616"/>
                    <a:pt x="81573" y="8780"/>
                    <a:pt x="80561" y="9198"/>
                  </a:cubicBezTo>
                  <a:cubicBezTo>
                    <a:pt x="79213" y="9616"/>
                    <a:pt x="77191" y="7526"/>
                    <a:pt x="76516" y="6689"/>
                  </a:cubicBezTo>
                  <a:cubicBezTo>
                    <a:pt x="75842" y="5853"/>
                    <a:pt x="74494" y="5017"/>
                    <a:pt x="73483" y="3763"/>
                  </a:cubicBezTo>
                  <a:cubicBezTo>
                    <a:pt x="72808" y="3344"/>
                    <a:pt x="72808" y="3344"/>
                    <a:pt x="72808" y="3344"/>
                  </a:cubicBezTo>
                  <a:cubicBezTo>
                    <a:pt x="72471" y="2926"/>
                    <a:pt x="72134" y="2926"/>
                    <a:pt x="71797" y="2508"/>
                  </a:cubicBezTo>
                  <a:cubicBezTo>
                    <a:pt x="71123" y="1672"/>
                    <a:pt x="70112" y="1254"/>
                    <a:pt x="69775" y="418"/>
                  </a:cubicBezTo>
                  <a:cubicBezTo>
                    <a:pt x="69438" y="0"/>
                    <a:pt x="68426" y="0"/>
                    <a:pt x="67415" y="418"/>
                  </a:cubicBezTo>
                  <a:cubicBezTo>
                    <a:pt x="67078" y="418"/>
                    <a:pt x="66404" y="418"/>
                    <a:pt x="66067" y="418"/>
                  </a:cubicBezTo>
                  <a:cubicBezTo>
                    <a:pt x="66067" y="836"/>
                    <a:pt x="65730" y="2090"/>
                    <a:pt x="65730" y="2926"/>
                  </a:cubicBezTo>
                  <a:cubicBezTo>
                    <a:pt x="65730" y="4181"/>
                    <a:pt x="65393" y="5435"/>
                    <a:pt x="65056" y="6271"/>
                  </a:cubicBezTo>
                  <a:cubicBezTo>
                    <a:pt x="64719" y="7108"/>
                    <a:pt x="63707" y="7526"/>
                    <a:pt x="62696" y="7944"/>
                  </a:cubicBezTo>
                  <a:cubicBezTo>
                    <a:pt x="62022" y="7944"/>
                    <a:pt x="61348" y="8362"/>
                    <a:pt x="61011" y="8780"/>
                  </a:cubicBezTo>
                  <a:cubicBezTo>
                    <a:pt x="59662" y="9616"/>
                    <a:pt x="58314" y="10034"/>
                    <a:pt x="57303" y="10034"/>
                  </a:cubicBezTo>
                  <a:cubicBezTo>
                    <a:pt x="56966" y="10034"/>
                    <a:pt x="56966" y="10034"/>
                    <a:pt x="56966" y="10034"/>
                  </a:cubicBezTo>
                  <a:cubicBezTo>
                    <a:pt x="56629" y="10452"/>
                    <a:pt x="55955" y="11289"/>
                    <a:pt x="55280" y="11707"/>
                  </a:cubicBezTo>
                  <a:cubicBezTo>
                    <a:pt x="54943" y="12125"/>
                    <a:pt x="54606" y="12543"/>
                    <a:pt x="54606" y="12961"/>
                  </a:cubicBezTo>
                  <a:cubicBezTo>
                    <a:pt x="53932" y="13379"/>
                    <a:pt x="52584" y="13379"/>
                    <a:pt x="48539" y="12961"/>
                  </a:cubicBezTo>
                  <a:cubicBezTo>
                    <a:pt x="47865" y="12961"/>
                    <a:pt x="47191" y="12543"/>
                    <a:pt x="46853" y="12543"/>
                  </a:cubicBezTo>
                  <a:cubicBezTo>
                    <a:pt x="46516" y="12543"/>
                    <a:pt x="46179" y="13379"/>
                    <a:pt x="45842" y="13797"/>
                  </a:cubicBezTo>
                  <a:cubicBezTo>
                    <a:pt x="45505" y="14634"/>
                    <a:pt x="45168" y="15052"/>
                    <a:pt x="44494" y="15470"/>
                  </a:cubicBezTo>
                  <a:cubicBezTo>
                    <a:pt x="43483" y="16306"/>
                    <a:pt x="41797" y="15470"/>
                    <a:pt x="39775" y="14634"/>
                  </a:cubicBezTo>
                  <a:cubicBezTo>
                    <a:pt x="39438" y="14634"/>
                    <a:pt x="39101" y="14216"/>
                    <a:pt x="38764" y="14216"/>
                  </a:cubicBezTo>
                  <a:cubicBezTo>
                    <a:pt x="38426" y="14216"/>
                    <a:pt x="37752" y="14634"/>
                    <a:pt x="37415" y="14634"/>
                  </a:cubicBezTo>
                  <a:cubicBezTo>
                    <a:pt x="37078" y="15052"/>
                    <a:pt x="37078" y="15052"/>
                    <a:pt x="36741" y="15052"/>
                  </a:cubicBezTo>
                  <a:cubicBezTo>
                    <a:pt x="36741" y="15470"/>
                    <a:pt x="36067" y="17142"/>
                    <a:pt x="35730" y="17979"/>
                  </a:cubicBezTo>
                  <a:cubicBezTo>
                    <a:pt x="35393" y="18815"/>
                    <a:pt x="35056" y="20069"/>
                    <a:pt x="34719" y="20487"/>
                  </a:cubicBezTo>
                  <a:cubicBezTo>
                    <a:pt x="33707" y="22578"/>
                    <a:pt x="28651" y="21324"/>
                    <a:pt x="27640" y="20905"/>
                  </a:cubicBezTo>
                  <a:cubicBezTo>
                    <a:pt x="26966" y="20487"/>
                    <a:pt x="25617" y="19651"/>
                    <a:pt x="24269" y="18815"/>
                  </a:cubicBezTo>
                  <a:cubicBezTo>
                    <a:pt x="24269" y="18815"/>
                    <a:pt x="24606" y="19233"/>
                    <a:pt x="24269" y="19233"/>
                  </a:cubicBezTo>
                  <a:cubicBezTo>
                    <a:pt x="24269" y="20069"/>
                    <a:pt x="24269" y="20487"/>
                    <a:pt x="23932" y="21324"/>
                  </a:cubicBezTo>
                  <a:cubicBezTo>
                    <a:pt x="23932" y="22160"/>
                    <a:pt x="23595" y="22578"/>
                    <a:pt x="23595" y="22996"/>
                  </a:cubicBezTo>
                  <a:cubicBezTo>
                    <a:pt x="23595" y="23414"/>
                    <a:pt x="23932" y="24250"/>
                    <a:pt x="23932" y="25087"/>
                  </a:cubicBezTo>
                  <a:cubicBezTo>
                    <a:pt x="24269" y="25923"/>
                    <a:pt x="24606" y="26759"/>
                    <a:pt x="24606" y="27595"/>
                  </a:cubicBezTo>
                  <a:cubicBezTo>
                    <a:pt x="24606" y="28013"/>
                    <a:pt x="24606" y="28013"/>
                    <a:pt x="24606" y="28432"/>
                  </a:cubicBezTo>
                  <a:cubicBezTo>
                    <a:pt x="24943" y="30104"/>
                    <a:pt x="25280" y="33031"/>
                    <a:pt x="23595" y="34285"/>
                  </a:cubicBezTo>
                  <a:cubicBezTo>
                    <a:pt x="20561" y="36794"/>
                    <a:pt x="18539" y="37630"/>
                    <a:pt x="17528" y="37212"/>
                  </a:cubicBezTo>
                  <a:cubicBezTo>
                    <a:pt x="17191" y="36794"/>
                    <a:pt x="17191" y="36794"/>
                    <a:pt x="17191" y="36794"/>
                  </a:cubicBezTo>
                  <a:cubicBezTo>
                    <a:pt x="16853" y="36794"/>
                    <a:pt x="15505" y="35958"/>
                    <a:pt x="15168" y="35958"/>
                  </a:cubicBezTo>
                  <a:cubicBezTo>
                    <a:pt x="15168" y="36376"/>
                    <a:pt x="15168" y="36376"/>
                    <a:pt x="14831" y="36794"/>
                  </a:cubicBezTo>
                  <a:cubicBezTo>
                    <a:pt x="14157" y="38048"/>
                    <a:pt x="13146" y="39303"/>
                    <a:pt x="12134" y="38885"/>
                  </a:cubicBezTo>
                  <a:cubicBezTo>
                    <a:pt x="11797" y="38885"/>
                    <a:pt x="11460" y="38885"/>
                    <a:pt x="11123" y="38885"/>
                  </a:cubicBezTo>
                  <a:cubicBezTo>
                    <a:pt x="10786" y="38466"/>
                    <a:pt x="10112" y="38048"/>
                    <a:pt x="9775" y="38466"/>
                  </a:cubicBezTo>
                  <a:cubicBezTo>
                    <a:pt x="9101" y="38885"/>
                    <a:pt x="6404" y="41811"/>
                    <a:pt x="5730" y="42648"/>
                  </a:cubicBezTo>
                  <a:cubicBezTo>
                    <a:pt x="7078" y="47665"/>
                    <a:pt x="7078" y="48919"/>
                    <a:pt x="6404" y="49337"/>
                  </a:cubicBezTo>
                  <a:cubicBezTo>
                    <a:pt x="6067" y="49337"/>
                    <a:pt x="6067" y="49756"/>
                    <a:pt x="5730" y="49756"/>
                  </a:cubicBezTo>
                  <a:cubicBezTo>
                    <a:pt x="5056" y="50174"/>
                    <a:pt x="5056" y="50592"/>
                    <a:pt x="5056" y="50592"/>
                  </a:cubicBezTo>
                  <a:cubicBezTo>
                    <a:pt x="5056" y="51428"/>
                    <a:pt x="5056" y="51428"/>
                    <a:pt x="5056" y="51428"/>
                  </a:cubicBezTo>
                  <a:cubicBezTo>
                    <a:pt x="5730" y="55191"/>
                    <a:pt x="6067" y="56445"/>
                    <a:pt x="5393" y="57282"/>
                  </a:cubicBezTo>
                  <a:cubicBezTo>
                    <a:pt x="5056" y="57282"/>
                    <a:pt x="5056" y="57282"/>
                    <a:pt x="4719" y="57700"/>
                  </a:cubicBezTo>
                  <a:cubicBezTo>
                    <a:pt x="4044" y="58118"/>
                    <a:pt x="2696" y="58954"/>
                    <a:pt x="2696" y="59372"/>
                  </a:cubicBezTo>
                  <a:cubicBezTo>
                    <a:pt x="2359" y="59372"/>
                    <a:pt x="2359" y="59790"/>
                    <a:pt x="2022" y="60627"/>
                  </a:cubicBezTo>
                  <a:cubicBezTo>
                    <a:pt x="1348" y="61463"/>
                    <a:pt x="0" y="64390"/>
                    <a:pt x="0" y="64808"/>
                  </a:cubicBezTo>
                  <a:cubicBezTo>
                    <a:pt x="337" y="65644"/>
                    <a:pt x="1685" y="68153"/>
                    <a:pt x="2022" y="68989"/>
                  </a:cubicBezTo>
                  <a:cubicBezTo>
                    <a:pt x="2359" y="69407"/>
                    <a:pt x="2696" y="69825"/>
                    <a:pt x="2696" y="69825"/>
                  </a:cubicBezTo>
                  <a:cubicBezTo>
                    <a:pt x="3033" y="70243"/>
                    <a:pt x="3033" y="70662"/>
                    <a:pt x="3033" y="70662"/>
                  </a:cubicBezTo>
                  <a:cubicBezTo>
                    <a:pt x="3370" y="71080"/>
                    <a:pt x="3370" y="71498"/>
                    <a:pt x="3707" y="71916"/>
                  </a:cubicBezTo>
                  <a:cubicBezTo>
                    <a:pt x="4044" y="72334"/>
                    <a:pt x="4382" y="72334"/>
                    <a:pt x="4719" y="72334"/>
                  </a:cubicBezTo>
                  <a:cubicBezTo>
                    <a:pt x="6067" y="72752"/>
                    <a:pt x="7752" y="73588"/>
                    <a:pt x="7415" y="75261"/>
                  </a:cubicBezTo>
                  <a:cubicBezTo>
                    <a:pt x="7415" y="75261"/>
                    <a:pt x="7415" y="75679"/>
                    <a:pt x="7078" y="76097"/>
                  </a:cubicBezTo>
                  <a:cubicBezTo>
                    <a:pt x="7078" y="76933"/>
                    <a:pt x="6741" y="79442"/>
                    <a:pt x="6741" y="80278"/>
                  </a:cubicBezTo>
                  <a:cubicBezTo>
                    <a:pt x="7078" y="80278"/>
                    <a:pt x="7415" y="80278"/>
                    <a:pt x="7752" y="80278"/>
                  </a:cubicBezTo>
                  <a:cubicBezTo>
                    <a:pt x="8426" y="80278"/>
                    <a:pt x="9438" y="80278"/>
                    <a:pt x="10112" y="81114"/>
                  </a:cubicBezTo>
                  <a:cubicBezTo>
                    <a:pt x="10449" y="81951"/>
                    <a:pt x="12471" y="83623"/>
                    <a:pt x="13483" y="83623"/>
                  </a:cubicBezTo>
                  <a:cubicBezTo>
                    <a:pt x="13820" y="83623"/>
                    <a:pt x="14157" y="83623"/>
                    <a:pt x="14494" y="83623"/>
                  </a:cubicBezTo>
                  <a:cubicBezTo>
                    <a:pt x="15168" y="83205"/>
                    <a:pt x="16516" y="83205"/>
                    <a:pt x="17191" y="84459"/>
                  </a:cubicBezTo>
                  <a:cubicBezTo>
                    <a:pt x="17191" y="84878"/>
                    <a:pt x="17528" y="85296"/>
                    <a:pt x="17528" y="85714"/>
                  </a:cubicBezTo>
                  <a:cubicBezTo>
                    <a:pt x="17865" y="86550"/>
                    <a:pt x="17865" y="87804"/>
                    <a:pt x="18539" y="87804"/>
                  </a:cubicBezTo>
                  <a:cubicBezTo>
                    <a:pt x="18539" y="87804"/>
                    <a:pt x="18876" y="87804"/>
                    <a:pt x="19213" y="87804"/>
                  </a:cubicBezTo>
                  <a:cubicBezTo>
                    <a:pt x="20224" y="87804"/>
                    <a:pt x="21235" y="88222"/>
                    <a:pt x="21573" y="89059"/>
                  </a:cubicBezTo>
                  <a:cubicBezTo>
                    <a:pt x="21910" y="89059"/>
                    <a:pt x="21910" y="89895"/>
                    <a:pt x="21910" y="90313"/>
                  </a:cubicBezTo>
                  <a:cubicBezTo>
                    <a:pt x="21910" y="91149"/>
                    <a:pt x="21910" y="91149"/>
                    <a:pt x="21910" y="91149"/>
                  </a:cubicBezTo>
                  <a:cubicBezTo>
                    <a:pt x="21573" y="91986"/>
                    <a:pt x="21235" y="94076"/>
                    <a:pt x="21573" y="94494"/>
                  </a:cubicBezTo>
                  <a:cubicBezTo>
                    <a:pt x="21573" y="94494"/>
                    <a:pt x="31011" y="100766"/>
                    <a:pt x="31011" y="103275"/>
                  </a:cubicBezTo>
                  <a:cubicBezTo>
                    <a:pt x="31685" y="111637"/>
                    <a:pt x="31685" y="111637"/>
                    <a:pt x="31685" y="111637"/>
                  </a:cubicBezTo>
                  <a:cubicBezTo>
                    <a:pt x="32022" y="111637"/>
                    <a:pt x="32359" y="111219"/>
                    <a:pt x="32696" y="111219"/>
                  </a:cubicBezTo>
                  <a:cubicBezTo>
                    <a:pt x="35056" y="111219"/>
                    <a:pt x="38764" y="114564"/>
                    <a:pt x="40449" y="114564"/>
                  </a:cubicBezTo>
                  <a:cubicBezTo>
                    <a:pt x="42134" y="114982"/>
                    <a:pt x="45842" y="114146"/>
                    <a:pt x="46516" y="115400"/>
                  </a:cubicBezTo>
                  <a:cubicBezTo>
                    <a:pt x="47191" y="116236"/>
                    <a:pt x="48876" y="118745"/>
                    <a:pt x="49550" y="119581"/>
                  </a:cubicBezTo>
                  <a:cubicBezTo>
                    <a:pt x="50224" y="120000"/>
                    <a:pt x="51235" y="120000"/>
                    <a:pt x="52247" y="120000"/>
                  </a:cubicBezTo>
                  <a:cubicBezTo>
                    <a:pt x="52247" y="118327"/>
                    <a:pt x="52584" y="115400"/>
                    <a:pt x="53258" y="113728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5" name="Shape 6909">
              <a:extLst>
                <a:ext uri="{FF2B5EF4-FFF2-40B4-BE49-F238E27FC236}">
                  <a16:creationId xmlns:a16="http://schemas.microsoft.com/office/drawing/2014/main" id="{FDC55808-2259-48F1-88A5-3675F8C3CAAD}"/>
                </a:ext>
              </a:extLst>
            </p:cNvPr>
            <p:cNvSpPr/>
            <p:nvPr/>
          </p:nvSpPr>
          <p:spPr>
            <a:xfrm>
              <a:off x="7488352" y="3767608"/>
              <a:ext cx="52095" cy="5225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84444" y="0"/>
                  </a:moveTo>
                  <a:cubicBezTo>
                    <a:pt x="75555" y="0"/>
                    <a:pt x="53333" y="0"/>
                    <a:pt x="44444" y="8571"/>
                  </a:cubicBezTo>
                  <a:cubicBezTo>
                    <a:pt x="31111" y="12857"/>
                    <a:pt x="17777" y="21428"/>
                    <a:pt x="17777" y="34285"/>
                  </a:cubicBezTo>
                  <a:cubicBezTo>
                    <a:pt x="17777" y="42857"/>
                    <a:pt x="0" y="119999"/>
                    <a:pt x="13333" y="111428"/>
                  </a:cubicBezTo>
                  <a:cubicBezTo>
                    <a:pt x="26666" y="107142"/>
                    <a:pt x="44444" y="77142"/>
                    <a:pt x="53333" y="89999"/>
                  </a:cubicBezTo>
                  <a:cubicBezTo>
                    <a:pt x="62222" y="102857"/>
                    <a:pt x="66666" y="115714"/>
                    <a:pt x="80000" y="111428"/>
                  </a:cubicBezTo>
                  <a:cubicBezTo>
                    <a:pt x="93333" y="102857"/>
                    <a:pt x="102222" y="98571"/>
                    <a:pt x="106666" y="77142"/>
                  </a:cubicBezTo>
                  <a:cubicBezTo>
                    <a:pt x="111111" y="55714"/>
                    <a:pt x="120000" y="42857"/>
                    <a:pt x="111111" y="34285"/>
                  </a:cubicBezTo>
                  <a:cubicBezTo>
                    <a:pt x="106666" y="25714"/>
                    <a:pt x="97777" y="4285"/>
                    <a:pt x="84444" y="0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6" name="Shape 6910">
              <a:extLst>
                <a:ext uri="{FF2B5EF4-FFF2-40B4-BE49-F238E27FC236}">
                  <a16:creationId xmlns:a16="http://schemas.microsoft.com/office/drawing/2014/main" id="{73906CF1-9349-412F-89A4-DAE69F75D747}"/>
                </a:ext>
              </a:extLst>
            </p:cNvPr>
            <p:cNvSpPr/>
            <p:nvPr/>
          </p:nvSpPr>
          <p:spPr>
            <a:xfrm>
              <a:off x="8830279" y="4244457"/>
              <a:ext cx="25084" cy="5598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83076" y="4000"/>
                  </a:moveTo>
                  <a:cubicBezTo>
                    <a:pt x="64615" y="8000"/>
                    <a:pt x="0" y="8000"/>
                    <a:pt x="0" y="28000"/>
                  </a:cubicBezTo>
                  <a:cubicBezTo>
                    <a:pt x="0" y="44000"/>
                    <a:pt x="9230" y="72000"/>
                    <a:pt x="9230" y="88000"/>
                  </a:cubicBezTo>
                  <a:cubicBezTo>
                    <a:pt x="9230" y="104000"/>
                    <a:pt x="27692" y="120000"/>
                    <a:pt x="46153" y="116000"/>
                  </a:cubicBezTo>
                  <a:cubicBezTo>
                    <a:pt x="64615" y="112000"/>
                    <a:pt x="64615" y="100000"/>
                    <a:pt x="83076" y="84000"/>
                  </a:cubicBezTo>
                  <a:cubicBezTo>
                    <a:pt x="101538" y="68000"/>
                    <a:pt x="120000" y="52000"/>
                    <a:pt x="120000" y="44000"/>
                  </a:cubicBezTo>
                  <a:cubicBezTo>
                    <a:pt x="120000" y="32000"/>
                    <a:pt x="120000" y="0"/>
                    <a:pt x="83076" y="4000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7" name="Shape 6911">
              <a:extLst>
                <a:ext uri="{FF2B5EF4-FFF2-40B4-BE49-F238E27FC236}">
                  <a16:creationId xmlns:a16="http://schemas.microsoft.com/office/drawing/2014/main" id="{51E61F2C-738C-4761-9CDB-127CA5B54C23}"/>
                </a:ext>
              </a:extLst>
            </p:cNvPr>
            <p:cNvSpPr/>
            <p:nvPr/>
          </p:nvSpPr>
          <p:spPr>
            <a:xfrm>
              <a:off x="8905527" y="4261253"/>
              <a:ext cx="27013" cy="22396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2857" y="10000"/>
                  </a:moveTo>
                  <a:cubicBezTo>
                    <a:pt x="77142" y="10000"/>
                    <a:pt x="25714" y="0"/>
                    <a:pt x="25714" y="0"/>
                  </a:cubicBezTo>
                  <a:cubicBezTo>
                    <a:pt x="17142" y="0"/>
                    <a:pt x="0" y="20000"/>
                    <a:pt x="17142" y="50000"/>
                  </a:cubicBezTo>
                  <a:cubicBezTo>
                    <a:pt x="34285" y="80000"/>
                    <a:pt x="85714" y="120000"/>
                    <a:pt x="94285" y="90000"/>
                  </a:cubicBezTo>
                  <a:cubicBezTo>
                    <a:pt x="102857" y="60000"/>
                    <a:pt x="119999" y="20000"/>
                    <a:pt x="102857" y="10000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8" name="Shape 6912">
              <a:extLst>
                <a:ext uri="{FF2B5EF4-FFF2-40B4-BE49-F238E27FC236}">
                  <a16:creationId xmlns:a16="http://schemas.microsoft.com/office/drawing/2014/main" id="{4347F2C8-9302-4ECD-9CF0-026E14E01827}"/>
                </a:ext>
              </a:extLst>
            </p:cNvPr>
            <p:cNvSpPr/>
            <p:nvPr/>
          </p:nvSpPr>
          <p:spPr>
            <a:xfrm>
              <a:off x="8853432" y="4080218"/>
              <a:ext cx="36659" cy="100782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1052" y="6666"/>
                  </a:moveTo>
                  <a:cubicBezTo>
                    <a:pt x="82105" y="4444"/>
                    <a:pt x="44210" y="0"/>
                    <a:pt x="31578" y="8888"/>
                  </a:cubicBezTo>
                  <a:cubicBezTo>
                    <a:pt x="18947" y="15555"/>
                    <a:pt x="0" y="22222"/>
                    <a:pt x="12631" y="31111"/>
                  </a:cubicBezTo>
                  <a:cubicBezTo>
                    <a:pt x="31578" y="40000"/>
                    <a:pt x="44210" y="42222"/>
                    <a:pt x="37894" y="48888"/>
                  </a:cubicBezTo>
                  <a:cubicBezTo>
                    <a:pt x="31578" y="57777"/>
                    <a:pt x="25263" y="64444"/>
                    <a:pt x="25263" y="71111"/>
                  </a:cubicBezTo>
                  <a:cubicBezTo>
                    <a:pt x="25263" y="77777"/>
                    <a:pt x="25263" y="100000"/>
                    <a:pt x="31578" y="104444"/>
                  </a:cubicBezTo>
                  <a:cubicBezTo>
                    <a:pt x="37894" y="111111"/>
                    <a:pt x="63157" y="120000"/>
                    <a:pt x="69473" y="113333"/>
                  </a:cubicBezTo>
                  <a:cubicBezTo>
                    <a:pt x="82105" y="106666"/>
                    <a:pt x="82105" y="104444"/>
                    <a:pt x="82105" y="93333"/>
                  </a:cubicBezTo>
                  <a:cubicBezTo>
                    <a:pt x="82105" y="84444"/>
                    <a:pt x="56842" y="53333"/>
                    <a:pt x="69473" y="48888"/>
                  </a:cubicBezTo>
                  <a:cubicBezTo>
                    <a:pt x="88421" y="44444"/>
                    <a:pt x="107368" y="37777"/>
                    <a:pt x="107368" y="31111"/>
                  </a:cubicBezTo>
                  <a:cubicBezTo>
                    <a:pt x="113684" y="24444"/>
                    <a:pt x="120000" y="8888"/>
                    <a:pt x="101052" y="6666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9" name="Shape 6913">
              <a:extLst>
                <a:ext uri="{FF2B5EF4-FFF2-40B4-BE49-F238E27FC236}">
                  <a16:creationId xmlns:a16="http://schemas.microsoft.com/office/drawing/2014/main" id="{62722B2E-4D3E-42B8-BBD9-909F74A7A300}"/>
                </a:ext>
              </a:extLst>
            </p:cNvPr>
            <p:cNvSpPr/>
            <p:nvPr/>
          </p:nvSpPr>
          <p:spPr>
            <a:xfrm>
              <a:off x="8888163" y="3959839"/>
              <a:ext cx="30871" cy="8025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97500" y="111627"/>
                  </a:moveTo>
                  <a:cubicBezTo>
                    <a:pt x="105000" y="106046"/>
                    <a:pt x="120000" y="103255"/>
                    <a:pt x="105000" y="92093"/>
                  </a:cubicBezTo>
                  <a:cubicBezTo>
                    <a:pt x="90000" y="78139"/>
                    <a:pt x="82500" y="64186"/>
                    <a:pt x="82500" y="53023"/>
                  </a:cubicBezTo>
                  <a:cubicBezTo>
                    <a:pt x="82500" y="41860"/>
                    <a:pt x="90000" y="11162"/>
                    <a:pt x="90000" y="11162"/>
                  </a:cubicBezTo>
                  <a:cubicBezTo>
                    <a:pt x="90000" y="2790"/>
                    <a:pt x="52500" y="0"/>
                    <a:pt x="37500" y="5581"/>
                  </a:cubicBezTo>
                  <a:cubicBezTo>
                    <a:pt x="22500" y="11162"/>
                    <a:pt x="0" y="22325"/>
                    <a:pt x="0" y="30697"/>
                  </a:cubicBezTo>
                  <a:cubicBezTo>
                    <a:pt x="7500" y="39069"/>
                    <a:pt x="22500" y="53023"/>
                    <a:pt x="22500" y="61395"/>
                  </a:cubicBezTo>
                  <a:cubicBezTo>
                    <a:pt x="30000" y="69767"/>
                    <a:pt x="22500" y="86511"/>
                    <a:pt x="22500" y="89302"/>
                  </a:cubicBezTo>
                  <a:cubicBezTo>
                    <a:pt x="15000" y="94883"/>
                    <a:pt x="0" y="108837"/>
                    <a:pt x="15000" y="114418"/>
                  </a:cubicBezTo>
                  <a:cubicBezTo>
                    <a:pt x="30000" y="120000"/>
                    <a:pt x="82500" y="120000"/>
                    <a:pt x="97500" y="111627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0" name="Shape 6914">
              <a:extLst>
                <a:ext uri="{FF2B5EF4-FFF2-40B4-BE49-F238E27FC236}">
                  <a16:creationId xmlns:a16="http://schemas.microsoft.com/office/drawing/2014/main" id="{8B1268F5-4B51-4AEF-A26E-64101ADD690E}"/>
                </a:ext>
              </a:extLst>
            </p:cNvPr>
            <p:cNvSpPr/>
            <p:nvPr/>
          </p:nvSpPr>
          <p:spPr>
            <a:xfrm>
              <a:off x="8915175" y="3894519"/>
              <a:ext cx="13506" cy="3359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51428" y="106666"/>
                  </a:moveTo>
                  <a:cubicBezTo>
                    <a:pt x="85714" y="93333"/>
                    <a:pt x="119999" y="40000"/>
                    <a:pt x="119999" y="40000"/>
                  </a:cubicBezTo>
                  <a:cubicBezTo>
                    <a:pt x="102857" y="26666"/>
                    <a:pt x="0" y="0"/>
                    <a:pt x="0" y="26666"/>
                  </a:cubicBezTo>
                  <a:cubicBezTo>
                    <a:pt x="0" y="60000"/>
                    <a:pt x="0" y="120000"/>
                    <a:pt x="51428" y="106666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1" name="Shape 6915">
              <a:extLst>
                <a:ext uri="{FF2B5EF4-FFF2-40B4-BE49-F238E27FC236}">
                  <a16:creationId xmlns:a16="http://schemas.microsoft.com/office/drawing/2014/main" id="{DB60880D-344B-4031-9755-C2D1ADF88FCF}"/>
                </a:ext>
              </a:extLst>
            </p:cNvPr>
            <p:cNvSpPr/>
            <p:nvPr/>
          </p:nvSpPr>
          <p:spPr>
            <a:xfrm>
              <a:off x="8920962" y="3806800"/>
              <a:ext cx="15435" cy="2799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5000" y="24000"/>
                  </a:moveTo>
                  <a:cubicBezTo>
                    <a:pt x="0" y="56000"/>
                    <a:pt x="15000" y="120000"/>
                    <a:pt x="45000" y="96000"/>
                  </a:cubicBezTo>
                  <a:cubicBezTo>
                    <a:pt x="90000" y="80000"/>
                    <a:pt x="120000" y="24000"/>
                    <a:pt x="105000" y="16000"/>
                  </a:cubicBezTo>
                  <a:cubicBezTo>
                    <a:pt x="90000" y="0"/>
                    <a:pt x="15000" y="0"/>
                    <a:pt x="15000" y="24000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2" name="Shape 6916">
              <a:extLst>
                <a:ext uri="{FF2B5EF4-FFF2-40B4-BE49-F238E27FC236}">
                  <a16:creationId xmlns:a16="http://schemas.microsoft.com/office/drawing/2014/main" id="{FEEDB7EA-8FF8-4258-84CA-64FE47EEA24B}"/>
                </a:ext>
              </a:extLst>
            </p:cNvPr>
            <p:cNvSpPr/>
            <p:nvPr/>
          </p:nvSpPr>
          <p:spPr>
            <a:xfrm>
              <a:off x="8920962" y="3689222"/>
              <a:ext cx="28943" cy="6158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000" y="105454"/>
                  </a:moveTo>
                  <a:cubicBezTo>
                    <a:pt x="112000" y="90909"/>
                    <a:pt x="72000" y="40000"/>
                    <a:pt x="72000" y="40000"/>
                  </a:cubicBezTo>
                  <a:cubicBezTo>
                    <a:pt x="72000" y="25454"/>
                    <a:pt x="24000" y="0"/>
                    <a:pt x="24000" y="25454"/>
                  </a:cubicBezTo>
                  <a:cubicBezTo>
                    <a:pt x="24000" y="47272"/>
                    <a:pt x="0" y="98181"/>
                    <a:pt x="48000" y="105454"/>
                  </a:cubicBezTo>
                  <a:cubicBezTo>
                    <a:pt x="88000" y="112727"/>
                    <a:pt x="120000" y="120000"/>
                    <a:pt x="112000" y="105454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3" name="Shape 6917">
              <a:extLst>
                <a:ext uri="{FF2B5EF4-FFF2-40B4-BE49-F238E27FC236}">
                  <a16:creationId xmlns:a16="http://schemas.microsoft.com/office/drawing/2014/main" id="{F4A31769-AD2F-48D2-A82F-956FC33F1599}"/>
                </a:ext>
              </a:extLst>
            </p:cNvPr>
            <p:cNvSpPr/>
            <p:nvPr/>
          </p:nvSpPr>
          <p:spPr>
            <a:xfrm>
              <a:off x="8882373" y="3453131"/>
              <a:ext cx="13506" cy="3172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34285" y="98823"/>
                  </a:moveTo>
                  <a:cubicBezTo>
                    <a:pt x="68571" y="84705"/>
                    <a:pt x="102857" y="56470"/>
                    <a:pt x="119999" y="42352"/>
                  </a:cubicBezTo>
                  <a:cubicBezTo>
                    <a:pt x="119999" y="28235"/>
                    <a:pt x="85714" y="7058"/>
                    <a:pt x="85714" y="7058"/>
                  </a:cubicBezTo>
                  <a:cubicBezTo>
                    <a:pt x="68571" y="0"/>
                    <a:pt x="0" y="0"/>
                    <a:pt x="0" y="35294"/>
                  </a:cubicBezTo>
                  <a:cubicBezTo>
                    <a:pt x="0" y="70588"/>
                    <a:pt x="0" y="120000"/>
                    <a:pt x="34285" y="98823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4" name="Shape 6918">
              <a:extLst>
                <a:ext uri="{FF2B5EF4-FFF2-40B4-BE49-F238E27FC236}">
                  <a16:creationId xmlns:a16="http://schemas.microsoft.com/office/drawing/2014/main" id="{913CFBD0-0370-43CC-9146-AEBC5FF4AB1B}"/>
                </a:ext>
              </a:extLst>
            </p:cNvPr>
            <p:cNvSpPr/>
            <p:nvPr/>
          </p:nvSpPr>
          <p:spPr>
            <a:xfrm>
              <a:off x="8828350" y="3359814"/>
              <a:ext cx="23153" cy="2613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90000" y="102857"/>
                  </a:moveTo>
                  <a:cubicBezTo>
                    <a:pt x="110000" y="85714"/>
                    <a:pt x="120000" y="94285"/>
                    <a:pt x="110000" y="68571"/>
                  </a:cubicBezTo>
                  <a:cubicBezTo>
                    <a:pt x="110000" y="51428"/>
                    <a:pt x="70000" y="34285"/>
                    <a:pt x="70000" y="34285"/>
                  </a:cubicBezTo>
                  <a:cubicBezTo>
                    <a:pt x="50000" y="17142"/>
                    <a:pt x="10000" y="0"/>
                    <a:pt x="10000" y="34285"/>
                  </a:cubicBezTo>
                  <a:cubicBezTo>
                    <a:pt x="10000" y="68571"/>
                    <a:pt x="0" y="77142"/>
                    <a:pt x="20000" y="94285"/>
                  </a:cubicBezTo>
                  <a:cubicBezTo>
                    <a:pt x="40000" y="111428"/>
                    <a:pt x="70000" y="119999"/>
                    <a:pt x="90000" y="102857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5" name="Shape 6919">
              <a:extLst>
                <a:ext uri="{FF2B5EF4-FFF2-40B4-BE49-F238E27FC236}">
                  <a16:creationId xmlns:a16="http://schemas.microsoft.com/office/drawing/2014/main" id="{E4A68F52-F23A-49A9-B95D-C7CFA398D439}"/>
                </a:ext>
              </a:extLst>
            </p:cNvPr>
            <p:cNvSpPr/>
            <p:nvPr/>
          </p:nvSpPr>
          <p:spPr>
            <a:xfrm>
              <a:off x="8758889" y="3181579"/>
              <a:ext cx="59812" cy="12037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4516" y="50625"/>
                  </a:moveTo>
                  <a:cubicBezTo>
                    <a:pt x="96774" y="46875"/>
                    <a:pt x="81290" y="43125"/>
                    <a:pt x="73548" y="39375"/>
                  </a:cubicBezTo>
                  <a:cubicBezTo>
                    <a:pt x="65806" y="37500"/>
                    <a:pt x="65806" y="30000"/>
                    <a:pt x="65806" y="28125"/>
                  </a:cubicBezTo>
                  <a:cubicBezTo>
                    <a:pt x="61935" y="22500"/>
                    <a:pt x="65806" y="16875"/>
                    <a:pt x="61935" y="11250"/>
                  </a:cubicBezTo>
                  <a:cubicBezTo>
                    <a:pt x="54193" y="5625"/>
                    <a:pt x="38709" y="0"/>
                    <a:pt x="38709" y="5625"/>
                  </a:cubicBezTo>
                  <a:cubicBezTo>
                    <a:pt x="34838" y="11250"/>
                    <a:pt x="34838" y="13125"/>
                    <a:pt x="23225" y="18750"/>
                  </a:cubicBezTo>
                  <a:cubicBezTo>
                    <a:pt x="15483" y="24375"/>
                    <a:pt x="0" y="26250"/>
                    <a:pt x="7741" y="31875"/>
                  </a:cubicBezTo>
                  <a:cubicBezTo>
                    <a:pt x="19354" y="35625"/>
                    <a:pt x="50322" y="52500"/>
                    <a:pt x="50322" y="58125"/>
                  </a:cubicBezTo>
                  <a:cubicBezTo>
                    <a:pt x="50322" y="63750"/>
                    <a:pt x="46451" y="82500"/>
                    <a:pt x="46451" y="88125"/>
                  </a:cubicBezTo>
                  <a:cubicBezTo>
                    <a:pt x="46451" y="95625"/>
                    <a:pt x="38709" y="106875"/>
                    <a:pt x="46451" y="112500"/>
                  </a:cubicBezTo>
                  <a:cubicBezTo>
                    <a:pt x="50322" y="116250"/>
                    <a:pt x="61935" y="120000"/>
                    <a:pt x="73548" y="118125"/>
                  </a:cubicBezTo>
                  <a:cubicBezTo>
                    <a:pt x="85161" y="116250"/>
                    <a:pt x="96774" y="114375"/>
                    <a:pt x="96774" y="108750"/>
                  </a:cubicBezTo>
                  <a:cubicBezTo>
                    <a:pt x="96774" y="105000"/>
                    <a:pt x="89032" y="86250"/>
                    <a:pt x="100645" y="84375"/>
                  </a:cubicBezTo>
                  <a:cubicBezTo>
                    <a:pt x="108387" y="80625"/>
                    <a:pt x="120000" y="75000"/>
                    <a:pt x="116129" y="71250"/>
                  </a:cubicBezTo>
                  <a:cubicBezTo>
                    <a:pt x="112258" y="65625"/>
                    <a:pt x="116129" y="52500"/>
                    <a:pt x="104516" y="50625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6" name="Shape 6920">
              <a:extLst>
                <a:ext uri="{FF2B5EF4-FFF2-40B4-BE49-F238E27FC236}">
                  <a16:creationId xmlns:a16="http://schemas.microsoft.com/office/drawing/2014/main" id="{31A3E5C4-BC6C-467C-8532-9B1634491884}"/>
                </a:ext>
              </a:extLst>
            </p:cNvPr>
            <p:cNvSpPr/>
            <p:nvPr/>
          </p:nvSpPr>
          <p:spPr>
            <a:xfrm>
              <a:off x="8783971" y="2272673"/>
              <a:ext cx="36659" cy="3546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50526" y="94736"/>
                  </a:moveTo>
                  <a:cubicBezTo>
                    <a:pt x="75789" y="69473"/>
                    <a:pt x="120000" y="0"/>
                    <a:pt x="88421" y="0"/>
                  </a:cubicBezTo>
                  <a:cubicBezTo>
                    <a:pt x="44210" y="0"/>
                    <a:pt x="0" y="18947"/>
                    <a:pt x="0" y="50526"/>
                  </a:cubicBezTo>
                  <a:cubicBezTo>
                    <a:pt x="0" y="88421"/>
                    <a:pt x="25263" y="120000"/>
                    <a:pt x="50526" y="94736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7" name="Shape 6921">
              <a:extLst>
                <a:ext uri="{FF2B5EF4-FFF2-40B4-BE49-F238E27FC236}">
                  <a16:creationId xmlns:a16="http://schemas.microsoft.com/office/drawing/2014/main" id="{5F78BD55-8D21-4271-AFE1-AA7073E0DEEA}"/>
                </a:ext>
              </a:extLst>
            </p:cNvPr>
            <p:cNvSpPr/>
            <p:nvPr/>
          </p:nvSpPr>
          <p:spPr>
            <a:xfrm>
              <a:off x="8687499" y="2339862"/>
              <a:ext cx="75248" cy="3172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36923" y="105882"/>
                  </a:moveTo>
                  <a:cubicBezTo>
                    <a:pt x="64615" y="105882"/>
                    <a:pt x="92307" y="120000"/>
                    <a:pt x="107692" y="91764"/>
                  </a:cubicBezTo>
                  <a:cubicBezTo>
                    <a:pt x="120000" y="56470"/>
                    <a:pt x="113846" y="7058"/>
                    <a:pt x="113846" y="7058"/>
                  </a:cubicBezTo>
                  <a:cubicBezTo>
                    <a:pt x="86153" y="0"/>
                    <a:pt x="86153" y="0"/>
                    <a:pt x="86153" y="0"/>
                  </a:cubicBezTo>
                  <a:cubicBezTo>
                    <a:pt x="67692" y="28235"/>
                    <a:pt x="58461" y="42352"/>
                    <a:pt x="46153" y="42352"/>
                  </a:cubicBezTo>
                  <a:cubicBezTo>
                    <a:pt x="33846" y="42352"/>
                    <a:pt x="0" y="0"/>
                    <a:pt x="0" y="42352"/>
                  </a:cubicBezTo>
                  <a:cubicBezTo>
                    <a:pt x="0" y="77647"/>
                    <a:pt x="12307" y="105882"/>
                    <a:pt x="36923" y="105882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8" name="Shape 6922">
              <a:extLst>
                <a:ext uri="{FF2B5EF4-FFF2-40B4-BE49-F238E27FC236}">
                  <a16:creationId xmlns:a16="http://schemas.microsoft.com/office/drawing/2014/main" id="{647701F8-377A-4FD5-971B-8629FF541BE2}"/>
                </a:ext>
              </a:extLst>
            </p:cNvPr>
            <p:cNvSpPr/>
            <p:nvPr/>
          </p:nvSpPr>
          <p:spPr>
            <a:xfrm>
              <a:off x="8233116" y="2212950"/>
              <a:ext cx="50164" cy="1063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6153" y="29473"/>
                  </a:moveTo>
                  <a:cubicBezTo>
                    <a:pt x="106153" y="18947"/>
                    <a:pt x="110769" y="6315"/>
                    <a:pt x="92307" y="4210"/>
                  </a:cubicBezTo>
                  <a:cubicBezTo>
                    <a:pt x="69230" y="2105"/>
                    <a:pt x="32307" y="0"/>
                    <a:pt x="27692" y="8421"/>
                  </a:cubicBezTo>
                  <a:cubicBezTo>
                    <a:pt x="23076" y="16842"/>
                    <a:pt x="23076" y="23157"/>
                    <a:pt x="18461" y="31578"/>
                  </a:cubicBezTo>
                  <a:cubicBezTo>
                    <a:pt x="18461" y="40000"/>
                    <a:pt x="0" y="54736"/>
                    <a:pt x="18461" y="63157"/>
                  </a:cubicBezTo>
                  <a:cubicBezTo>
                    <a:pt x="32307" y="71578"/>
                    <a:pt x="50769" y="71578"/>
                    <a:pt x="55384" y="80000"/>
                  </a:cubicBezTo>
                  <a:cubicBezTo>
                    <a:pt x="60000" y="90526"/>
                    <a:pt x="60000" y="103157"/>
                    <a:pt x="69230" y="107368"/>
                  </a:cubicBezTo>
                  <a:cubicBezTo>
                    <a:pt x="78461" y="111578"/>
                    <a:pt x="106153" y="119999"/>
                    <a:pt x="106153" y="115789"/>
                  </a:cubicBezTo>
                  <a:cubicBezTo>
                    <a:pt x="110769" y="111578"/>
                    <a:pt x="120000" y="115789"/>
                    <a:pt x="110769" y="103157"/>
                  </a:cubicBezTo>
                  <a:cubicBezTo>
                    <a:pt x="101538" y="88421"/>
                    <a:pt x="87692" y="77894"/>
                    <a:pt x="87692" y="69473"/>
                  </a:cubicBezTo>
                  <a:cubicBezTo>
                    <a:pt x="92307" y="61052"/>
                    <a:pt x="106153" y="29473"/>
                    <a:pt x="106153" y="29473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9" name="Shape 6923">
              <a:extLst>
                <a:ext uri="{FF2B5EF4-FFF2-40B4-BE49-F238E27FC236}">
                  <a16:creationId xmlns:a16="http://schemas.microsoft.com/office/drawing/2014/main" id="{3F67498A-8F90-4D3B-A480-D6FC78C43659}"/>
                </a:ext>
              </a:extLst>
            </p:cNvPr>
            <p:cNvSpPr/>
            <p:nvPr/>
          </p:nvSpPr>
          <p:spPr>
            <a:xfrm>
              <a:off x="5982423" y="2086040"/>
              <a:ext cx="48235" cy="2613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76800" y="25714"/>
                  </a:moveTo>
                  <a:cubicBezTo>
                    <a:pt x="52800" y="17142"/>
                    <a:pt x="0" y="0"/>
                    <a:pt x="33600" y="42857"/>
                  </a:cubicBezTo>
                  <a:cubicBezTo>
                    <a:pt x="62400" y="77142"/>
                    <a:pt x="81600" y="119999"/>
                    <a:pt x="91200" y="111428"/>
                  </a:cubicBezTo>
                  <a:cubicBezTo>
                    <a:pt x="100800" y="102857"/>
                    <a:pt x="120000" y="85714"/>
                    <a:pt x="110400" y="68571"/>
                  </a:cubicBezTo>
                  <a:cubicBezTo>
                    <a:pt x="105600" y="42857"/>
                    <a:pt x="86400" y="25714"/>
                    <a:pt x="76800" y="25714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0" name="Shape 6924">
              <a:extLst>
                <a:ext uri="{FF2B5EF4-FFF2-40B4-BE49-F238E27FC236}">
                  <a16:creationId xmlns:a16="http://schemas.microsoft.com/office/drawing/2014/main" id="{9D3FB146-09DA-4CBF-AF48-28E760B872E0}"/>
                </a:ext>
              </a:extLst>
            </p:cNvPr>
            <p:cNvSpPr/>
            <p:nvPr/>
          </p:nvSpPr>
          <p:spPr>
            <a:xfrm>
              <a:off x="6171508" y="1967527"/>
              <a:ext cx="115767" cy="10544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" y="102857"/>
                  </a:moveTo>
                  <a:cubicBezTo>
                    <a:pt x="14000" y="111428"/>
                    <a:pt x="20000" y="119999"/>
                    <a:pt x="22000" y="113571"/>
                  </a:cubicBezTo>
                  <a:cubicBezTo>
                    <a:pt x="24000" y="109285"/>
                    <a:pt x="30000" y="92142"/>
                    <a:pt x="38000" y="89999"/>
                  </a:cubicBezTo>
                  <a:cubicBezTo>
                    <a:pt x="46000" y="87857"/>
                    <a:pt x="80000" y="77142"/>
                    <a:pt x="88000" y="72857"/>
                  </a:cubicBezTo>
                  <a:cubicBezTo>
                    <a:pt x="96000" y="66428"/>
                    <a:pt x="120000" y="53571"/>
                    <a:pt x="118000" y="47142"/>
                  </a:cubicBezTo>
                  <a:cubicBezTo>
                    <a:pt x="118000" y="42857"/>
                    <a:pt x="110000" y="14999"/>
                    <a:pt x="104000" y="14999"/>
                  </a:cubicBezTo>
                  <a:cubicBezTo>
                    <a:pt x="98000" y="14999"/>
                    <a:pt x="84000" y="14999"/>
                    <a:pt x="78000" y="14999"/>
                  </a:cubicBezTo>
                  <a:cubicBezTo>
                    <a:pt x="72000" y="12857"/>
                    <a:pt x="62000" y="8571"/>
                    <a:pt x="62000" y="8571"/>
                  </a:cubicBezTo>
                  <a:cubicBezTo>
                    <a:pt x="62000" y="8571"/>
                    <a:pt x="48000" y="0"/>
                    <a:pt x="42000" y="4285"/>
                  </a:cubicBezTo>
                  <a:cubicBezTo>
                    <a:pt x="36000" y="10714"/>
                    <a:pt x="0" y="40714"/>
                    <a:pt x="0" y="47142"/>
                  </a:cubicBezTo>
                  <a:cubicBezTo>
                    <a:pt x="0" y="53571"/>
                    <a:pt x="0" y="62142"/>
                    <a:pt x="4000" y="66428"/>
                  </a:cubicBezTo>
                  <a:cubicBezTo>
                    <a:pt x="8000" y="72857"/>
                    <a:pt x="20000" y="75000"/>
                    <a:pt x="18000" y="79285"/>
                  </a:cubicBezTo>
                  <a:cubicBezTo>
                    <a:pt x="16000" y="85714"/>
                    <a:pt x="12000" y="94285"/>
                    <a:pt x="12000" y="102857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1" name="Shape 6925">
              <a:extLst>
                <a:ext uri="{FF2B5EF4-FFF2-40B4-BE49-F238E27FC236}">
                  <a16:creationId xmlns:a16="http://schemas.microsoft.com/office/drawing/2014/main" id="{11A57A8A-7DE0-4D50-9E4A-D624732FE66E}"/>
                </a:ext>
              </a:extLst>
            </p:cNvPr>
            <p:cNvSpPr/>
            <p:nvPr/>
          </p:nvSpPr>
          <p:spPr>
            <a:xfrm>
              <a:off x="6119413" y="1974994"/>
              <a:ext cx="36659" cy="5039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75789" y="0"/>
                  </a:moveTo>
                  <a:cubicBezTo>
                    <a:pt x="56842" y="4444"/>
                    <a:pt x="0" y="17777"/>
                    <a:pt x="12631" y="35555"/>
                  </a:cubicBezTo>
                  <a:cubicBezTo>
                    <a:pt x="18947" y="57777"/>
                    <a:pt x="63157" y="120000"/>
                    <a:pt x="75789" y="111111"/>
                  </a:cubicBezTo>
                  <a:cubicBezTo>
                    <a:pt x="94736" y="102222"/>
                    <a:pt x="107368" y="84444"/>
                    <a:pt x="113684" y="66666"/>
                  </a:cubicBezTo>
                  <a:cubicBezTo>
                    <a:pt x="113684" y="48888"/>
                    <a:pt x="120000" y="17777"/>
                    <a:pt x="113684" y="8888"/>
                  </a:cubicBezTo>
                  <a:cubicBezTo>
                    <a:pt x="107368" y="0"/>
                    <a:pt x="82105" y="0"/>
                    <a:pt x="75789" y="0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2" name="Shape 6926">
              <a:extLst>
                <a:ext uri="{FF2B5EF4-FFF2-40B4-BE49-F238E27FC236}">
                  <a16:creationId xmlns:a16="http://schemas.microsoft.com/office/drawing/2014/main" id="{0428DFAA-B2E8-42D8-82B9-30BC0509C5E9}"/>
                </a:ext>
              </a:extLst>
            </p:cNvPr>
            <p:cNvSpPr/>
            <p:nvPr/>
          </p:nvSpPr>
          <p:spPr>
            <a:xfrm>
              <a:off x="5872443" y="1930200"/>
              <a:ext cx="38588" cy="466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48000" y="62400"/>
                  </a:moveTo>
                  <a:cubicBezTo>
                    <a:pt x="54000" y="81600"/>
                    <a:pt x="48000" y="105600"/>
                    <a:pt x="72000" y="110400"/>
                  </a:cubicBezTo>
                  <a:cubicBezTo>
                    <a:pt x="90000" y="115200"/>
                    <a:pt x="108000" y="120000"/>
                    <a:pt x="114000" y="100800"/>
                  </a:cubicBezTo>
                  <a:cubicBezTo>
                    <a:pt x="120000" y="81600"/>
                    <a:pt x="108000" y="48000"/>
                    <a:pt x="90000" y="38400"/>
                  </a:cubicBezTo>
                  <a:cubicBezTo>
                    <a:pt x="66000" y="28800"/>
                    <a:pt x="0" y="0"/>
                    <a:pt x="24000" y="19200"/>
                  </a:cubicBezTo>
                  <a:cubicBezTo>
                    <a:pt x="42000" y="38400"/>
                    <a:pt x="42000" y="38400"/>
                    <a:pt x="48000" y="62400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3" name="Shape 6927">
              <a:extLst>
                <a:ext uri="{FF2B5EF4-FFF2-40B4-BE49-F238E27FC236}">
                  <a16:creationId xmlns:a16="http://schemas.microsoft.com/office/drawing/2014/main" id="{C26A6256-1B5C-4EA9-A2E7-0A5FC9B80F85}"/>
                </a:ext>
              </a:extLst>
            </p:cNvPr>
            <p:cNvSpPr/>
            <p:nvPr/>
          </p:nvSpPr>
          <p:spPr>
            <a:xfrm>
              <a:off x="5905244" y="1760365"/>
              <a:ext cx="245039" cy="21836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7559" y="76923"/>
                  </a:moveTo>
                  <a:cubicBezTo>
                    <a:pt x="6614" y="82051"/>
                    <a:pt x="6614" y="86153"/>
                    <a:pt x="9448" y="87179"/>
                  </a:cubicBezTo>
                  <a:cubicBezTo>
                    <a:pt x="12283" y="88205"/>
                    <a:pt x="17007" y="89230"/>
                    <a:pt x="17952" y="92307"/>
                  </a:cubicBezTo>
                  <a:cubicBezTo>
                    <a:pt x="19842" y="94358"/>
                    <a:pt x="21732" y="96410"/>
                    <a:pt x="20787" y="98461"/>
                  </a:cubicBezTo>
                  <a:cubicBezTo>
                    <a:pt x="20787" y="99487"/>
                    <a:pt x="18897" y="106666"/>
                    <a:pt x="21732" y="108717"/>
                  </a:cubicBezTo>
                  <a:cubicBezTo>
                    <a:pt x="25511" y="110769"/>
                    <a:pt x="30236" y="112820"/>
                    <a:pt x="34015" y="112820"/>
                  </a:cubicBezTo>
                  <a:cubicBezTo>
                    <a:pt x="37795" y="112820"/>
                    <a:pt x="42519" y="109743"/>
                    <a:pt x="45354" y="113846"/>
                  </a:cubicBezTo>
                  <a:cubicBezTo>
                    <a:pt x="48188" y="116923"/>
                    <a:pt x="50078" y="117948"/>
                    <a:pt x="52913" y="118974"/>
                  </a:cubicBezTo>
                  <a:cubicBezTo>
                    <a:pt x="56692" y="118974"/>
                    <a:pt x="68031" y="120000"/>
                    <a:pt x="70866" y="115897"/>
                  </a:cubicBezTo>
                  <a:cubicBezTo>
                    <a:pt x="73700" y="112820"/>
                    <a:pt x="76535" y="111794"/>
                    <a:pt x="73700" y="107692"/>
                  </a:cubicBezTo>
                  <a:cubicBezTo>
                    <a:pt x="71811" y="104615"/>
                    <a:pt x="64251" y="96410"/>
                    <a:pt x="68031" y="95384"/>
                  </a:cubicBezTo>
                  <a:cubicBezTo>
                    <a:pt x="71811" y="95384"/>
                    <a:pt x="73700" y="99487"/>
                    <a:pt x="77480" y="96410"/>
                  </a:cubicBezTo>
                  <a:cubicBezTo>
                    <a:pt x="81259" y="93333"/>
                    <a:pt x="83149" y="85128"/>
                    <a:pt x="85984" y="81025"/>
                  </a:cubicBezTo>
                  <a:cubicBezTo>
                    <a:pt x="88818" y="75897"/>
                    <a:pt x="96377" y="66666"/>
                    <a:pt x="99212" y="67692"/>
                  </a:cubicBezTo>
                  <a:cubicBezTo>
                    <a:pt x="102047" y="69743"/>
                    <a:pt x="101102" y="71794"/>
                    <a:pt x="104881" y="69743"/>
                  </a:cubicBezTo>
                  <a:cubicBezTo>
                    <a:pt x="108661" y="67692"/>
                    <a:pt x="117165" y="53333"/>
                    <a:pt x="116220" y="51282"/>
                  </a:cubicBezTo>
                  <a:cubicBezTo>
                    <a:pt x="114330" y="50256"/>
                    <a:pt x="105826" y="46153"/>
                    <a:pt x="104881" y="48205"/>
                  </a:cubicBezTo>
                  <a:cubicBezTo>
                    <a:pt x="103937" y="50256"/>
                    <a:pt x="99212" y="57435"/>
                    <a:pt x="95433" y="55384"/>
                  </a:cubicBezTo>
                  <a:cubicBezTo>
                    <a:pt x="91653" y="54358"/>
                    <a:pt x="69921" y="37948"/>
                    <a:pt x="68976" y="36923"/>
                  </a:cubicBezTo>
                  <a:cubicBezTo>
                    <a:pt x="67086" y="34871"/>
                    <a:pt x="66141" y="29743"/>
                    <a:pt x="67086" y="27692"/>
                  </a:cubicBezTo>
                  <a:cubicBezTo>
                    <a:pt x="68031" y="25641"/>
                    <a:pt x="76535" y="14358"/>
                    <a:pt x="77480" y="17435"/>
                  </a:cubicBezTo>
                  <a:cubicBezTo>
                    <a:pt x="78425" y="20512"/>
                    <a:pt x="80314" y="29743"/>
                    <a:pt x="81259" y="32820"/>
                  </a:cubicBezTo>
                  <a:cubicBezTo>
                    <a:pt x="83149" y="34871"/>
                    <a:pt x="90708" y="42051"/>
                    <a:pt x="94488" y="42051"/>
                  </a:cubicBezTo>
                  <a:cubicBezTo>
                    <a:pt x="97322" y="42051"/>
                    <a:pt x="103937" y="40000"/>
                    <a:pt x="107716" y="40000"/>
                  </a:cubicBezTo>
                  <a:cubicBezTo>
                    <a:pt x="110551" y="40000"/>
                    <a:pt x="113385" y="40000"/>
                    <a:pt x="116220" y="37948"/>
                  </a:cubicBezTo>
                  <a:cubicBezTo>
                    <a:pt x="119055" y="35897"/>
                    <a:pt x="120000" y="33846"/>
                    <a:pt x="119055" y="30769"/>
                  </a:cubicBezTo>
                  <a:cubicBezTo>
                    <a:pt x="118110" y="27692"/>
                    <a:pt x="117165" y="20512"/>
                    <a:pt x="115275" y="20512"/>
                  </a:cubicBezTo>
                  <a:cubicBezTo>
                    <a:pt x="112440" y="19487"/>
                    <a:pt x="107716" y="20512"/>
                    <a:pt x="107716" y="16410"/>
                  </a:cubicBezTo>
                  <a:cubicBezTo>
                    <a:pt x="108661" y="12307"/>
                    <a:pt x="110551" y="0"/>
                    <a:pt x="106771" y="0"/>
                  </a:cubicBezTo>
                  <a:cubicBezTo>
                    <a:pt x="102992" y="0"/>
                    <a:pt x="93543" y="1025"/>
                    <a:pt x="90708" y="1025"/>
                  </a:cubicBezTo>
                  <a:cubicBezTo>
                    <a:pt x="86929" y="1025"/>
                    <a:pt x="83149" y="0"/>
                    <a:pt x="80314" y="3076"/>
                  </a:cubicBezTo>
                  <a:cubicBezTo>
                    <a:pt x="78425" y="6153"/>
                    <a:pt x="70866" y="13333"/>
                    <a:pt x="67086" y="14358"/>
                  </a:cubicBezTo>
                  <a:cubicBezTo>
                    <a:pt x="64251" y="14358"/>
                    <a:pt x="59527" y="9230"/>
                    <a:pt x="56692" y="10256"/>
                  </a:cubicBezTo>
                  <a:cubicBezTo>
                    <a:pt x="53858" y="10256"/>
                    <a:pt x="40629" y="12307"/>
                    <a:pt x="40629" y="16410"/>
                  </a:cubicBezTo>
                  <a:cubicBezTo>
                    <a:pt x="40629" y="21538"/>
                    <a:pt x="41574" y="24615"/>
                    <a:pt x="44409" y="27692"/>
                  </a:cubicBezTo>
                  <a:cubicBezTo>
                    <a:pt x="47244" y="31794"/>
                    <a:pt x="56692" y="42051"/>
                    <a:pt x="54803" y="45128"/>
                  </a:cubicBezTo>
                  <a:cubicBezTo>
                    <a:pt x="52913" y="48205"/>
                    <a:pt x="50078" y="50256"/>
                    <a:pt x="48188" y="47179"/>
                  </a:cubicBezTo>
                  <a:cubicBezTo>
                    <a:pt x="45354" y="44102"/>
                    <a:pt x="42519" y="41025"/>
                    <a:pt x="40629" y="43076"/>
                  </a:cubicBezTo>
                  <a:cubicBezTo>
                    <a:pt x="37795" y="45128"/>
                    <a:pt x="36850" y="46153"/>
                    <a:pt x="34015" y="44102"/>
                  </a:cubicBezTo>
                  <a:cubicBezTo>
                    <a:pt x="32125" y="42051"/>
                    <a:pt x="30236" y="41025"/>
                    <a:pt x="27401" y="41025"/>
                  </a:cubicBezTo>
                  <a:cubicBezTo>
                    <a:pt x="25511" y="41025"/>
                    <a:pt x="20787" y="41025"/>
                    <a:pt x="20787" y="41025"/>
                  </a:cubicBezTo>
                  <a:cubicBezTo>
                    <a:pt x="17952" y="41025"/>
                    <a:pt x="13228" y="40000"/>
                    <a:pt x="11338" y="40000"/>
                  </a:cubicBezTo>
                  <a:cubicBezTo>
                    <a:pt x="9448" y="38974"/>
                    <a:pt x="3779" y="41025"/>
                    <a:pt x="6614" y="45128"/>
                  </a:cubicBezTo>
                  <a:cubicBezTo>
                    <a:pt x="8503" y="49230"/>
                    <a:pt x="12283" y="50256"/>
                    <a:pt x="8503" y="52307"/>
                  </a:cubicBezTo>
                  <a:cubicBezTo>
                    <a:pt x="4724" y="54358"/>
                    <a:pt x="1889" y="57435"/>
                    <a:pt x="1889" y="60512"/>
                  </a:cubicBezTo>
                  <a:cubicBezTo>
                    <a:pt x="1889" y="63589"/>
                    <a:pt x="0" y="66666"/>
                    <a:pt x="1889" y="69743"/>
                  </a:cubicBezTo>
                  <a:cubicBezTo>
                    <a:pt x="4724" y="72820"/>
                    <a:pt x="9448" y="71794"/>
                    <a:pt x="7559" y="76923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4" name="Shape 6928">
              <a:extLst>
                <a:ext uri="{FF2B5EF4-FFF2-40B4-BE49-F238E27FC236}">
                  <a16:creationId xmlns:a16="http://schemas.microsoft.com/office/drawing/2014/main" id="{DD549CDD-878C-4FEF-8339-52AB692A5E0B}"/>
                </a:ext>
              </a:extLst>
            </p:cNvPr>
            <p:cNvSpPr/>
            <p:nvPr/>
          </p:nvSpPr>
          <p:spPr>
            <a:xfrm>
              <a:off x="6150284" y="1668914"/>
              <a:ext cx="162074" cy="10824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8571" y="107586"/>
                  </a:moveTo>
                  <a:cubicBezTo>
                    <a:pt x="22857" y="111724"/>
                    <a:pt x="34285" y="120000"/>
                    <a:pt x="38571" y="117931"/>
                  </a:cubicBezTo>
                  <a:cubicBezTo>
                    <a:pt x="42857" y="113793"/>
                    <a:pt x="45714" y="105517"/>
                    <a:pt x="50000" y="103448"/>
                  </a:cubicBezTo>
                  <a:cubicBezTo>
                    <a:pt x="54285" y="101379"/>
                    <a:pt x="70000" y="103448"/>
                    <a:pt x="75714" y="99310"/>
                  </a:cubicBezTo>
                  <a:cubicBezTo>
                    <a:pt x="81428" y="93103"/>
                    <a:pt x="98571" y="78620"/>
                    <a:pt x="102857" y="76551"/>
                  </a:cubicBezTo>
                  <a:cubicBezTo>
                    <a:pt x="105714" y="72413"/>
                    <a:pt x="107142" y="62068"/>
                    <a:pt x="108571" y="57931"/>
                  </a:cubicBezTo>
                  <a:cubicBezTo>
                    <a:pt x="110000" y="51724"/>
                    <a:pt x="110000" y="39310"/>
                    <a:pt x="111428" y="33103"/>
                  </a:cubicBezTo>
                  <a:cubicBezTo>
                    <a:pt x="114285" y="26896"/>
                    <a:pt x="120000" y="18620"/>
                    <a:pt x="114285" y="12413"/>
                  </a:cubicBezTo>
                  <a:cubicBezTo>
                    <a:pt x="108571" y="4137"/>
                    <a:pt x="101428" y="0"/>
                    <a:pt x="92857" y="6206"/>
                  </a:cubicBezTo>
                  <a:cubicBezTo>
                    <a:pt x="88571" y="10344"/>
                    <a:pt x="80000" y="14482"/>
                    <a:pt x="77142" y="20689"/>
                  </a:cubicBezTo>
                  <a:cubicBezTo>
                    <a:pt x="74285" y="28965"/>
                    <a:pt x="60000" y="51724"/>
                    <a:pt x="57142" y="49655"/>
                  </a:cubicBezTo>
                  <a:cubicBezTo>
                    <a:pt x="52857" y="47586"/>
                    <a:pt x="47142" y="39310"/>
                    <a:pt x="41428" y="45517"/>
                  </a:cubicBezTo>
                  <a:cubicBezTo>
                    <a:pt x="35714" y="51724"/>
                    <a:pt x="25714" y="64137"/>
                    <a:pt x="22857" y="68275"/>
                  </a:cubicBezTo>
                  <a:cubicBezTo>
                    <a:pt x="18571" y="72413"/>
                    <a:pt x="12857" y="72413"/>
                    <a:pt x="10000" y="72413"/>
                  </a:cubicBezTo>
                  <a:cubicBezTo>
                    <a:pt x="7142" y="70344"/>
                    <a:pt x="0" y="68275"/>
                    <a:pt x="2857" y="76551"/>
                  </a:cubicBezTo>
                  <a:cubicBezTo>
                    <a:pt x="7142" y="84827"/>
                    <a:pt x="14285" y="101379"/>
                    <a:pt x="18571" y="107586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5" name="Shape 6929">
              <a:extLst>
                <a:ext uri="{FF2B5EF4-FFF2-40B4-BE49-F238E27FC236}">
                  <a16:creationId xmlns:a16="http://schemas.microsoft.com/office/drawing/2014/main" id="{152B71E8-208F-435B-9AC9-55FF8C874DE5}"/>
                </a:ext>
              </a:extLst>
            </p:cNvPr>
            <p:cNvSpPr/>
            <p:nvPr/>
          </p:nvSpPr>
          <p:spPr>
            <a:xfrm>
              <a:off x="6082754" y="1569065"/>
              <a:ext cx="19293" cy="16796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84000" y="106666"/>
                  </a:moveTo>
                  <a:cubicBezTo>
                    <a:pt x="120000" y="93333"/>
                    <a:pt x="96000" y="26666"/>
                    <a:pt x="96000" y="26666"/>
                  </a:cubicBezTo>
                  <a:cubicBezTo>
                    <a:pt x="72000" y="0"/>
                    <a:pt x="0" y="13333"/>
                    <a:pt x="24000" y="53333"/>
                  </a:cubicBezTo>
                  <a:cubicBezTo>
                    <a:pt x="36000" y="93333"/>
                    <a:pt x="36000" y="120000"/>
                    <a:pt x="84000" y="106666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6" name="Shape 6930">
              <a:extLst>
                <a:ext uri="{FF2B5EF4-FFF2-40B4-BE49-F238E27FC236}">
                  <a16:creationId xmlns:a16="http://schemas.microsoft.com/office/drawing/2014/main" id="{E24565DE-E75D-44FA-AED4-A11195193DF1}"/>
                </a:ext>
              </a:extLst>
            </p:cNvPr>
            <p:cNvSpPr/>
            <p:nvPr/>
          </p:nvSpPr>
          <p:spPr>
            <a:xfrm>
              <a:off x="7177711" y="905584"/>
              <a:ext cx="84896" cy="15117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27272" y="91851"/>
                  </a:moveTo>
                  <a:cubicBezTo>
                    <a:pt x="30000" y="97777"/>
                    <a:pt x="35454" y="109629"/>
                    <a:pt x="46363" y="114074"/>
                  </a:cubicBezTo>
                  <a:cubicBezTo>
                    <a:pt x="57272" y="117037"/>
                    <a:pt x="68181" y="120000"/>
                    <a:pt x="73636" y="115555"/>
                  </a:cubicBezTo>
                  <a:cubicBezTo>
                    <a:pt x="81818" y="112592"/>
                    <a:pt x="114545" y="94814"/>
                    <a:pt x="109090" y="91851"/>
                  </a:cubicBezTo>
                  <a:cubicBezTo>
                    <a:pt x="103636" y="88888"/>
                    <a:pt x="90000" y="84444"/>
                    <a:pt x="95454" y="78518"/>
                  </a:cubicBezTo>
                  <a:cubicBezTo>
                    <a:pt x="100909" y="72592"/>
                    <a:pt x="117272" y="66666"/>
                    <a:pt x="117272" y="62222"/>
                  </a:cubicBezTo>
                  <a:cubicBezTo>
                    <a:pt x="117272" y="57777"/>
                    <a:pt x="111818" y="47407"/>
                    <a:pt x="111818" y="42962"/>
                  </a:cubicBezTo>
                  <a:cubicBezTo>
                    <a:pt x="111818" y="38518"/>
                    <a:pt x="120000" y="19259"/>
                    <a:pt x="111818" y="14814"/>
                  </a:cubicBezTo>
                  <a:cubicBezTo>
                    <a:pt x="106363" y="8888"/>
                    <a:pt x="95454" y="5925"/>
                    <a:pt x="95454" y="5925"/>
                  </a:cubicBezTo>
                  <a:cubicBezTo>
                    <a:pt x="87272" y="2962"/>
                    <a:pt x="76363" y="0"/>
                    <a:pt x="68181" y="2962"/>
                  </a:cubicBezTo>
                  <a:cubicBezTo>
                    <a:pt x="62727" y="5925"/>
                    <a:pt x="57272" y="7407"/>
                    <a:pt x="49090" y="10370"/>
                  </a:cubicBezTo>
                  <a:cubicBezTo>
                    <a:pt x="43636" y="11851"/>
                    <a:pt x="13636" y="22222"/>
                    <a:pt x="10909" y="26666"/>
                  </a:cubicBezTo>
                  <a:cubicBezTo>
                    <a:pt x="8181" y="29629"/>
                    <a:pt x="10909" y="45925"/>
                    <a:pt x="8181" y="48888"/>
                  </a:cubicBezTo>
                  <a:cubicBezTo>
                    <a:pt x="5454" y="51851"/>
                    <a:pt x="0" y="51851"/>
                    <a:pt x="0" y="57777"/>
                  </a:cubicBezTo>
                  <a:cubicBezTo>
                    <a:pt x="0" y="65185"/>
                    <a:pt x="2727" y="74074"/>
                    <a:pt x="10909" y="78518"/>
                  </a:cubicBezTo>
                  <a:cubicBezTo>
                    <a:pt x="16363" y="82962"/>
                    <a:pt x="27272" y="85925"/>
                    <a:pt x="27272" y="91851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7" name="Shape 6931">
              <a:extLst>
                <a:ext uri="{FF2B5EF4-FFF2-40B4-BE49-F238E27FC236}">
                  <a16:creationId xmlns:a16="http://schemas.microsoft.com/office/drawing/2014/main" id="{8F9DE47A-99F4-405E-B1D8-1557CF74555E}"/>
                </a:ext>
              </a:extLst>
            </p:cNvPr>
            <p:cNvSpPr/>
            <p:nvPr/>
          </p:nvSpPr>
          <p:spPr>
            <a:xfrm>
              <a:off x="7816356" y="3615501"/>
              <a:ext cx="709070" cy="75399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5749" y="97965"/>
                  </a:moveTo>
                  <a:cubicBezTo>
                    <a:pt x="114768" y="97369"/>
                    <a:pt x="112152" y="95285"/>
                    <a:pt x="110844" y="96178"/>
                  </a:cubicBezTo>
                  <a:cubicBezTo>
                    <a:pt x="109863" y="97071"/>
                    <a:pt x="108555" y="97667"/>
                    <a:pt x="107574" y="97667"/>
                  </a:cubicBezTo>
                  <a:cubicBezTo>
                    <a:pt x="106594" y="97965"/>
                    <a:pt x="105613" y="98560"/>
                    <a:pt x="104632" y="97369"/>
                  </a:cubicBezTo>
                  <a:cubicBezTo>
                    <a:pt x="103978" y="95880"/>
                    <a:pt x="103651" y="94094"/>
                    <a:pt x="102343" y="94094"/>
                  </a:cubicBezTo>
                  <a:cubicBezTo>
                    <a:pt x="101035" y="94094"/>
                    <a:pt x="100381" y="94392"/>
                    <a:pt x="99400" y="93796"/>
                  </a:cubicBezTo>
                  <a:cubicBezTo>
                    <a:pt x="98419" y="92903"/>
                    <a:pt x="96130" y="91712"/>
                    <a:pt x="94168" y="91712"/>
                  </a:cubicBezTo>
                  <a:cubicBezTo>
                    <a:pt x="92207" y="91712"/>
                    <a:pt x="90245" y="90818"/>
                    <a:pt x="89918" y="90521"/>
                  </a:cubicBezTo>
                  <a:cubicBezTo>
                    <a:pt x="89918" y="90521"/>
                    <a:pt x="85340" y="86650"/>
                    <a:pt x="84359" y="86054"/>
                  </a:cubicBezTo>
                  <a:cubicBezTo>
                    <a:pt x="83705" y="85459"/>
                    <a:pt x="82724" y="83970"/>
                    <a:pt x="81416" y="82779"/>
                  </a:cubicBezTo>
                  <a:cubicBezTo>
                    <a:pt x="80108" y="81885"/>
                    <a:pt x="81416" y="78610"/>
                    <a:pt x="81416" y="77121"/>
                  </a:cubicBezTo>
                  <a:cubicBezTo>
                    <a:pt x="81416" y="75632"/>
                    <a:pt x="75858" y="70272"/>
                    <a:pt x="75204" y="69081"/>
                  </a:cubicBezTo>
                  <a:cubicBezTo>
                    <a:pt x="74550" y="67890"/>
                    <a:pt x="75531" y="66401"/>
                    <a:pt x="75858" y="65210"/>
                  </a:cubicBezTo>
                  <a:cubicBezTo>
                    <a:pt x="76512" y="64019"/>
                    <a:pt x="76185" y="63126"/>
                    <a:pt x="75858" y="61935"/>
                  </a:cubicBezTo>
                  <a:cubicBezTo>
                    <a:pt x="75531" y="60744"/>
                    <a:pt x="77166" y="60744"/>
                    <a:pt x="78147" y="60744"/>
                  </a:cubicBezTo>
                  <a:cubicBezTo>
                    <a:pt x="79455" y="60744"/>
                    <a:pt x="81416" y="59851"/>
                    <a:pt x="82397" y="58957"/>
                  </a:cubicBezTo>
                  <a:cubicBezTo>
                    <a:pt x="83378" y="58064"/>
                    <a:pt x="84686" y="56575"/>
                    <a:pt x="84686" y="55682"/>
                  </a:cubicBezTo>
                  <a:cubicBezTo>
                    <a:pt x="85013" y="54789"/>
                    <a:pt x="80108" y="53598"/>
                    <a:pt x="79128" y="53300"/>
                  </a:cubicBezTo>
                  <a:cubicBezTo>
                    <a:pt x="77820" y="53002"/>
                    <a:pt x="75858" y="50918"/>
                    <a:pt x="73896" y="49727"/>
                  </a:cubicBezTo>
                  <a:cubicBezTo>
                    <a:pt x="71934" y="48833"/>
                    <a:pt x="67356" y="46451"/>
                    <a:pt x="65722" y="45856"/>
                  </a:cubicBezTo>
                  <a:cubicBezTo>
                    <a:pt x="64087" y="45260"/>
                    <a:pt x="61471" y="42282"/>
                    <a:pt x="60490" y="41687"/>
                  </a:cubicBezTo>
                  <a:cubicBezTo>
                    <a:pt x="59509" y="41091"/>
                    <a:pt x="54604" y="38709"/>
                    <a:pt x="53623" y="38114"/>
                  </a:cubicBezTo>
                  <a:cubicBezTo>
                    <a:pt x="52643" y="37816"/>
                    <a:pt x="50027" y="35136"/>
                    <a:pt x="49046" y="34540"/>
                  </a:cubicBezTo>
                  <a:cubicBezTo>
                    <a:pt x="47738" y="33647"/>
                    <a:pt x="40871" y="31861"/>
                    <a:pt x="39891" y="31563"/>
                  </a:cubicBezTo>
                  <a:cubicBezTo>
                    <a:pt x="38910" y="30967"/>
                    <a:pt x="32697" y="25607"/>
                    <a:pt x="32043" y="24416"/>
                  </a:cubicBezTo>
                  <a:cubicBezTo>
                    <a:pt x="31062" y="23523"/>
                    <a:pt x="30735" y="21736"/>
                    <a:pt x="30408" y="20843"/>
                  </a:cubicBezTo>
                  <a:cubicBezTo>
                    <a:pt x="30081" y="19950"/>
                    <a:pt x="28773" y="17270"/>
                    <a:pt x="27792" y="16079"/>
                  </a:cubicBezTo>
                  <a:cubicBezTo>
                    <a:pt x="26811" y="14590"/>
                    <a:pt x="24523" y="15186"/>
                    <a:pt x="23542" y="15186"/>
                  </a:cubicBezTo>
                  <a:cubicBezTo>
                    <a:pt x="22561" y="15186"/>
                    <a:pt x="20272" y="13399"/>
                    <a:pt x="19291" y="12506"/>
                  </a:cubicBezTo>
                  <a:cubicBezTo>
                    <a:pt x="17983" y="11612"/>
                    <a:pt x="17983" y="10421"/>
                    <a:pt x="17329" y="9528"/>
                  </a:cubicBezTo>
                  <a:cubicBezTo>
                    <a:pt x="17002" y="8337"/>
                    <a:pt x="12752" y="8635"/>
                    <a:pt x="11117" y="7741"/>
                  </a:cubicBezTo>
                  <a:cubicBezTo>
                    <a:pt x="9809" y="7146"/>
                    <a:pt x="8828" y="4764"/>
                    <a:pt x="8174" y="4168"/>
                  </a:cubicBezTo>
                  <a:cubicBezTo>
                    <a:pt x="7847" y="3275"/>
                    <a:pt x="6212" y="2382"/>
                    <a:pt x="6212" y="2382"/>
                  </a:cubicBezTo>
                  <a:cubicBezTo>
                    <a:pt x="4577" y="1488"/>
                    <a:pt x="326" y="0"/>
                    <a:pt x="326" y="1191"/>
                  </a:cubicBezTo>
                  <a:cubicBezTo>
                    <a:pt x="326" y="2382"/>
                    <a:pt x="0" y="5955"/>
                    <a:pt x="980" y="5955"/>
                  </a:cubicBezTo>
                  <a:cubicBezTo>
                    <a:pt x="1961" y="5955"/>
                    <a:pt x="2942" y="5955"/>
                    <a:pt x="3923" y="6253"/>
                  </a:cubicBezTo>
                  <a:cubicBezTo>
                    <a:pt x="4577" y="6848"/>
                    <a:pt x="6212" y="7444"/>
                    <a:pt x="7193" y="8039"/>
                  </a:cubicBezTo>
                  <a:cubicBezTo>
                    <a:pt x="8174" y="8635"/>
                    <a:pt x="8828" y="9230"/>
                    <a:pt x="9155" y="10124"/>
                  </a:cubicBezTo>
                  <a:cubicBezTo>
                    <a:pt x="9482" y="11017"/>
                    <a:pt x="10136" y="11315"/>
                    <a:pt x="10790" y="11910"/>
                  </a:cubicBezTo>
                  <a:cubicBezTo>
                    <a:pt x="11117" y="12506"/>
                    <a:pt x="11771" y="13399"/>
                    <a:pt x="11771" y="13995"/>
                  </a:cubicBezTo>
                  <a:cubicBezTo>
                    <a:pt x="11771" y="14590"/>
                    <a:pt x="11771" y="16377"/>
                    <a:pt x="10790" y="16377"/>
                  </a:cubicBezTo>
                  <a:cubicBezTo>
                    <a:pt x="10136" y="16377"/>
                    <a:pt x="6539" y="15483"/>
                    <a:pt x="6539" y="16377"/>
                  </a:cubicBezTo>
                  <a:cubicBezTo>
                    <a:pt x="6539" y="17270"/>
                    <a:pt x="6866" y="17866"/>
                    <a:pt x="6212" y="18759"/>
                  </a:cubicBezTo>
                  <a:cubicBezTo>
                    <a:pt x="5885" y="19652"/>
                    <a:pt x="4577" y="21141"/>
                    <a:pt x="5231" y="21736"/>
                  </a:cubicBezTo>
                  <a:cubicBezTo>
                    <a:pt x="6212" y="22332"/>
                    <a:pt x="10136" y="22928"/>
                    <a:pt x="10463" y="23523"/>
                  </a:cubicBezTo>
                  <a:cubicBezTo>
                    <a:pt x="11117" y="24416"/>
                    <a:pt x="12425" y="27692"/>
                    <a:pt x="13405" y="28287"/>
                  </a:cubicBezTo>
                  <a:cubicBezTo>
                    <a:pt x="14386" y="28883"/>
                    <a:pt x="18637" y="31861"/>
                    <a:pt x="18637" y="33052"/>
                  </a:cubicBezTo>
                  <a:cubicBezTo>
                    <a:pt x="18637" y="33945"/>
                    <a:pt x="17983" y="35136"/>
                    <a:pt x="18637" y="36029"/>
                  </a:cubicBezTo>
                  <a:cubicBezTo>
                    <a:pt x="19291" y="36923"/>
                    <a:pt x="23215" y="41687"/>
                    <a:pt x="24196" y="41985"/>
                  </a:cubicBezTo>
                  <a:cubicBezTo>
                    <a:pt x="24850" y="42282"/>
                    <a:pt x="27792" y="42282"/>
                    <a:pt x="28773" y="43176"/>
                  </a:cubicBezTo>
                  <a:cubicBezTo>
                    <a:pt x="29754" y="43771"/>
                    <a:pt x="39564" y="46451"/>
                    <a:pt x="40871" y="48535"/>
                  </a:cubicBezTo>
                  <a:cubicBezTo>
                    <a:pt x="41852" y="50322"/>
                    <a:pt x="46757" y="55682"/>
                    <a:pt x="47738" y="56873"/>
                  </a:cubicBezTo>
                  <a:cubicBezTo>
                    <a:pt x="48392" y="58362"/>
                    <a:pt x="58201" y="66104"/>
                    <a:pt x="59509" y="68188"/>
                  </a:cubicBezTo>
                  <a:cubicBezTo>
                    <a:pt x="60817" y="69975"/>
                    <a:pt x="66049" y="76228"/>
                    <a:pt x="66702" y="77121"/>
                  </a:cubicBezTo>
                  <a:cubicBezTo>
                    <a:pt x="67029" y="78312"/>
                    <a:pt x="68991" y="82481"/>
                    <a:pt x="70626" y="83076"/>
                  </a:cubicBezTo>
                  <a:cubicBezTo>
                    <a:pt x="72261" y="83672"/>
                    <a:pt x="76839" y="85459"/>
                    <a:pt x="78147" y="86650"/>
                  </a:cubicBezTo>
                  <a:cubicBezTo>
                    <a:pt x="79455" y="87841"/>
                    <a:pt x="81743" y="89330"/>
                    <a:pt x="82397" y="90818"/>
                  </a:cubicBezTo>
                  <a:cubicBezTo>
                    <a:pt x="83051" y="92307"/>
                    <a:pt x="84032" y="93796"/>
                    <a:pt x="84686" y="94689"/>
                  </a:cubicBezTo>
                  <a:cubicBezTo>
                    <a:pt x="85340" y="95583"/>
                    <a:pt x="87629" y="98263"/>
                    <a:pt x="88610" y="99454"/>
                  </a:cubicBezTo>
                  <a:cubicBezTo>
                    <a:pt x="89591" y="100942"/>
                    <a:pt x="93841" y="103622"/>
                    <a:pt x="94168" y="104218"/>
                  </a:cubicBezTo>
                  <a:cubicBezTo>
                    <a:pt x="94822" y="104813"/>
                    <a:pt x="95476" y="105409"/>
                    <a:pt x="95476" y="106004"/>
                  </a:cubicBezTo>
                  <a:cubicBezTo>
                    <a:pt x="95476" y="106898"/>
                    <a:pt x="94822" y="108982"/>
                    <a:pt x="96130" y="109875"/>
                  </a:cubicBezTo>
                  <a:cubicBezTo>
                    <a:pt x="97438" y="110769"/>
                    <a:pt x="103978" y="116426"/>
                    <a:pt x="104959" y="117617"/>
                  </a:cubicBezTo>
                  <a:cubicBezTo>
                    <a:pt x="105613" y="119106"/>
                    <a:pt x="105940" y="120000"/>
                    <a:pt x="107247" y="119702"/>
                  </a:cubicBezTo>
                  <a:cubicBezTo>
                    <a:pt x="108882" y="119702"/>
                    <a:pt x="109863" y="118511"/>
                    <a:pt x="109863" y="117915"/>
                  </a:cubicBezTo>
                  <a:cubicBezTo>
                    <a:pt x="109863" y="117320"/>
                    <a:pt x="108882" y="112853"/>
                    <a:pt x="107247" y="112258"/>
                  </a:cubicBezTo>
                  <a:cubicBezTo>
                    <a:pt x="105940" y="111364"/>
                    <a:pt x="104632" y="109578"/>
                    <a:pt x="104632" y="108982"/>
                  </a:cubicBezTo>
                  <a:cubicBezTo>
                    <a:pt x="104632" y="108089"/>
                    <a:pt x="104632" y="106004"/>
                    <a:pt x="104959" y="105111"/>
                  </a:cubicBezTo>
                  <a:cubicBezTo>
                    <a:pt x="104959" y="103920"/>
                    <a:pt x="104632" y="103325"/>
                    <a:pt x="105940" y="103325"/>
                  </a:cubicBezTo>
                  <a:cubicBezTo>
                    <a:pt x="107247" y="103325"/>
                    <a:pt x="110190" y="103622"/>
                    <a:pt x="110844" y="103027"/>
                  </a:cubicBezTo>
                  <a:cubicBezTo>
                    <a:pt x="111825" y="102729"/>
                    <a:pt x="111825" y="100942"/>
                    <a:pt x="113787" y="101836"/>
                  </a:cubicBezTo>
                  <a:cubicBezTo>
                    <a:pt x="116076" y="102431"/>
                    <a:pt x="119019" y="103325"/>
                    <a:pt x="119346" y="103027"/>
                  </a:cubicBezTo>
                  <a:cubicBezTo>
                    <a:pt x="120000" y="102729"/>
                    <a:pt x="119673" y="102133"/>
                    <a:pt x="119346" y="101240"/>
                  </a:cubicBezTo>
                  <a:cubicBezTo>
                    <a:pt x="118692" y="100347"/>
                    <a:pt x="116403" y="98560"/>
                    <a:pt x="115749" y="97965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8" name="Shape 6932">
              <a:extLst>
                <a:ext uri="{FF2B5EF4-FFF2-40B4-BE49-F238E27FC236}">
                  <a16:creationId xmlns:a16="http://schemas.microsoft.com/office/drawing/2014/main" id="{A4BCAD84-CEB8-4E08-9D3E-63A475648F6E}"/>
                </a:ext>
              </a:extLst>
            </p:cNvPr>
            <p:cNvSpPr/>
            <p:nvPr/>
          </p:nvSpPr>
          <p:spPr>
            <a:xfrm>
              <a:off x="7171923" y="1974994"/>
              <a:ext cx="785282" cy="1055412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78132" y="2553"/>
                  </a:moveTo>
                  <a:cubicBezTo>
                    <a:pt x="78132" y="2127"/>
                    <a:pt x="78132" y="2127"/>
                    <a:pt x="78132" y="2127"/>
                  </a:cubicBezTo>
                  <a:cubicBezTo>
                    <a:pt x="78132" y="2127"/>
                    <a:pt x="78132" y="1914"/>
                    <a:pt x="77837" y="1914"/>
                  </a:cubicBezTo>
                  <a:cubicBezTo>
                    <a:pt x="76953" y="1702"/>
                    <a:pt x="76953" y="638"/>
                    <a:pt x="76953" y="212"/>
                  </a:cubicBezTo>
                  <a:cubicBezTo>
                    <a:pt x="76363" y="0"/>
                    <a:pt x="75479" y="0"/>
                    <a:pt x="74004" y="0"/>
                  </a:cubicBezTo>
                  <a:cubicBezTo>
                    <a:pt x="73710" y="0"/>
                    <a:pt x="73710" y="0"/>
                    <a:pt x="73710" y="0"/>
                  </a:cubicBezTo>
                  <a:cubicBezTo>
                    <a:pt x="73120" y="0"/>
                    <a:pt x="72235" y="212"/>
                    <a:pt x="71941" y="212"/>
                  </a:cubicBezTo>
                  <a:cubicBezTo>
                    <a:pt x="71056" y="851"/>
                    <a:pt x="67223" y="4468"/>
                    <a:pt x="66633" y="5106"/>
                  </a:cubicBezTo>
                  <a:cubicBezTo>
                    <a:pt x="65749" y="5744"/>
                    <a:pt x="64864" y="5744"/>
                    <a:pt x="64275" y="5531"/>
                  </a:cubicBezTo>
                  <a:cubicBezTo>
                    <a:pt x="63390" y="5531"/>
                    <a:pt x="59852" y="5106"/>
                    <a:pt x="58968" y="5319"/>
                  </a:cubicBezTo>
                  <a:cubicBezTo>
                    <a:pt x="58378" y="5319"/>
                    <a:pt x="56609" y="7234"/>
                    <a:pt x="55724" y="8085"/>
                  </a:cubicBezTo>
                  <a:cubicBezTo>
                    <a:pt x="55135" y="8723"/>
                    <a:pt x="54840" y="9148"/>
                    <a:pt x="54545" y="9361"/>
                  </a:cubicBezTo>
                  <a:cubicBezTo>
                    <a:pt x="53660" y="9787"/>
                    <a:pt x="51891" y="9787"/>
                    <a:pt x="50122" y="9787"/>
                  </a:cubicBezTo>
                  <a:cubicBezTo>
                    <a:pt x="49828" y="9787"/>
                    <a:pt x="49533" y="9787"/>
                    <a:pt x="49533" y="9787"/>
                  </a:cubicBezTo>
                  <a:cubicBezTo>
                    <a:pt x="48648" y="9787"/>
                    <a:pt x="46289" y="9361"/>
                    <a:pt x="45405" y="9148"/>
                  </a:cubicBezTo>
                  <a:cubicBezTo>
                    <a:pt x="45405" y="9361"/>
                    <a:pt x="45110" y="9574"/>
                    <a:pt x="45110" y="9787"/>
                  </a:cubicBezTo>
                  <a:cubicBezTo>
                    <a:pt x="44815" y="10000"/>
                    <a:pt x="44815" y="10212"/>
                    <a:pt x="44520" y="10425"/>
                  </a:cubicBezTo>
                  <a:cubicBezTo>
                    <a:pt x="44226" y="11063"/>
                    <a:pt x="43046" y="11276"/>
                    <a:pt x="42162" y="11489"/>
                  </a:cubicBezTo>
                  <a:cubicBezTo>
                    <a:pt x="41867" y="11489"/>
                    <a:pt x="41867" y="11489"/>
                    <a:pt x="41572" y="11489"/>
                  </a:cubicBezTo>
                  <a:cubicBezTo>
                    <a:pt x="40982" y="11702"/>
                    <a:pt x="37739" y="12340"/>
                    <a:pt x="37149" y="12127"/>
                  </a:cubicBezTo>
                  <a:cubicBezTo>
                    <a:pt x="36265" y="12127"/>
                    <a:pt x="35085" y="11702"/>
                    <a:pt x="34496" y="11063"/>
                  </a:cubicBezTo>
                  <a:cubicBezTo>
                    <a:pt x="34201" y="10638"/>
                    <a:pt x="31547" y="8723"/>
                    <a:pt x="30958" y="8297"/>
                  </a:cubicBezTo>
                  <a:cubicBezTo>
                    <a:pt x="30663" y="8085"/>
                    <a:pt x="29484" y="8510"/>
                    <a:pt x="29189" y="8510"/>
                  </a:cubicBezTo>
                  <a:cubicBezTo>
                    <a:pt x="28894" y="8723"/>
                    <a:pt x="28599" y="8936"/>
                    <a:pt x="28304" y="8936"/>
                  </a:cubicBezTo>
                  <a:cubicBezTo>
                    <a:pt x="27714" y="8936"/>
                    <a:pt x="27714" y="8936"/>
                    <a:pt x="27714" y="8936"/>
                  </a:cubicBezTo>
                  <a:cubicBezTo>
                    <a:pt x="27714" y="8936"/>
                    <a:pt x="27714" y="9148"/>
                    <a:pt x="27420" y="9148"/>
                  </a:cubicBezTo>
                  <a:cubicBezTo>
                    <a:pt x="28894" y="10425"/>
                    <a:pt x="30073" y="11702"/>
                    <a:pt x="29484" y="12553"/>
                  </a:cubicBezTo>
                  <a:cubicBezTo>
                    <a:pt x="29189" y="12553"/>
                    <a:pt x="29189" y="12765"/>
                    <a:pt x="28894" y="12978"/>
                  </a:cubicBezTo>
                  <a:cubicBezTo>
                    <a:pt x="28599" y="13404"/>
                    <a:pt x="27714" y="14042"/>
                    <a:pt x="27714" y="14255"/>
                  </a:cubicBezTo>
                  <a:cubicBezTo>
                    <a:pt x="28009" y="14468"/>
                    <a:pt x="28009" y="14680"/>
                    <a:pt x="28304" y="15106"/>
                  </a:cubicBezTo>
                  <a:cubicBezTo>
                    <a:pt x="28894" y="16595"/>
                    <a:pt x="29189" y="17234"/>
                    <a:pt x="28894" y="17659"/>
                  </a:cubicBezTo>
                  <a:cubicBezTo>
                    <a:pt x="28894" y="17872"/>
                    <a:pt x="28009" y="19148"/>
                    <a:pt x="26535" y="19148"/>
                  </a:cubicBezTo>
                  <a:cubicBezTo>
                    <a:pt x="26240" y="19361"/>
                    <a:pt x="25651" y="19361"/>
                    <a:pt x="25061" y="19361"/>
                  </a:cubicBezTo>
                  <a:cubicBezTo>
                    <a:pt x="24176" y="19361"/>
                    <a:pt x="22407" y="19361"/>
                    <a:pt x="21818" y="19361"/>
                  </a:cubicBezTo>
                  <a:cubicBezTo>
                    <a:pt x="21818" y="19574"/>
                    <a:pt x="21818" y="19574"/>
                    <a:pt x="21818" y="19787"/>
                  </a:cubicBezTo>
                  <a:cubicBezTo>
                    <a:pt x="22113" y="20851"/>
                    <a:pt x="22113" y="21914"/>
                    <a:pt x="21818" y="22340"/>
                  </a:cubicBezTo>
                  <a:cubicBezTo>
                    <a:pt x="21228" y="22765"/>
                    <a:pt x="20343" y="22553"/>
                    <a:pt x="19164" y="22340"/>
                  </a:cubicBezTo>
                  <a:cubicBezTo>
                    <a:pt x="18574" y="22340"/>
                    <a:pt x="17690" y="22127"/>
                    <a:pt x="17395" y="22127"/>
                  </a:cubicBezTo>
                  <a:cubicBezTo>
                    <a:pt x="17395" y="22340"/>
                    <a:pt x="17100" y="22340"/>
                    <a:pt x="17100" y="22553"/>
                  </a:cubicBezTo>
                  <a:cubicBezTo>
                    <a:pt x="16805" y="22765"/>
                    <a:pt x="16216" y="23191"/>
                    <a:pt x="16216" y="23191"/>
                  </a:cubicBezTo>
                  <a:cubicBezTo>
                    <a:pt x="16216" y="23617"/>
                    <a:pt x="16216" y="23617"/>
                    <a:pt x="16216" y="23617"/>
                  </a:cubicBezTo>
                  <a:cubicBezTo>
                    <a:pt x="16216" y="24893"/>
                    <a:pt x="15921" y="26170"/>
                    <a:pt x="15036" y="26382"/>
                  </a:cubicBezTo>
                  <a:cubicBezTo>
                    <a:pt x="14152" y="26382"/>
                    <a:pt x="12383" y="27021"/>
                    <a:pt x="12088" y="27234"/>
                  </a:cubicBezTo>
                  <a:cubicBezTo>
                    <a:pt x="12088" y="27446"/>
                    <a:pt x="11793" y="27659"/>
                    <a:pt x="11498" y="27872"/>
                  </a:cubicBezTo>
                  <a:cubicBezTo>
                    <a:pt x="11498" y="28085"/>
                    <a:pt x="10909" y="28723"/>
                    <a:pt x="10909" y="28723"/>
                  </a:cubicBezTo>
                  <a:cubicBezTo>
                    <a:pt x="11498" y="28936"/>
                    <a:pt x="11793" y="28936"/>
                    <a:pt x="12088" y="29148"/>
                  </a:cubicBezTo>
                  <a:cubicBezTo>
                    <a:pt x="13562" y="29361"/>
                    <a:pt x="14742" y="29574"/>
                    <a:pt x="15331" y="30212"/>
                  </a:cubicBezTo>
                  <a:cubicBezTo>
                    <a:pt x="15626" y="30425"/>
                    <a:pt x="16511" y="31914"/>
                    <a:pt x="15921" y="32553"/>
                  </a:cubicBezTo>
                  <a:cubicBezTo>
                    <a:pt x="15626" y="32765"/>
                    <a:pt x="15331" y="32765"/>
                    <a:pt x="15036" y="32765"/>
                  </a:cubicBezTo>
                  <a:cubicBezTo>
                    <a:pt x="14742" y="32765"/>
                    <a:pt x="14742" y="32765"/>
                    <a:pt x="14742" y="32765"/>
                  </a:cubicBezTo>
                  <a:cubicBezTo>
                    <a:pt x="14447" y="32765"/>
                    <a:pt x="13857" y="32765"/>
                    <a:pt x="13857" y="32978"/>
                  </a:cubicBezTo>
                  <a:cubicBezTo>
                    <a:pt x="13857" y="33191"/>
                    <a:pt x="13857" y="33404"/>
                    <a:pt x="13857" y="33404"/>
                  </a:cubicBezTo>
                  <a:cubicBezTo>
                    <a:pt x="13857" y="34042"/>
                    <a:pt x="13857" y="35106"/>
                    <a:pt x="13857" y="35319"/>
                  </a:cubicBezTo>
                  <a:cubicBezTo>
                    <a:pt x="14152" y="35531"/>
                    <a:pt x="14152" y="35531"/>
                    <a:pt x="14152" y="35744"/>
                  </a:cubicBezTo>
                  <a:cubicBezTo>
                    <a:pt x="14447" y="36170"/>
                    <a:pt x="15036" y="37234"/>
                    <a:pt x="15331" y="37446"/>
                  </a:cubicBezTo>
                  <a:cubicBezTo>
                    <a:pt x="15626" y="37446"/>
                    <a:pt x="15921" y="37659"/>
                    <a:pt x="16216" y="37659"/>
                  </a:cubicBezTo>
                  <a:cubicBezTo>
                    <a:pt x="17690" y="37872"/>
                    <a:pt x="18869" y="38085"/>
                    <a:pt x="18869" y="38723"/>
                  </a:cubicBezTo>
                  <a:cubicBezTo>
                    <a:pt x="18869" y="38723"/>
                    <a:pt x="18869" y="38936"/>
                    <a:pt x="18869" y="39148"/>
                  </a:cubicBezTo>
                  <a:cubicBezTo>
                    <a:pt x="18574" y="43404"/>
                    <a:pt x="19164" y="44042"/>
                    <a:pt x="19164" y="44255"/>
                  </a:cubicBezTo>
                  <a:cubicBezTo>
                    <a:pt x="19754" y="44468"/>
                    <a:pt x="20638" y="45106"/>
                    <a:pt x="21523" y="45744"/>
                  </a:cubicBezTo>
                  <a:cubicBezTo>
                    <a:pt x="22113" y="45957"/>
                    <a:pt x="22407" y="46382"/>
                    <a:pt x="22702" y="46382"/>
                  </a:cubicBezTo>
                  <a:cubicBezTo>
                    <a:pt x="22997" y="46595"/>
                    <a:pt x="23292" y="46595"/>
                    <a:pt x="23587" y="46808"/>
                  </a:cubicBezTo>
                  <a:cubicBezTo>
                    <a:pt x="24176" y="47021"/>
                    <a:pt x="25061" y="47446"/>
                    <a:pt x="25651" y="47872"/>
                  </a:cubicBezTo>
                  <a:cubicBezTo>
                    <a:pt x="25945" y="48510"/>
                    <a:pt x="27125" y="50212"/>
                    <a:pt x="27125" y="50851"/>
                  </a:cubicBezTo>
                  <a:cubicBezTo>
                    <a:pt x="27420" y="51063"/>
                    <a:pt x="27420" y="51063"/>
                    <a:pt x="27420" y="51276"/>
                  </a:cubicBezTo>
                  <a:cubicBezTo>
                    <a:pt x="27714" y="51914"/>
                    <a:pt x="27714" y="52340"/>
                    <a:pt x="27420" y="52765"/>
                  </a:cubicBezTo>
                  <a:cubicBezTo>
                    <a:pt x="27125" y="52978"/>
                    <a:pt x="26830" y="53191"/>
                    <a:pt x="26535" y="53191"/>
                  </a:cubicBezTo>
                  <a:cubicBezTo>
                    <a:pt x="26240" y="53191"/>
                    <a:pt x="25945" y="53191"/>
                    <a:pt x="25651" y="53191"/>
                  </a:cubicBezTo>
                  <a:cubicBezTo>
                    <a:pt x="25356" y="53191"/>
                    <a:pt x="24766" y="53191"/>
                    <a:pt x="24471" y="53191"/>
                  </a:cubicBezTo>
                  <a:cubicBezTo>
                    <a:pt x="24471" y="54042"/>
                    <a:pt x="22407" y="57021"/>
                    <a:pt x="21523" y="57659"/>
                  </a:cubicBezTo>
                  <a:cubicBezTo>
                    <a:pt x="21523" y="57659"/>
                    <a:pt x="21523" y="57659"/>
                    <a:pt x="21523" y="57659"/>
                  </a:cubicBezTo>
                  <a:cubicBezTo>
                    <a:pt x="20933" y="58085"/>
                    <a:pt x="20933" y="58085"/>
                    <a:pt x="20933" y="58297"/>
                  </a:cubicBezTo>
                  <a:cubicBezTo>
                    <a:pt x="20933" y="58510"/>
                    <a:pt x="20933" y="58723"/>
                    <a:pt x="20933" y="58936"/>
                  </a:cubicBezTo>
                  <a:cubicBezTo>
                    <a:pt x="21523" y="60000"/>
                    <a:pt x="21523" y="60638"/>
                    <a:pt x="21228" y="60851"/>
                  </a:cubicBezTo>
                  <a:cubicBezTo>
                    <a:pt x="21228" y="61276"/>
                    <a:pt x="20343" y="62127"/>
                    <a:pt x="19754" y="62553"/>
                  </a:cubicBezTo>
                  <a:cubicBezTo>
                    <a:pt x="19754" y="62553"/>
                    <a:pt x="19754" y="62765"/>
                    <a:pt x="19459" y="62765"/>
                  </a:cubicBezTo>
                  <a:cubicBezTo>
                    <a:pt x="19164" y="62765"/>
                    <a:pt x="17690" y="63404"/>
                    <a:pt x="16805" y="62978"/>
                  </a:cubicBezTo>
                  <a:cubicBezTo>
                    <a:pt x="16511" y="62765"/>
                    <a:pt x="16216" y="62553"/>
                    <a:pt x="16216" y="62340"/>
                  </a:cubicBezTo>
                  <a:cubicBezTo>
                    <a:pt x="15626" y="61914"/>
                    <a:pt x="15331" y="61702"/>
                    <a:pt x="15036" y="61702"/>
                  </a:cubicBezTo>
                  <a:cubicBezTo>
                    <a:pt x="14742" y="61702"/>
                    <a:pt x="14742" y="61702"/>
                    <a:pt x="14447" y="61702"/>
                  </a:cubicBezTo>
                  <a:cubicBezTo>
                    <a:pt x="13857" y="61702"/>
                    <a:pt x="12972" y="61702"/>
                    <a:pt x="12678" y="61914"/>
                  </a:cubicBezTo>
                  <a:cubicBezTo>
                    <a:pt x="12678" y="61914"/>
                    <a:pt x="12678" y="61914"/>
                    <a:pt x="12678" y="62127"/>
                  </a:cubicBezTo>
                  <a:cubicBezTo>
                    <a:pt x="12678" y="62765"/>
                    <a:pt x="12678" y="63617"/>
                    <a:pt x="11793" y="63829"/>
                  </a:cubicBezTo>
                  <a:cubicBezTo>
                    <a:pt x="10909" y="64042"/>
                    <a:pt x="10024" y="64680"/>
                    <a:pt x="9729" y="64893"/>
                  </a:cubicBezTo>
                  <a:cubicBezTo>
                    <a:pt x="10024" y="64893"/>
                    <a:pt x="10024" y="64893"/>
                    <a:pt x="10024" y="65106"/>
                  </a:cubicBezTo>
                  <a:cubicBezTo>
                    <a:pt x="10024" y="65957"/>
                    <a:pt x="10024" y="66808"/>
                    <a:pt x="9434" y="67021"/>
                  </a:cubicBezTo>
                  <a:cubicBezTo>
                    <a:pt x="9434" y="67234"/>
                    <a:pt x="9140" y="67234"/>
                    <a:pt x="8845" y="67234"/>
                  </a:cubicBezTo>
                  <a:cubicBezTo>
                    <a:pt x="8255" y="67234"/>
                    <a:pt x="6781" y="67659"/>
                    <a:pt x="6486" y="67872"/>
                  </a:cubicBezTo>
                  <a:cubicBezTo>
                    <a:pt x="6191" y="67872"/>
                    <a:pt x="5307" y="68936"/>
                    <a:pt x="5307" y="69148"/>
                  </a:cubicBezTo>
                  <a:cubicBezTo>
                    <a:pt x="5601" y="69574"/>
                    <a:pt x="6781" y="70638"/>
                    <a:pt x="7076" y="70638"/>
                  </a:cubicBezTo>
                  <a:cubicBezTo>
                    <a:pt x="7076" y="70638"/>
                    <a:pt x="7371" y="70638"/>
                    <a:pt x="7371" y="70638"/>
                  </a:cubicBezTo>
                  <a:cubicBezTo>
                    <a:pt x="8255" y="70851"/>
                    <a:pt x="9729" y="70851"/>
                    <a:pt x="9729" y="71702"/>
                  </a:cubicBezTo>
                  <a:cubicBezTo>
                    <a:pt x="9729" y="71914"/>
                    <a:pt x="9729" y="72340"/>
                    <a:pt x="9729" y="72553"/>
                  </a:cubicBezTo>
                  <a:cubicBezTo>
                    <a:pt x="10024" y="73829"/>
                    <a:pt x="10319" y="74893"/>
                    <a:pt x="9140" y="75106"/>
                  </a:cubicBezTo>
                  <a:cubicBezTo>
                    <a:pt x="8845" y="75106"/>
                    <a:pt x="8550" y="75106"/>
                    <a:pt x="7665" y="75106"/>
                  </a:cubicBezTo>
                  <a:cubicBezTo>
                    <a:pt x="7371" y="74893"/>
                    <a:pt x="6486" y="74893"/>
                    <a:pt x="6191" y="74893"/>
                  </a:cubicBezTo>
                  <a:cubicBezTo>
                    <a:pt x="5896" y="75531"/>
                    <a:pt x="5601" y="76382"/>
                    <a:pt x="4717" y="76595"/>
                  </a:cubicBezTo>
                  <a:cubicBezTo>
                    <a:pt x="2063" y="77446"/>
                    <a:pt x="884" y="77872"/>
                    <a:pt x="884" y="78085"/>
                  </a:cubicBezTo>
                  <a:cubicBezTo>
                    <a:pt x="884" y="78085"/>
                    <a:pt x="884" y="78297"/>
                    <a:pt x="589" y="78510"/>
                  </a:cubicBezTo>
                  <a:cubicBezTo>
                    <a:pt x="589" y="78936"/>
                    <a:pt x="0" y="80000"/>
                    <a:pt x="294" y="80212"/>
                  </a:cubicBezTo>
                  <a:cubicBezTo>
                    <a:pt x="294" y="80212"/>
                    <a:pt x="589" y="80212"/>
                    <a:pt x="589" y="80425"/>
                  </a:cubicBezTo>
                  <a:cubicBezTo>
                    <a:pt x="1474" y="80638"/>
                    <a:pt x="2063" y="80851"/>
                    <a:pt x="2358" y="81489"/>
                  </a:cubicBezTo>
                  <a:cubicBezTo>
                    <a:pt x="2358" y="81702"/>
                    <a:pt x="2358" y="81914"/>
                    <a:pt x="2063" y="82340"/>
                  </a:cubicBezTo>
                  <a:cubicBezTo>
                    <a:pt x="1179" y="82978"/>
                    <a:pt x="884" y="83191"/>
                    <a:pt x="884" y="83617"/>
                  </a:cubicBezTo>
                  <a:cubicBezTo>
                    <a:pt x="884" y="83617"/>
                    <a:pt x="884" y="83829"/>
                    <a:pt x="589" y="84255"/>
                  </a:cubicBezTo>
                  <a:cubicBezTo>
                    <a:pt x="589" y="84468"/>
                    <a:pt x="294" y="85319"/>
                    <a:pt x="294" y="85531"/>
                  </a:cubicBezTo>
                  <a:cubicBezTo>
                    <a:pt x="884" y="85957"/>
                    <a:pt x="1769" y="86595"/>
                    <a:pt x="1769" y="87234"/>
                  </a:cubicBezTo>
                  <a:cubicBezTo>
                    <a:pt x="1769" y="87446"/>
                    <a:pt x="2063" y="87872"/>
                    <a:pt x="2358" y="88085"/>
                  </a:cubicBezTo>
                  <a:cubicBezTo>
                    <a:pt x="2358" y="88510"/>
                    <a:pt x="2653" y="88723"/>
                    <a:pt x="2653" y="88936"/>
                  </a:cubicBezTo>
                  <a:cubicBezTo>
                    <a:pt x="2948" y="89148"/>
                    <a:pt x="3538" y="89574"/>
                    <a:pt x="3832" y="90000"/>
                  </a:cubicBezTo>
                  <a:cubicBezTo>
                    <a:pt x="4422" y="90425"/>
                    <a:pt x="4717" y="90851"/>
                    <a:pt x="5012" y="91063"/>
                  </a:cubicBezTo>
                  <a:cubicBezTo>
                    <a:pt x="5012" y="91063"/>
                    <a:pt x="5307" y="91276"/>
                    <a:pt x="5307" y="91702"/>
                  </a:cubicBezTo>
                  <a:cubicBezTo>
                    <a:pt x="5601" y="92127"/>
                    <a:pt x="6191" y="93191"/>
                    <a:pt x="6486" y="93404"/>
                  </a:cubicBezTo>
                  <a:cubicBezTo>
                    <a:pt x="6781" y="93617"/>
                    <a:pt x="8255" y="94042"/>
                    <a:pt x="9140" y="94468"/>
                  </a:cubicBezTo>
                  <a:cubicBezTo>
                    <a:pt x="10319" y="94893"/>
                    <a:pt x="10909" y="95106"/>
                    <a:pt x="11203" y="95319"/>
                  </a:cubicBezTo>
                  <a:cubicBezTo>
                    <a:pt x="11203" y="95319"/>
                    <a:pt x="11498" y="95319"/>
                    <a:pt x="11793" y="95531"/>
                  </a:cubicBezTo>
                  <a:cubicBezTo>
                    <a:pt x="13267" y="96595"/>
                    <a:pt x="14152" y="97021"/>
                    <a:pt x="14152" y="97659"/>
                  </a:cubicBezTo>
                  <a:cubicBezTo>
                    <a:pt x="14152" y="97872"/>
                    <a:pt x="14152" y="97872"/>
                    <a:pt x="14152" y="97872"/>
                  </a:cubicBezTo>
                  <a:cubicBezTo>
                    <a:pt x="14152" y="98085"/>
                    <a:pt x="14447" y="98936"/>
                    <a:pt x="14742" y="98936"/>
                  </a:cubicBezTo>
                  <a:cubicBezTo>
                    <a:pt x="15626" y="99361"/>
                    <a:pt x="18574" y="101063"/>
                    <a:pt x="17985" y="101914"/>
                  </a:cubicBezTo>
                  <a:cubicBezTo>
                    <a:pt x="17690" y="102340"/>
                    <a:pt x="17395" y="103404"/>
                    <a:pt x="17395" y="104468"/>
                  </a:cubicBezTo>
                  <a:cubicBezTo>
                    <a:pt x="17985" y="104255"/>
                    <a:pt x="18574" y="104042"/>
                    <a:pt x="19164" y="103829"/>
                  </a:cubicBezTo>
                  <a:cubicBezTo>
                    <a:pt x="20049" y="103617"/>
                    <a:pt x="20638" y="102765"/>
                    <a:pt x="21228" y="102127"/>
                  </a:cubicBezTo>
                  <a:cubicBezTo>
                    <a:pt x="21818" y="101489"/>
                    <a:pt x="22113" y="101063"/>
                    <a:pt x="22702" y="100851"/>
                  </a:cubicBezTo>
                  <a:cubicBezTo>
                    <a:pt x="23587" y="100212"/>
                    <a:pt x="26240" y="100000"/>
                    <a:pt x="27714" y="100212"/>
                  </a:cubicBezTo>
                  <a:cubicBezTo>
                    <a:pt x="28304" y="100425"/>
                    <a:pt x="28894" y="100425"/>
                    <a:pt x="29189" y="100425"/>
                  </a:cubicBezTo>
                  <a:cubicBezTo>
                    <a:pt x="30368" y="100638"/>
                    <a:pt x="31547" y="100638"/>
                    <a:pt x="32432" y="101063"/>
                  </a:cubicBezTo>
                  <a:cubicBezTo>
                    <a:pt x="33022" y="101276"/>
                    <a:pt x="34201" y="101702"/>
                    <a:pt x="35380" y="102340"/>
                  </a:cubicBezTo>
                  <a:cubicBezTo>
                    <a:pt x="36560" y="102765"/>
                    <a:pt x="38034" y="103617"/>
                    <a:pt x="38624" y="103829"/>
                  </a:cubicBezTo>
                  <a:cubicBezTo>
                    <a:pt x="38624" y="103829"/>
                    <a:pt x="38918" y="103829"/>
                    <a:pt x="39213" y="103829"/>
                  </a:cubicBezTo>
                  <a:cubicBezTo>
                    <a:pt x="40687" y="104042"/>
                    <a:pt x="43046" y="104468"/>
                    <a:pt x="43046" y="105531"/>
                  </a:cubicBezTo>
                  <a:cubicBezTo>
                    <a:pt x="43046" y="106382"/>
                    <a:pt x="43341" y="107446"/>
                    <a:pt x="43931" y="108085"/>
                  </a:cubicBezTo>
                  <a:cubicBezTo>
                    <a:pt x="44226" y="108297"/>
                    <a:pt x="44226" y="108297"/>
                    <a:pt x="44226" y="108297"/>
                  </a:cubicBezTo>
                  <a:cubicBezTo>
                    <a:pt x="45405" y="109148"/>
                    <a:pt x="46289" y="109787"/>
                    <a:pt x="46289" y="110425"/>
                  </a:cubicBezTo>
                  <a:cubicBezTo>
                    <a:pt x="45995" y="110638"/>
                    <a:pt x="45995" y="110851"/>
                    <a:pt x="45405" y="111063"/>
                  </a:cubicBezTo>
                  <a:cubicBezTo>
                    <a:pt x="42457" y="111914"/>
                    <a:pt x="42457" y="112340"/>
                    <a:pt x="42457" y="112340"/>
                  </a:cubicBezTo>
                  <a:cubicBezTo>
                    <a:pt x="42457" y="112553"/>
                    <a:pt x="42457" y="112978"/>
                    <a:pt x="42457" y="113191"/>
                  </a:cubicBezTo>
                  <a:cubicBezTo>
                    <a:pt x="42162" y="113829"/>
                    <a:pt x="42162" y="114680"/>
                    <a:pt x="42457" y="114893"/>
                  </a:cubicBezTo>
                  <a:cubicBezTo>
                    <a:pt x="42457" y="115106"/>
                    <a:pt x="42751" y="115319"/>
                    <a:pt x="42751" y="115744"/>
                  </a:cubicBezTo>
                  <a:cubicBezTo>
                    <a:pt x="43341" y="116170"/>
                    <a:pt x="43636" y="116808"/>
                    <a:pt x="44226" y="116808"/>
                  </a:cubicBezTo>
                  <a:cubicBezTo>
                    <a:pt x="45110" y="116808"/>
                    <a:pt x="46289" y="116595"/>
                    <a:pt x="46879" y="116382"/>
                  </a:cubicBezTo>
                  <a:cubicBezTo>
                    <a:pt x="47469" y="115744"/>
                    <a:pt x="49533" y="114042"/>
                    <a:pt x="51007" y="114680"/>
                  </a:cubicBezTo>
                  <a:cubicBezTo>
                    <a:pt x="52186" y="115106"/>
                    <a:pt x="55429" y="115319"/>
                    <a:pt x="56019" y="115319"/>
                  </a:cubicBezTo>
                  <a:cubicBezTo>
                    <a:pt x="56904" y="115106"/>
                    <a:pt x="59852" y="114468"/>
                    <a:pt x="59852" y="114468"/>
                  </a:cubicBezTo>
                  <a:cubicBezTo>
                    <a:pt x="60147" y="114255"/>
                    <a:pt x="60442" y="114255"/>
                    <a:pt x="60442" y="114468"/>
                  </a:cubicBezTo>
                  <a:cubicBezTo>
                    <a:pt x="62506" y="115319"/>
                    <a:pt x="65749" y="117021"/>
                    <a:pt x="66044" y="117659"/>
                  </a:cubicBezTo>
                  <a:cubicBezTo>
                    <a:pt x="66339" y="118297"/>
                    <a:pt x="66633" y="120000"/>
                    <a:pt x="66633" y="120000"/>
                  </a:cubicBezTo>
                  <a:cubicBezTo>
                    <a:pt x="68108" y="119787"/>
                    <a:pt x="69582" y="118510"/>
                    <a:pt x="70761" y="117234"/>
                  </a:cubicBezTo>
                  <a:cubicBezTo>
                    <a:pt x="71941" y="115957"/>
                    <a:pt x="72235" y="115319"/>
                    <a:pt x="72530" y="114042"/>
                  </a:cubicBezTo>
                  <a:cubicBezTo>
                    <a:pt x="72825" y="112765"/>
                    <a:pt x="75184" y="113617"/>
                    <a:pt x="76363" y="112978"/>
                  </a:cubicBezTo>
                  <a:cubicBezTo>
                    <a:pt x="77542" y="112340"/>
                    <a:pt x="77248" y="111702"/>
                    <a:pt x="76658" y="111063"/>
                  </a:cubicBezTo>
                  <a:cubicBezTo>
                    <a:pt x="76068" y="110425"/>
                    <a:pt x="74299" y="108297"/>
                    <a:pt x="74594" y="106382"/>
                  </a:cubicBezTo>
                  <a:cubicBezTo>
                    <a:pt x="74889" y="104468"/>
                    <a:pt x="80196" y="102765"/>
                    <a:pt x="81670" y="102553"/>
                  </a:cubicBezTo>
                  <a:cubicBezTo>
                    <a:pt x="83144" y="102340"/>
                    <a:pt x="84324" y="100000"/>
                    <a:pt x="85798" y="99148"/>
                  </a:cubicBezTo>
                  <a:cubicBezTo>
                    <a:pt x="87272" y="98297"/>
                    <a:pt x="89041" y="97872"/>
                    <a:pt x="91105" y="96595"/>
                  </a:cubicBezTo>
                  <a:cubicBezTo>
                    <a:pt x="93169" y="95319"/>
                    <a:pt x="95233" y="95744"/>
                    <a:pt x="97002" y="95744"/>
                  </a:cubicBezTo>
                  <a:cubicBezTo>
                    <a:pt x="98771" y="95744"/>
                    <a:pt x="99361" y="95744"/>
                    <a:pt x="99361" y="96382"/>
                  </a:cubicBezTo>
                  <a:cubicBezTo>
                    <a:pt x="99361" y="97021"/>
                    <a:pt x="96412" y="98085"/>
                    <a:pt x="95233" y="99148"/>
                  </a:cubicBezTo>
                  <a:cubicBezTo>
                    <a:pt x="94054" y="100212"/>
                    <a:pt x="95528" y="100851"/>
                    <a:pt x="97002" y="101702"/>
                  </a:cubicBezTo>
                  <a:cubicBezTo>
                    <a:pt x="98476" y="102553"/>
                    <a:pt x="99066" y="102553"/>
                    <a:pt x="100540" y="102127"/>
                  </a:cubicBezTo>
                  <a:cubicBezTo>
                    <a:pt x="102014" y="101702"/>
                    <a:pt x="102899" y="97659"/>
                    <a:pt x="102899" y="96595"/>
                  </a:cubicBezTo>
                  <a:cubicBezTo>
                    <a:pt x="102899" y="95531"/>
                    <a:pt x="105552" y="95106"/>
                    <a:pt x="106732" y="94680"/>
                  </a:cubicBezTo>
                  <a:cubicBezTo>
                    <a:pt x="107911" y="94255"/>
                    <a:pt x="106437" y="89361"/>
                    <a:pt x="106142" y="88510"/>
                  </a:cubicBezTo>
                  <a:cubicBezTo>
                    <a:pt x="105847" y="87659"/>
                    <a:pt x="107911" y="87234"/>
                    <a:pt x="110270" y="87021"/>
                  </a:cubicBezTo>
                  <a:cubicBezTo>
                    <a:pt x="112628" y="86808"/>
                    <a:pt x="112628" y="84255"/>
                    <a:pt x="112628" y="83191"/>
                  </a:cubicBezTo>
                  <a:cubicBezTo>
                    <a:pt x="112628" y="82127"/>
                    <a:pt x="113513" y="81914"/>
                    <a:pt x="115282" y="80638"/>
                  </a:cubicBezTo>
                  <a:cubicBezTo>
                    <a:pt x="117051" y="79361"/>
                    <a:pt x="113513" y="78936"/>
                    <a:pt x="112628" y="78936"/>
                  </a:cubicBezTo>
                  <a:cubicBezTo>
                    <a:pt x="111744" y="78936"/>
                    <a:pt x="109090" y="81063"/>
                    <a:pt x="107911" y="81914"/>
                  </a:cubicBezTo>
                  <a:cubicBezTo>
                    <a:pt x="106732" y="82765"/>
                    <a:pt x="105257" y="81702"/>
                    <a:pt x="104668" y="80851"/>
                  </a:cubicBezTo>
                  <a:cubicBezTo>
                    <a:pt x="104078" y="80000"/>
                    <a:pt x="103194" y="79361"/>
                    <a:pt x="103194" y="78085"/>
                  </a:cubicBezTo>
                  <a:cubicBezTo>
                    <a:pt x="103194" y="76808"/>
                    <a:pt x="101130" y="76170"/>
                    <a:pt x="100245" y="75531"/>
                  </a:cubicBezTo>
                  <a:cubicBezTo>
                    <a:pt x="99361" y="74893"/>
                    <a:pt x="99066" y="74468"/>
                    <a:pt x="98771" y="72765"/>
                  </a:cubicBezTo>
                  <a:cubicBezTo>
                    <a:pt x="98476" y="71063"/>
                    <a:pt x="97592" y="67446"/>
                    <a:pt x="97592" y="66170"/>
                  </a:cubicBezTo>
                  <a:cubicBezTo>
                    <a:pt x="97592" y="64893"/>
                    <a:pt x="95528" y="61914"/>
                    <a:pt x="94643" y="61063"/>
                  </a:cubicBezTo>
                  <a:cubicBezTo>
                    <a:pt x="93759" y="60212"/>
                    <a:pt x="94938" y="57659"/>
                    <a:pt x="94938" y="56595"/>
                  </a:cubicBezTo>
                  <a:cubicBezTo>
                    <a:pt x="94938" y="55531"/>
                    <a:pt x="92874" y="54893"/>
                    <a:pt x="91695" y="54468"/>
                  </a:cubicBezTo>
                  <a:cubicBezTo>
                    <a:pt x="90515" y="54042"/>
                    <a:pt x="91105" y="48723"/>
                    <a:pt x="91105" y="47872"/>
                  </a:cubicBezTo>
                  <a:cubicBezTo>
                    <a:pt x="91105" y="47021"/>
                    <a:pt x="93759" y="44255"/>
                    <a:pt x="94643" y="43617"/>
                  </a:cubicBezTo>
                  <a:cubicBezTo>
                    <a:pt x="95528" y="42978"/>
                    <a:pt x="95233" y="40000"/>
                    <a:pt x="95233" y="39148"/>
                  </a:cubicBezTo>
                  <a:cubicBezTo>
                    <a:pt x="95233" y="38297"/>
                    <a:pt x="98476" y="38510"/>
                    <a:pt x="99950" y="38510"/>
                  </a:cubicBezTo>
                  <a:cubicBezTo>
                    <a:pt x="101425" y="38510"/>
                    <a:pt x="102014" y="35319"/>
                    <a:pt x="102309" y="33829"/>
                  </a:cubicBezTo>
                  <a:cubicBezTo>
                    <a:pt x="102604" y="32340"/>
                    <a:pt x="103488" y="33404"/>
                    <a:pt x="104963" y="33829"/>
                  </a:cubicBezTo>
                  <a:cubicBezTo>
                    <a:pt x="106437" y="34255"/>
                    <a:pt x="109975" y="39574"/>
                    <a:pt x="111449" y="40638"/>
                  </a:cubicBezTo>
                  <a:cubicBezTo>
                    <a:pt x="112923" y="41702"/>
                    <a:pt x="114103" y="40638"/>
                    <a:pt x="114103" y="39148"/>
                  </a:cubicBezTo>
                  <a:cubicBezTo>
                    <a:pt x="114103" y="37659"/>
                    <a:pt x="115872" y="38936"/>
                    <a:pt x="116461" y="39574"/>
                  </a:cubicBezTo>
                  <a:cubicBezTo>
                    <a:pt x="117051" y="40212"/>
                    <a:pt x="118525" y="41914"/>
                    <a:pt x="119115" y="40851"/>
                  </a:cubicBezTo>
                  <a:cubicBezTo>
                    <a:pt x="119705" y="39787"/>
                    <a:pt x="120000" y="35531"/>
                    <a:pt x="120000" y="34042"/>
                  </a:cubicBezTo>
                  <a:cubicBezTo>
                    <a:pt x="120000" y="32553"/>
                    <a:pt x="118230" y="30000"/>
                    <a:pt x="117936" y="28723"/>
                  </a:cubicBezTo>
                  <a:cubicBezTo>
                    <a:pt x="117641" y="27446"/>
                    <a:pt x="117936" y="27234"/>
                    <a:pt x="117936" y="25957"/>
                  </a:cubicBezTo>
                  <a:cubicBezTo>
                    <a:pt x="117936" y="24680"/>
                    <a:pt x="117346" y="24468"/>
                    <a:pt x="116461" y="23829"/>
                  </a:cubicBezTo>
                  <a:cubicBezTo>
                    <a:pt x="116167" y="23829"/>
                    <a:pt x="116167" y="23617"/>
                    <a:pt x="116167" y="23617"/>
                  </a:cubicBezTo>
                  <a:cubicBezTo>
                    <a:pt x="115872" y="23617"/>
                    <a:pt x="115872" y="23617"/>
                    <a:pt x="115872" y="23617"/>
                  </a:cubicBezTo>
                  <a:cubicBezTo>
                    <a:pt x="115577" y="23617"/>
                    <a:pt x="115577" y="23617"/>
                    <a:pt x="115577" y="23617"/>
                  </a:cubicBezTo>
                  <a:cubicBezTo>
                    <a:pt x="115577" y="23617"/>
                    <a:pt x="112628" y="23191"/>
                    <a:pt x="111154" y="22978"/>
                  </a:cubicBezTo>
                  <a:cubicBezTo>
                    <a:pt x="110565" y="22978"/>
                    <a:pt x="110270" y="22765"/>
                    <a:pt x="109975" y="22553"/>
                  </a:cubicBezTo>
                  <a:cubicBezTo>
                    <a:pt x="109680" y="22127"/>
                    <a:pt x="109975" y="21702"/>
                    <a:pt x="109975" y="21276"/>
                  </a:cubicBezTo>
                  <a:cubicBezTo>
                    <a:pt x="109975" y="21063"/>
                    <a:pt x="109975" y="21063"/>
                    <a:pt x="110270" y="20851"/>
                  </a:cubicBezTo>
                  <a:cubicBezTo>
                    <a:pt x="110270" y="20638"/>
                    <a:pt x="110270" y="20638"/>
                    <a:pt x="109975" y="20425"/>
                  </a:cubicBezTo>
                  <a:cubicBezTo>
                    <a:pt x="109680" y="20425"/>
                    <a:pt x="109680" y="20425"/>
                    <a:pt x="109680" y="20212"/>
                  </a:cubicBezTo>
                  <a:cubicBezTo>
                    <a:pt x="109680" y="20425"/>
                    <a:pt x="109385" y="20425"/>
                    <a:pt x="109385" y="20425"/>
                  </a:cubicBezTo>
                  <a:cubicBezTo>
                    <a:pt x="109090" y="20638"/>
                    <a:pt x="109090" y="20851"/>
                    <a:pt x="108796" y="21063"/>
                  </a:cubicBezTo>
                  <a:cubicBezTo>
                    <a:pt x="107911" y="21489"/>
                    <a:pt x="106732" y="21702"/>
                    <a:pt x="105847" y="21276"/>
                  </a:cubicBezTo>
                  <a:cubicBezTo>
                    <a:pt x="105552" y="21063"/>
                    <a:pt x="105552" y="20851"/>
                    <a:pt x="105552" y="20425"/>
                  </a:cubicBezTo>
                  <a:cubicBezTo>
                    <a:pt x="105552" y="19574"/>
                    <a:pt x="106142" y="18510"/>
                    <a:pt x="106732" y="17872"/>
                  </a:cubicBezTo>
                  <a:cubicBezTo>
                    <a:pt x="106437" y="17659"/>
                    <a:pt x="105552" y="17021"/>
                    <a:pt x="104963" y="16808"/>
                  </a:cubicBezTo>
                  <a:cubicBezTo>
                    <a:pt x="104963" y="16808"/>
                    <a:pt x="104668" y="16808"/>
                    <a:pt x="104373" y="16808"/>
                  </a:cubicBezTo>
                  <a:cubicBezTo>
                    <a:pt x="104078" y="16808"/>
                    <a:pt x="103783" y="16808"/>
                    <a:pt x="103488" y="16595"/>
                  </a:cubicBezTo>
                  <a:cubicBezTo>
                    <a:pt x="102309" y="16595"/>
                    <a:pt x="102309" y="15744"/>
                    <a:pt x="102309" y="15319"/>
                  </a:cubicBezTo>
                  <a:cubicBezTo>
                    <a:pt x="102309" y="15106"/>
                    <a:pt x="102309" y="15106"/>
                    <a:pt x="102309" y="15106"/>
                  </a:cubicBezTo>
                  <a:cubicBezTo>
                    <a:pt x="102014" y="15106"/>
                    <a:pt x="100835" y="15106"/>
                    <a:pt x="100245" y="15106"/>
                  </a:cubicBezTo>
                  <a:cubicBezTo>
                    <a:pt x="99950" y="15106"/>
                    <a:pt x="99950" y="15106"/>
                    <a:pt x="99950" y="15106"/>
                  </a:cubicBezTo>
                  <a:cubicBezTo>
                    <a:pt x="99656" y="15106"/>
                    <a:pt x="98771" y="15319"/>
                    <a:pt x="98181" y="15319"/>
                  </a:cubicBezTo>
                  <a:cubicBezTo>
                    <a:pt x="97297" y="15531"/>
                    <a:pt x="96707" y="15744"/>
                    <a:pt x="96117" y="15744"/>
                  </a:cubicBezTo>
                  <a:cubicBezTo>
                    <a:pt x="94938" y="15744"/>
                    <a:pt x="93169" y="14042"/>
                    <a:pt x="92874" y="13617"/>
                  </a:cubicBezTo>
                  <a:cubicBezTo>
                    <a:pt x="92579" y="12978"/>
                    <a:pt x="92579" y="12127"/>
                    <a:pt x="92579" y="11489"/>
                  </a:cubicBezTo>
                  <a:cubicBezTo>
                    <a:pt x="92285" y="11276"/>
                    <a:pt x="90810" y="11063"/>
                    <a:pt x="90515" y="11063"/>
                  </a:cubicBezTo>
                  <a:cubicBezTo>
                    <a:pt x="90221" y="11063"/>
                    <a:pt x="90221" y="11063"/>
                    <a:pt x="90221" y="11063"/>
                  </a:cubicBezTo>
                  <a:cubicBezTo>
                    <a:pt x="89041" y="10851"/>
                    <a:pt x="88157" y="8936"/>
                    <a:pt x="87862" y="8297"/>
                  </a:cubicBezTo>
                  <a:cubicBezTo>
                    <a:pt x="87567" y="8297"/>
                    <a:pt x="86977" y="8297"/>
                    <a:pt x="86683" y="8297"/>
                  </a:cubicBezTo>
                  <a:cubicBezTo>
                    <a:pt x="85503" y="8510"/>
                    <a:pt x="84619" y="8510"/>
                    <a:pt x="83734" y="8510"/>
                  </a:cubicBezTo>
                  <a:cubicBezTo>
                    <a:pt x="82260" y="8297"/>
                    <a:pt x="82260" y="7234"/>
                    <a:pt x="82260" y="6595"/>
                  </a:cubicBezTo>
                  <a:cubicBezTo>
                    <a:pt x="82260" y="6595"/>
                    <a:pt x="82260" y="6595"/>
                    <a:pt x="82260" y="6382"/>
                  </a:cubicBezTo>
                  <a:cubicBezTo>
                    <a:pt x="81965" y="6170"/>
                    <a:pt x="80786" y="5957"/>
                    <a:pt x="79901" y="5744"/>
                  </a:cubicBezTo>
                  <a:cubicBezTo>
                    <a:pt x="78722" y="5531"/>
                    <a:pt x="78132" y="5319"/>
                    <a:pt x="77837" y="5106"/>
                  </a:cubicBezTo>
                  <a:cubicBezTo>
                    <a:pt x="76953" y="4468"/>
                    <a:pt x="77248" y="3829"/>
                    <a:pt x="77837" y="3191"/>
                  </a:cubicBezTo>
                  <a:cubicBezTo>
                    <a:pt x="77837" y="2978"/>
                    <a:pt x="77837" y="2765"/>
                    <a:pt x="78132" y="2553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9" name="Shape 6933">
              <a:extLst>
                <a:ext uri="{FF2B5EF4-FFF2-40B4-BE49-F238E27FC236}">
                  <a16:creationId xmlns:a16="http://schemas.microsoft.com/office/drawing/2014/main" id="{62913CC2-C18A-4128-B35A-38A2D8AD4CEF}"/>
                </a:ext>
              </a:extLst>
            </p:cNvPr>
            <p:cNvSpPr/>
            <p:nvPr/>
          </p:nvSpPr>
          <p:spPr>
            <a:xfrm>
              <a:off x="7115968" y="688156"/>
              <a:ext cx="1107500" cy="1388552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209" y="87169"/>
                  </a:moveTo>
                  <a:cubicBezTo>
                    <a:pt x="418" y="87169"/>
                    <a:pt x="627" y="87331"/>
                    <a:pt x="627" y="87493"/>
                  </a:cubicBezTo>
                  <a:cubicBezTo>
                    <a:pt x="836" y="87978"/>
                    <a:pt x="1254" y="88948"/>
                    <a:pt x="1881" y="89110"/>
                  </a:cubicBezTo>
                  <a:cubicBezTo>
                    <a:pt x="2926" y="89272"/>
                    <a:pt x="4808" y="89595"/>
                    <a:pt x="5435" y="89757"/>
                  </a:cubicBezTo>
                  <a:cubicBezTo>
                    <a:pt x="5435" y="89757"/>
                    <a:pt x="5853" y="89757"/>
                    <a:pt x="6062" y="89757"/>
                  </a:cubicBezTo>
                  <a:cubicBezTo>
                    <a:pt x="6898" y="89595"/>
                    <a:pt x="7944" y="89595"/>
                    <a:pt x="8153" y="90080"/>
                  </a:cubicBezTo>
                  <a:cubicBezTo>
                    <a:pt x="8362" y="90404"/>
                    <a:pt x="8780" y="91212"/>
                    <a:pt x="8989" y="91374"/>
                  </a:cubicBezTo>
                  <a:cubicBezTo>
                    <a:pt x="9198" y="91374"/>
                    <a:pt x="9407" y="91536"/>
                    <a:pt x="9825" y="91536"/>
                  </a:cubicBezTo>
                  <a:cubicBezTo>
                    <a:pt x="10452" y="91698"/>
                    <a:pt x="11080" y="91859"/>
                    <a:pt x="11289" y="92345"/>
                  </a:cubicBezTo>
                  <a:cubicBezTo>
                    <a:pt x="11498" y="92345"/>
                    <a:pt x="11707" y="92668"/>
                    <a:pt x="11916" y="92991"/>
                  </a:cubicBezTo>
                  <a:cubicBezTo>
                    <a:pt x="13170" y="94609"/>
                    <a:pt x="13588" y="95417"/>
                    <a:pt x="13588" y="95741"/>
                  </a:cubicBezTo>
                  <a:cubicBezTo>
                    <a:pt x="13379" y="95902"/>
                    <a:pt x="13379" y="96064"/>
                    <a:pt x="13170" y="96064"/>
                  </a:cubicBezTo>
                  <a:cubicBezTo>
                    <a:pt x="12752" y="96226"/>
                    <a:pt x="10871" y="97358"/>
                    <a:pt x="10662" y="97681"/>
                  </a:cubicBezTo>
                  <a:cubicBezTo>
                    <a:pt x="10662" y="97681"/>
                    <a:pt x="10452" y="97843"/>
                    <a:pt x="10452" y="98167"/>
                  </a:cubicBezTo>
                  <a:cubicBezTo>
                    <a:pt x="10034" y="98652"/>
                    <a:pt x="9616" y="99622"/>
                    <a:pt x="9616" y="99784"/>
                  </a:cubicBezTo>
                  <a:cubicBezTo>
                    <a:pt x="9616" y="99946"/>
                    <a:pt x="9616" y="100107"/>
                    <a:pt x="9616" y="100269"/>
                  </a:cubicBezTo>
                  <a:cubicBezTo>
                    <a:pt x="9825" y="101886"/>
                    <a:pt x="9825" y="102695"/>
                    <a:pt x="9198" y="102857"/>
                  </a:cubicBezTo>
                  <a:cubicBezTo>
                    <a:pt x="8989" y="102857"/>
                    <a:pt x="8780" y="102857"/>
                    <a:pt x="8571" y="103018"/>
                  </a:cubicBezTo>
                  <a:cubicBezTo>
                    <a:pt x="8362" y="103018"/>
                    <a:pt x="7735" y="103180"/>
                    <a:pt x="7735" y="103342"/>
                  </a:cubicBezTo>
                  <a:cubicBezTo>
                    <a:pt x="7735" y="103827"/>
                    <a:pt x="7735" y="104959"/>
                    <a:pt x="7526" y="105444"/>
                  </a:cubicBezTo>
                  <a:cubicBezTo>
                    <a:pt x="7526" y="105768"/>
                    <a:pt x="7317" y="106091"/>
                    <a:pt x="6689" y="106738"/>
                  </a:cubicBezTo>
                  <a:cubicBezTo>
                    <a:pt x="6480" y="107061"/>
                    <a:pt x="6062" y="107547"/>
                    <a:pt x="5853" y="107708"/>
                  </a:cubicBezTo>
                  <a:cubicBezTo>
                    <a:pt x="6062" y="107870"/>
                    <a:pt x="6062" y="108032"/>
                    <a:pt x="6271" y="108355"/>
                  </a:cubicBezTo>
                  <a:cubicBezTo>
                    <a:pt x="6271" y="108840"/>
                    <a:pt x="6689" y="109649"/>
                    <a:pt x="6898" y="109811"/>
                  </a:cubicBezTo>
                  <a:cubicBezTo>
                    <a:pt x="7108" y="109973"/>
                    <a:pt x="7317" y="109973"/>
                    <a:pt x="7526" y="110134"/>
                  </a:cubicBezTo>
                  <a:cubicBezTo>
                    <a:pt x="8362" y="110458"/>
                    <a:pt x="9407" y="110943"/>
                    <a:pt x="9407" y="111428"/>
                  </a:cubicBezTo>
                  <a:cubicBezTo>
                    <a:pt x="9407" y="112884"/>
                    <a:pt x="9407" y="113369"/>
                    <a:pt x="9407" y="113530"/>
                  </a:cubicBezTo>
                  <a:cubicBezTo>
                    <a:pt x="9407" y="113530"/>
                    <a:pt x="9407" y="113530"/>
                    <a:pt x="9407" y="113530"/>
                  </a:cubicBezTo>
                  <a:cubicBezTo>
                    <a:pt x="10452" y="113530"/>
                    <a:pt x="11498" y="113530"/>
                    <a:pt x="11916" y="114016"/>
                  </a:cubicBezTo>
                  <a:cubicBezTo>
                    <a:pt x="12543" y="114339"/>
                    <a:pt x="14006" y="114663"/>
                    <a:pt x="14425" y="114663"/>
                  </a:cubicBezTo>
                  <a:cubicBezTo>
                    <a:pt x="14425" y="114663"/>
                    <a:pt x="15261" y="114501"/>
                    <a:pt x="15888" y="114339"/>
                  </a:cubicBezTo>
                  <a:cubicBezTo>
                    <a:pt x="17351" y="114016"/>
                    <a:pt x="18188" y="113854"/>
                    <a:pt x="18606" y="113854"/>
                  </a:cubicBezTo>
                  <a:cubicBezTo>
                    <a:pt x="18815" y="113854"/>
                    <a:pt x="19024" y="113854"/>
                    <a:pt x="19233" y="113854"/>
                  </a:cubicBezTo>
                  <a:cubicBezTo>
                    <a:pt x="19651" y="113854"/>
                    <a:pt x="20487" y="113854"/>
                    <a:pt x="20905" y="114501"/>
                  </a:cubicBezTo>
                  <a:cubicBezTo>
                    <a:pt x="20905" y="114663"/>
                    <a:pt x="21324" y="114824"/>
                    <a:pt x="21742" y="115148"/>
                  </a:cubicBezTo>
                  <a:cubicBezTo>
                    <a:pt x="22160" y="115633"/>
                    <a:pt x="22787" y="115956"/>
                    <a:pt x="22787" y="116442"/>
                  </a:cubicBezTo>
                  <a:cubicBezTo>
                    <a:pt x="23205" y="117250"/>
                    <a:pt x="23623" y="117735"/>
                    <a:pt x="23623" y="117897"/>
                  </a:cubicBezTo>
                  <a:cubicBezTo>
                    <a:pt x="24041" y="117897"/>
                    <a:pt x="25087" y="117574"/>
                    <a:pt x="25505" y="117574"/>
                  </a:cubicBezTo>
                  <a:cubicBezTo>
                    <a:pt x="25714" y="117412"/>
                    <a:pt x="25714" y="117412"/>
                    <a:pt x="25714" y="117412"/>
                  </a:cubicBezTo>
                  <a:cubicBezTo>
                    <a:pt x="25923" y="117412"/>
                    <a:pt x="26132" y="117250"/>
                    <a:pt x="26341" y="117250"/>
                  </a:cubicBezTo>
                  <a:cubicBezTo>
                    <a:pt x="26968" y="116927"/>
                    <a:pt x="27804" y="116603"/>
                    <a:pt x="28432" y="116927"/>
                  </a:cubicBezTo>
                  <a:cubicBezTo>
                    <a:pt x="29059" y="117250"/>
                    <a:pt x="31149" y="119029"/>
                    <a:pt x="31358" y="119353"/>
                  </a:cubicBezTo>
                  <a:cubicBezTo>
                    <a:pt x="31358" y="119514"/>
                    <a:pt x="32195" y="119838"/>
                    <a:pt x="32404" y="119999"/>
                  </a:cubicBezTo>
                  <a:cubicBezTo>
                    <a:pt x="32822" y="119999"/>
                    <a:pt x="34703" y="119676"/>
                    <a:pt x="35331" y="119514"/>
                  </a:cubicBezTo>
                  <a:cubicBezTo>
                    <a:pt x="35331" y="119353"/>
                    <a:pt x="35540" y="119353"/>
                    <a:pt x="35749" y="119353"/>
                  </a:cubicBezTo>
                  <a:cubicBezTo>
                    <a:pt x="36167" y="119191"/>
                    <a:pt x="36794" y="119029"/>
                    <a:pt x="37003" y="118867"/>
                  </a:cubicBezTo>
                  <a:cubicBezTo>
                    <a:pt x="37003" y="118706"/>
                    <a:pt x="37003" y="118544"/>
                    <a:pt x="37212" y="118544"/>
                  </a:cubicBezTo>
                  <a:cubicBezTo>
                    <a:pt x="37421" y="118059"/>
                    <a:pt x="37839" y="117412"/>
                    <a:pt x="38466" y="117735"/>
                  </a:cubicBezTo>
                  <a:cubicBezTo>
                    <a:pt x="38885" y="117735"/>
                    <a:pt x="40766" y="118059"/>
                    <a:pt x="41184" y="118059"/>
                  </a:cubicBezTo>
                  <a:cubicBezTo>
                    <a:pt x="41184" y="118059"/>
                    <a:pt x="41393" y="118059"/>
                    <a:pt x="41602" y="118059"/>
                  </a:cubicBezTo>
                  <a:cubicBezTo>
                    <a:pt x="43066" y="118059"/>
                    <a:pt x="43902" y="118059"/>
                    <a:pt x="44111" y="117897"/>
                  </a:cubicBezTo>
                  <a:cubicBezTo>
                    <a:pt x="44320" y="117735"/>
                    <a:pt x="44529" y="117412"/>
                    <a:pt x="44947" y="117088"/>
                  </a:cubicBezTo>
                  <a:cubicBezTo>
                    <a:pt x="46202" y="115633"/>
                    <a:pt x="47038" y="114663"/>
                    <a:pt x="47665" y="114663"/>
                  </a:cubicBezTo>
                  <a:cubicBezTo>
                    <a:pt x="48710" y="114501"/>
                    <a:pt x="51219" y="114824"/>
                    <a:pt x="51637" y="114824"/>
                  </a:cubicBezTo>
                  <a:cubicBezTo>
                    <a:pt x="52264" y="114986"/>
                    <a:pt x="52473" y="114986"/>
                    <a:pt x="52682" y="114663"/>
                  </a:cubicBezTo>
                  <a:cubicBezTo>
                    <a:pt x="53101" y="114339"/>
                    <a:pt x="56445" y="110943"/>
                    <a:pt x="56445" y="110943"/>
                  </a:cubicBezTo>
                  <a:cubicBezTo>
                    <a:pt x="56445" y="110943"/>
                    <a:pt x="56445" y="110943"/>
                    <a:pt x="56655" y="110943"/>
                  </a:cubicBezTo>
                  <a:cubicBezTo>
                    <a:pt x="56655" y="110943"/>
                    <a:pt x="56655" y="110943"/>
                    <a:pt x="56655" y="110943"/>
                  </a:cubicBezTo>
                  <a:cubicBezTo>
                    <a:pt x="56236" y="110619"/>
                    <a:pt x="55818" y="110134"/>
                    <a:pt x="55609" y="109973"/>
                  </a:cubicBezTo>
                  <a:cubicBezTo>
                    <a:pt x="55400" y="109649"/>
                    <a:pt x="55609" y="109326"/>
                    <a:pt x="55609" y="109002"/>
                  </a:cubicBezTo>
                  <a:cubicBezTo>
                    <a:pt x="55609" y="108840"/>
                    <a:pt x="55609" y="108679"/>
                    <a:pt x="55609" y="108517"/>
                  </a:cubicBezTo>
                  <a:cubicBezTo>
                    <a:pt x="55609" y="108194"/>
                    <a:pt x="56236" y="106900"/>
                    <a:pt x="56655" y="106415"/>
                  </a:cubicBezTo>
                  <a:cubicBezTo>
                    <a:pt x="57073" y="105929"/>
                    <a:pt x="57491" y="105606"/>
                    <a:pt x="57909" y="105444"/>
                  </a:cubicBezTo>
                  <a:cubicBezTo>
                    <a:pt x="58118" y="105283"/>
                    <a:pt x="58118" y="105283"/>
                    <a:pt x="58118" y="105283"/>
                  </a:cubicBezTo>
                  <a:cubicBezTo>
                    <a:pt x="58745" y="105121"/>
                    <a:pt x="60209" y="104150"/>
                    <a:pt x="60627" y="103665"/>
                  </a:cubicBezTo>
                  <a:cubicBezTo>
                    <a:pt x="60627" y="103665"/>
                    <a:pt x="60627" y="103665"/>
                    <a:pt x="60209" y="103180"/>
                  </a:cubicBezTo>
                  <a:cubicBezTo>
                    <a:pt x="60209" y="103180"/>
                    <a:pt x="60000" y="103180"/>
                    <a:pt x="60000" y="103018"/>
                  </a:cubicBezTo>
                  <a:cubicBezTo>
                    <a:pt x="59790" y="103018"/>
                    <a:pt x="59790" y="102857"/>
                    <a:pt x="59790" y="102695"/>
                  </a:cubicBezTo>
                  <a:cubicBezTo>
                    <a:pt x="60000" y="102371"/>
                    <a:pt x="60627" y="101886"/>
                    <a:pt x="62299" y="101078"/>
                  </a:cubicBezTo>
                  <a:cubicBezTo>
                    <a:pt x="62508" y="101078"/>
                    <a:pt x="62717" y="100916"/>
                    <a:pt x="62717" y="100916"/>
                  </a:cubicBezTo>
                  <a:cubicBezTo>
                    <a:pt x="62926" y="100754"/>
                    <a:pt x="63344" y="100754"/>
                    <a:pt x="64390" y="100916"/>
                  </a:cubicBezTo>
                  <a:cubicBezTo>
                    <a:pt x="64599" y="100916"/>
                    <a:pt x="65017" y="100916"/>
                    <a:pt x="65226" y="100916"/>
                  </a:cubicBezTo>
                  <a:cubicBezTo>
                    <a:pt x="65226" y="100754"/>
                    <a:pt x="65644" y="100107"/>
                    <a:pt x="65853" y="99137"/>
                  </a:cubicBezTo>
                  <a:cubicBezTo>
                    <a:pt x="66062" y="98652"/>
                    <a:pt x="66480" y="98328"/>
                    <a:pt x="67317" y="98005"/>
                  </a:cubicBezTo>
                  <a:cubicBezTo>
                    <a:pt x="67526" y="97843"/>
                    <a:pt x="67735" y="97843"/>
                    <a:pt x="67735" y="97681"/>
                  </a:cubicBezTo>
                  <a:cubicBezTo>
                    <a:pt x="67944" y="97681"/>
                    <a:pt x="67944" y="97035"/>
                    <a:pt x="67944" y="96873"/>
                  </a:cubicBezTo>
                  <a:cubicBezTo>
                    <a:pt x="67944" y="96549"/>
                    <a:pt x="67944" y="96388"/>
                    <a:pt x="67944" y="96226"/>
                  </a:cubicBezTo>
                  <a:cubicBezTo>
                    <a:pt x="68153" y="95579"/>
                    <a:pt x="71498" y="95094"/>
                    <a:pt x="71498" y="95094"/>
                  </a:cubicBezTo>
                  <a:cubicBezTo>
                    <a:pt x="72125" y="94932"/>
                    <a:pt x="72752" y="95094"/>
                    <a:pt x="73170" y="95094"/>
                  </a:cubicBezTo>
                  <a:cubicBezTo>
                    <a:pt x="73379" y="95094"/>
                    <a:pt x="73588" y="94932"/>
                    <a:pt x="74006" y="94123"/>
                  </a:cubicBezTo>
                  <a:cubicBezTo>
                    <a:pt x="74006" y="93962"/>
                    <a:pt x="74006" y="93800"/>
                    <a:pt x="73797" y="93477"/>
                  </a:cubicBezTo>
                  <a:cubicBezTo>
                    <a:pt x="73588" y="93315"/>
                    <a:pt x="73588" y="93153"/>
                    <a:pt x="73588" y="92830"/>
                  </a:cubicBezTo>
                  <a:cubicBezTo>
                    <a:pt x="73379" y="92668"/>
                    <a:pt x="73379" y="92506"/>
                    <a:pt x="73588" y="92506"/>
                  </a:cubicBezTo>
                  <a:cubicBezTo>
                    <a:pt x="74006" y="92021"/>
                    <a:pt x="74843" y="91859"/>
                    <a:pt x="76933" y="91859"/>
                  </a:cubicBezTo>
                  <a:cubicBezTo>
                    <a:pt x="77560" y="91859"/>
                    <a:pt x="78397" y="92021"/>
                    <a:pt x="78815" y="92345"/>
                  </a:cubicBezTo>
                  <a:cubicBezTo>
                    <a:pt x="78815" y="92345"/>
                    <a:pt x="78815" y="92345"/>
                    <a:pt x="79442" y="92021"/>
                  </a:cubicBezTo>
                  <a:cubicBezTo>
                    <a:pt x="80069" y="91536"/>
                    <a:pt x="81951" y="90404"/>
                    <a:pt x="82996" y="90242"/>
                  </a:cubicBezTo>
                  <a:cubicBezTo>
                    <a:pt x="83623" y="89919"/>
                    <a:pt x="84459" y="90080"/>
                    <a:pt x="84878" y="90242"/>
                  </a:cubicBezTo>
                  <a:cubicBezTo>
                    <a:pt x="85087" y="90404"/>
                    <a:pt x="85087" y="90404"/>
                    <a:pt x="85296" y="90404"/>
                  </a:cubicBezTo>
                  <a:cubicBezTo>
                    <a:pt x="85923" y="90566"/>
                    <a:pt x="86132" y="91212"/>
                    <a:pt x="86341" y="92345"/>
                  </a:cubicBezTo>
                  <a:cubicBezTo>
                    <a:pt x="86341" y="92668"/>
                    <a:pt x="86341" y="92830"/>
                    <a:pt x="86341" y="92991"/>
                  </a:cubicBezTo>
                  <a:cubicBezTo>
                    <a:pt x="86550" y="93315"/>
                    <a:pt x="86968" y="93800"/>
                    <a:pt x="87177" y="94123"/>
                  </a:cubicBezTo>
                  <a:cubicBezTo>
                    <a:pt x="87386" y="94123"/>
                    <a:pt x="87595" y="94285"/>
                    <a:pt x="87595" y="94447"/>
                  </a:cubicBezTo>
                  <a:cubicBezTo>
                    <a:pt x="88013" y="94932"/>
                    <a:pt x="88222" y="95741"/>
                    <a:pt x="88641" y="96388"/>
                  </a:cubicBezTo>
                  <a:cubicBezTo>
                    <a:pt x="88641" y="96549"/>
                    <a:pt x="88641" y="96549"/>
                    <a:pt x="88641" y="96549"/>
                  </a:cubicBezTo>
                  <a:cubicBezTo>
                    <a:pt x="88641" y="96873"/>
                    <a:pt x="89268" y="97358"/>
                    <a:pt x="89895" y="97681"/>
                  </a:cubicBezTo>
                  <a:cubicBezTo>
                    <a:pt x="90522" y="97035"/>
                    <a:pt x="91777" y="95741"/>
                    <a:pt x="91986" y="95579"/>
                  </a:cubicBezTo>
                  <a:cubicBezTo>
                    <a:pt x="92404" y="95094"/>
                    <a:pt x="94076" y="95256"/>
                    <a:pt x="94494" y="95256"/>
                  </a:cubicBezTo>
                  <a:cubicBezTo>
                    <a:pt x="94912" y="95094"/>
                    <a:pt x="95958" y="94285"/>
                    <a:pt x="96585" y="93638"/>
                  </a:cubicBezTo>
                  <a:cubicBezTo>
                    <a:pt x="96794" y="93477"/>
                    <a:pt x="96794" y="93477"/>
                    <a:pt x="97003" y="93477"/>
                  </a:cubicBezTo>
                  <a:cubicBezTo>
                    <a:pt x="97003" y="93477"/>
                    <a:pt x="98466" y="93153"/>
                    <a:pt x="99094" y="93153"/>
                  </a:cubicBezTo>
                  <a:cubicBezTo>
                    <a:pt x="99721" y="93153"/>
                    <a:pt x="100139" y="93800"/>
                    <a:pt x="100557" y="94123"/>
                  </a:cubicBezTo>
                  <a:cubicBezTo>
                    <a:pt x="100766" y="94285"/>
                    <a:pt x="100766" y="94285"/>
                    <a:pt x="100766" y="94447"/>
                  </a:cubicBezTo>
                  <a:cubicBezTo>
                    <a:pt x="101184" y="94285"/>
                    <a:pt x="101811" y="93800"/>
                    <a:pt x="102229" y="93638"/>
                  </a:cubicBezTo>
                  <a:cubicBezTo>
                    <a:pt x="102439" y="93477"/>
                    <a:pt x="102648" y="93315"/>
                    <a:pt x="102648" y="93153"/>
                  </a:cubicBezTo>
                  <a:cubicBezTo>
                    <a:pt x="103066" y="92830"/>
                    <a:pt x="105365" y="87816"/>
                    <a:pt x="105574" y="87331"/>
                  </a:cubicBezTo>
                  <a:cubicBezTo>
                    <a:pt x="105574" y="87169"/>
                    <a:pt x="105156" y="86361"/>
                    <a:pt x="104738" y="86037"/>
                  </a:cubicBezTo>
                  <a:cubicBezTo>
                    <a:pt x="104320" y="85714"/>
                    <a:pt x="104738" y="85229"/>
                    <a:pt x="104947" y="84905"/>
                  </a:cubicBezTo>
                  <a:cubicBezTo>
                    <a:pt x="105156" y="84905"/>
                    <a:pt x="105156" y="84743"/>
                    <a:pt x="105365" y="84582"/>
                  </a:cubicBezTo>
                  <a:cubicBezTo>
                    <a:pt x="105365" y="84420"/>
                    <a:pt x="105574" y="84258"/>
                    <a:pt x="105783" y="83935"/>
                  </a:cubicBezTo>
                  <a:cubicBezTo>
                    <a:pt x="106202" y="83288"/>
                    <a:pt x="106829" y="82479"/>
                    <a:pt x="107038" y="81994"/>
                  </a:cubicBezTo>
                  <a:cubicBezTo>
                    <a:pt x="107247" y="81185"/>
                    <a:pt x="108292" y="77789"/>
                    <a:pt x="108501" y="77304"/>
                  </a:cubicBezTo>
                  <a:cubicBezTo>
                    <a:pt x="108919" y="76657"/>
                    <a:pt x="111010" y="76495"/>
                    <a:pt x="111219" y="76495"/>
                  </a:cubicBezTo>
                  <a:cubicBezTo>
                    <a:pt x="111219" y="76495"/>
                    <a:pt x="111637" y="76495"/>
                    <a:pt x="113101" y="77789"/>
                  </a:cubicBezTo>
                  <a:cubicBezTo>
                    <a:pt x="114146" y="77789"/>
                    <a:pt x="115191" y="77789"/>
                    <a:pt x="115400" y="77789"/>
                  </a:cubicBezTo>
                  <a:cubicBezTo>
                    <a:pt x="115609" y="77628"/>
                    <a:pt x="116236" y="76819"/>
                    <a:pt x="116864" y="76010"/>
                  </a:cubicBezTo>
                  <a:cubicBezTo>
                    <a:pt x="116864" y="76010"/>
                    <a:pt x="117073" y="76010"/>
                    <a:pt x="117073" y="76010"/>
                  </a:cubicBezTo>
                  <a:cubicBezTo>
                    <a:pt x="117073" y="75849"/>
                    <a:pt x="117073" y="75849"/>
                    <a:pt x="117073" y="75849"/>
                  </a:cubicBezTo>
                  <a:cubicBezTo>
                    <a:pt x="116864" y="75202"/>
                    <a:pt x="116864" y="74070"/>
                    <a:pt x="116864" y="73261"/>
                  </a:cubicBezTo>
                  <a:cubicBezTo>
                    <a:pt x="116864" y="72452"/>
                    <a:pt x="116445" y="70350"/>
                    <a:pt x="116027" y="69380"/>
                  </a:cubicBezTo>
                  <a:cubicBezTo>
                    <a:pt x="115609" y="68571"/>
                    <a:pt x="114146" y="66469"/>
                    <a:pt x="113728" y="65983"/>
                  </a:cubicBezTo>
                  <a:cubicBezTo>
                    <a:pt x="113101" y="65498"/>
                    <a:pt x="113937" y="65175"/>
                    <a:pt x="114146" y="64851"/>
                  </a:cubicBezTo>
                  <a:cubicBezTo>
                    <a:pt x="114564" y="64528"/>
                    <a:pt x="112473" y="63557"/>
                    <a:pt x="111846" y="63234"/>
                  </a:cubicBezTo>
                  <a:cubicBezTo>
                    <a:pt x="111010" y="62749"/>
                    <a:pt x="111428" y="62587"/>
                    <a:pt x="112055" y="62102"/>
                  </a:cubicBezTo>
                  <a:cubicBezTo>
                    <a:pt x="112682" y="61617"/>
                    <a:pt x="114146" y="61940"/>
                    <a:pt x="114773" y="61940"/>
                  </a:cubicBezTo>
                  <a:cubicBezTo>
                    <a:pt x="115609" y="61940"/>
                    <a:pt x="115400" y="60808"/>
                    <a:pt x="115609" y="60485"/>
                  </a:cubicBezTo>
                  <a:cubicBezTo>
                    <a:pt x="115818" y="60161"/>
                    <a:pt x="116655" y="59353"/>
                    <a:pt x="116864" y="58867"/>
                  </a:cubicBezTo>
                  <a:cubicBezTo>
                    <a:pt x="117282" y="58382"/>
                    <a:pt x="118327" y="58059"/>
                    <a:pt x="119163" y="58059"/>
                  </a:cubicBezTo>
                  <a:cubicBezTo>
                    <a:pt x="120000" y="58059"/>
                    <a:pt x="119790" y="56442"/>
                    <a:pt x="119790" y="55956"/>
                  </a:cubicBezTo>
                  <a:cubicBezTo>
                    <a:pt x="119581" y="55471"/>
                    <a:pt x="119163" y="54663"/>
                    <a:pt x="118536" y="54339"/>
                  </a:cubicBezTo>
                  <a:cubicBezTo>
                    <a:pt x="117909" y="54177"/>
                    <a:pt x="117491" y="53045"/>
                    <a:pt x="116655" y="52237"/>
                  </a:cubicBezTo>
                  <a:cubicBezTo>
                    <a:pt x="116027" y="51428"/>
                    <a:pt x="114982" y="52398"/>
                    <a:pt x="114564" y="52884"/>
                  </a:cubicBezTo>
                  <a:cubicBezTo>
                    <a:pt x="113937" y="53369"/>
                    <a:pt x="113519" y="52884"/>
                    <a:pt x="113101" y="52722"/>
                  </a:cubicBezTo>
                  <a:cubicBezTo>
                    <a:pt x="112682" y="52398"/>
                    <a:pt x="111637" y="52237"/>
                    <a:pt x="111219" y="52398"/>
                  </a:cubicBezTo>
                  <a:cubicBezTo>
                    <a:pt x="110801" y="52398"/>
                    <a:pt x="110174" y="52884"/>
                    <a:pt x="109547" y="53530"/>
                  </a:cubicBezTo>
                  <a:cubicBezTo>
                    <a:pt x="108919" y="54177"/>
                    <a:pt x="107665" y="53530"/>
                    <a:pt x="107038" y="53530"/>
                  </a:cubicBezTo>
                  <a:cubicBezTo>
                    <a:pt x="106202" y="53530"/>
                    <a:pt x="105993" y="54177"/>
                    <a:pt x="105574" y="54501"/>
                  </a:cubicBezTo>
                  <a:cubicBezTo>
                    <a:pt x="105156" y="54986"/>
                    <a:pt x="104320" y="54501"/>
                    <a:pt x="103693" y="54339"/>
                  </a:cubicBezTo>
                  <a:cubicBezTo>
                    <a:pt x="103275" y="54177"/>
                    <a:pt x="103066" y="53854"/>
                    <a:pt x="103066" y="53207"/>
                  </a:cubicBezTo>
                  <a:cubicBezTo>
                    <a:pt x="102857" y="52560"/>
                    <a:pt x="97212" y="53369"/>
                    <a:pt x="96585" y="53369"/>
                  </a:cubicBezTo>
                  <a:cubicBezTo>
                    <a:pt x="95749" y="53369"/>
                    <a:pt x="93867" y="55309"/>
                    <a:pt x="93031" y="55795"/>
                  </a:cubicBezTo>
                  <a:cubicBezTo>
                    <a:pt x="92404" y="56118"/>
                    <a:pt x="90940" y="55956"/>
                    <a:pt x="90313" y="55956"/>
                  </a:cubicBezTo>
                  <a:cubicBezTo>
                    <a:pt x="89477" y="55956"/>
                    <a:pt x="88850" y="56927"/>
                    <a:pt x="88432" y="57250"/>
                  </a:cubicBezTo>
                  <a:cubicBezTo>
                    <a:pt x="88013" y="57574"/>
                    <a:pt x="88432" y="58059"/>
                    <a:pt x="88432" y="58544"/>
                  </a:cubicBezTo>
                  <a:cubicBezTo>
                    <a:pt x="88641" y="59029"/>
                    <a:pt x="87386" y="59514"/>
                    <a:pt x="86968" y="59676"/>
                  </a:cubicBezTo>
                  <a:cubicBezTo>
                    <a:pt x="86550" y="59999"/>
                    <a:pt x="85505" y="58867"/>
                    <a:pt x="85296" y="58544"/>
                  </a:cubicBezTo>
                  <a:cubicBezTo>
                    <a:pt x="85087" y="58221"/>
                    <a:pt x="86132" y="57412"/>
                    <a:pt x="86759" y="56927"/>
                  </a:cubicBezTo>
                  <a:cubicBezTo>
                    <a:pt x="87386" y="56442"/>
                    <a:pt x="86759" y="56280"/>
                    <a:pt x="86132" y="56280"/>
                  </a:cubicBezTo>
                  <a:cubicBezTo>
                    <a:pt x="85714" y="56280"/>
                    <a:pt x="84041" y="56765"/>
                    <a:pt x="83205" y="57088"/>
                  </a:cubicBezTo>
                  <a:cubicBezTo>
                    <a:pt x="82578" y="57250"/>
                    <a:pt x="83623" y="56118"/>
                    <a:pt x="84041" y="55633"/>
                  </a:cubicBezTo>
                  <a:cubicBezTo>
                    <a:pt x="84459" y="55148"/>
                    <a:pt x="85714" y="54824"/>
                    <a:pt x="86550" y="54824"/>
                  </a:cubicBezTo>
                  <a:cubicBezTo>
                    <a:pt x="87386" y="54663"/>
                    <a:pt x="88432" y="54177"/>
                    <a:pt x="89477" y="54177"/>
                  </a:cubicBezTo>
                  <a:cubicBezTo>
                    <a:pt x="90313" y="54177"/>
                    <a:pt x="91358" y="51913"/>
                    <a:pt x="91777" y="51266"/>
                  </a:cubicBezTo>
                  <a:cubicBezTo>
                    <a:pt x="92195" y="50781"/>
                    <a:pt x="90522" y="46576"/>
                    <a:pt x="90313" y="45768"/>
                  </a:cubicBezTo>
                  <a:cubicBezTo>
                    <a:pt x="89895" y="44959"/>
                    <a:pt x="86132" y="42371"/>
                    <a:pt x="85505" y="42048"/>
                  </a:cubicBezTo>
                  <a:cubicBezTo>
                    <a:pt x="85087" y="41725"/>
                    <a:pt x="84668" y="42371"/>
                    <a:pt x="83832" y="42695"/>
                  </a:cubicBezTo>
                  <a:cubicBezTo>
                    <a:pt x="83205" y="43018"/>
                    <a:pt x="83832" y="41725"/>
                    <a:pt x="83832" y="41239"/>
                  </a:cubicBezTo>
                  <a:cubicBezTo>
                    <a:pt x="83832" y="40754"/>
                    <a:pt x="83623" y="40592"/>
                    <a:pt x="82996" y="40592"/>
                  </a:cubicBezTo>
                  <a:cubicBezTo>
                    <a:pt x="82369" y="40592"/>
                    <a:pt x="80069" y="40754"/>
                    <a:pt x="79233" y="41078"/>
                  </a:cubicBezTo>
                  <a:cubicBezTo>
                    <a:pt x="78606" y="41239"/>
                    <a:pt x="78188" y="40916"/>
                    <a:pt x="77351" y="40269"/>
                  </a:cubicBezTo>
                  <a:cubicBezTo>
                    <a:pt x="76724" y="39784"/>
                    <a:pt x="76515" y="39460"/>
                    <a:pt x="76515" y="38814"/>
                  </a:cubicBezTo>
                  <a:cubicBezTo>
                    <a:pt x="76306" y="38005"/>
                    <a:pt x="75052" y="38167"/>
                    <a:pt x="74216" y="37843"/>
                  </a:cubicBezTo>
                  <a:cubicBezTo>
                    <a:pt x="73170" y="37681"/>
                    <a:pt x="75052" y="37035"/>
                    <a:pt x="75470" y="36873"/>
                  </a:cubicBezTo>
                  <a:cubicBezTo>
                    <a:pt x="75888" y="36711"/>
                    <a:pt x="75052" y="35417"/>
                    <a:pt x="75052" y="34932"/>
                  </a:cubicBezTo>
                  <a:cubicBezTo>
                    <a:pt x="75261" y="34609"/>
                    <a:pt x="77142" y="35579"/>
                    <a:pt x="77770" y="36226"/>
                  </a:cubicBezTo>
                  <a:cubicBezTo>
                    <a:pt x="78397" y="36711"/>
                    <a:pt x="79651" y="36388"/>
                    <a:pt x="80278" y="36388"/>
                  </a:cubicBezTo>
                  <a:cubicBezTo>
                    <a:pt x="81114" y="36226"/>
                    <a:pt x="81951" y="36064"/>
                    <a:pt x="82578" y="35902"/>
                  </a:cubicBezTo>
                  <a:cubicBezTo>
                    <a:pt x="83205" y="35579"/>
                    <a:pt x="84041" y="36064"/>
                    <a:pt x="84668" y="36388"/>
                  </a:cubicBezTo>
                  <a:cubicBezTo>
                    <a:pt x="85296" y="36711"/>
                    <a:pt x="86759" y="35256"/>
                    <a:pt x="87386" y="34609"/>
                  </a:cubicBezTo>
                  <a:cubicBezTo>
                    <a:pt x="87804" y="33962"/>
                    <a:pt x="87386" y="32345"/>
                    <a:pt x="87386" y="31859"/>
                  </a:cubicBezTo>
                  <a:cubicBezTo>
                    <a:pt x="87386" y="31374"/>
                    <a:pt x="86968" y="30727"/>
                    <a:pt x="86341" y="30242"/>
                  </a:cubicBezTo>
                  <a:cubicBezTo>
                    <a:pt x="85714" y="29595"/>
                    <a:pt x="88222" y="27654"/>
                    <a:pt x="88641" y="27493"/>
                  </a:cubicBezTo>
                  <a:cubicBezTo>
                    <a:pt x="89059" y="27169"/>
                    <a:pt x="90522" y="27169"/>
                    <a:pt x="91149" y="27331"/>
                  </a:cubicBezTo>
                  <a:cubicBezTo>
                    <a:pt x="91777" y="27331"/>
                    <a:pt x="92613" y="27493"/>
                    <a:pt x="93449" y="27816"/>
                  </a:cubicBezTo>
                  <a:cubicBezTo>
                    <a:pt x="94494" y="27978"/>
                    <a:pt x="95958" y="27331"/>
                    <a:pt x="96794" y="27169"/>
                  </a:cubicBezTo>
                  <a:cubicBezTo>
                    <a:pt x="97421" y="27008"/>
                    <a:pt x="98257" y="24582"/>
                    <a:pt x="98466" y="24258"/>
                  </a:cubicBezTo>
                  <a:cubicBezTo>
                    <a:pt x="98885" y="23935"/>
                    <a:pt x="101184" y="22156"/>
                    <a:pt x="101811" y="21832"/>
                  </a:cubicBezTo>
                  <a:cubicBezTo>
                    <a:pt x="102229" y="21347"/>
                    <a:pt x="103693" y="21347"/>
                    <a:pt x="104529" y="21347"/>
                  </a:cubicBezTo>
                  <a:cubicBezTo>
                    <a:pt x="105365" y="21347"/>
                    <a:pt x="105783" y="19083"/>
                    <a:pt x="105993" y="18598"/>
                  </a:cubicBezTo>
                  <a:cubicBezTo>
                    <a:pt x="105993" y="18274"/>
                    <a:pt x="104947" y="17951"/>
                    <a:pt x="104111" y="17628"/>
                  </a:cubicBezTo>
                  <a:cubicBezTo>
                    <a:pt x="103275" y="17142"/>
                    <a:pt x="105156" y="16819"/>
                    <a:pt x="105993" y="16819"/>
                  </a:cubicBezTo>
                  <a:cubicBezTo>
                    <a:pt x="106829" y="16819"/>
                    <a:pt x="106620" y="16495"/>
                    <a:pt x="106411" y="16010"/>
                  </a:cubicBezTo>
                  <a:cubicBezTo>
                    <a:pt x="106202" y="15525"/>
                    <a:pt x="105993" y="15040"/>
                    <a:pt x="105993" y="14070"/>
                  </a:cubicBezTo>
                  <a:cubicBezTo>
                    <a:pt x="105783" y="13099"/>
                    <a:pt x="105156" y="14231"/>
                    <a:pt x="104529" y="14716"/>
                  </a:cubicBezTo>
                  <a:cubicBezTo>
                    <a:pt x="103902" y="15363"/>
                    <a:pt x="103693" y="15525"/>
                    <a:pt x="102857" y="15525"/>
                  </a:cubicBezTo>
                  <a:cubicBezTo>
                    <a:pt x="102229" y="15525"/>
                    <a:pt x="101602" y="14231"/>
                    <a:pt x="101184" y="13746"/>
                  </a:cubicBezTo>
                  <a:cubicBezTo>
                    <a:pt x="100557" y="13261"/>
                    <a:pt x="99094" y="12291"/>
                    <a:pt x="98466" y="11644"/>
                  </a:cubicBezTo>
                  <a:cubicBezTo>
                    <a:pt x="97839" y="11159"/>
                    <a:pt x="97839" y="11967"/>
                    <a:pt x="97421" y="12291"/>
                  </a:cubicBezTo>
                  <a:cubicBezTo>
                    <a:pt x="97003" y="12776"/>
                    <a:pt x="95540" y="11967"/>
                    <a:pt x="94912" y="11805"/>
                  </a:cubicBezTo>
                  <a:cubicBezTo>
                    <a:pt x="94285" y="11482"/>
                    <a:pt x="93658" y="12291"/>
                    <a:pt x="93031" y="12614"/>
                  </a:cubicBezTo>
                  <a:cubicBezTo>
                    <a:pt x="92404" y="12938"/>
                    <a:pt x="91777" y="12776"/>
                    <a:pt x="90731" y="12452"/>
                  </a:cubicBezTo>
                  <a:cubicBezTo>
                    <a:pt x="89895" y="12291"/>
                    <a:pt x="92404" y="11320"/>
                    <a:pt x="93031" y="10997"/>
                  </a:cubicBezTo>
                  <a:cubicBezTo>
                    <a:pt x="93658" y="10835"/>
                    <a:pt x="93449" y="10026"/>
                    <a:pt x="93449" y="9541"/>
                  </a:cubicBezTo>
                  <a:cubicBezTo>
                    <a:pt x="93449" y="8894"/>
                    <a:pt x="93867" y="7601"/>
                    <a:pt x="93658" y="6954"/>
                  </a:cubicBezTo>
                  <a:cubicBezTo>
                    <a:pt x="93658" y="6307"/>
                    <a:pt x="92195" y="7439"/>
                    <a:pt x="91149" y="7439"/>
                  </a:cubicBezTo>
                  <a:cubicBezTo>
                    <a:pt x="90104" y="7439"/>
                    <a:pt x="91567" y="5498"/>
                    <a:pt x="91777" y="5013"/>
                  </a:cubicBezTo>
                  <a:cubicBezTo>
                    <a:pt x="92195" y="4528"/>
                    <a:pt x="89686" y="3234"/>
                    <a:pt x="89477" y="2911"/>
                  </a:cubicBezTo>
                  <a:cubicBezTo>
                    <a:pt x="89268" y="2587"/>
                    <a:pt x="88850" y="2264"/>
                    <a:pt x="88850" y="2264"/>
                  </a:cubicBezTo>
                  <a:cubicBezTo>
                    <a:pt x="89059" y="1778"/>
                    <a:pt x="89477" y="0"/>
                    <a:pt x="88641" y="485"/>
                  </a:cubicBezTo>
                  <a:cubicBezTo>
                    <a:pt x="87595" y="1132"/>
                    <a:pt x="87386" y="1293"/>
                    <a:pt x="86759" y="1455"/>
                  </a:cubicBezTo>
                  <a:cubicBezTo>
                    <a:pt x="86341" y="1617"/>
                    <a:pt x="85505" y="1778"/>
                    <a:pt x="85087" y="2102"/>
                  </a:cubicBezTo>
                  <a:cubicBezTo>
                    <a:pt x="84878" y="2425"/>
                    <a:pt x="82996" y="4690"/>
                    <a:pt x="82578" y="4690"/>
                  </a:cubicBezTo>
                  <a:cubicBezTo>
                    <a:pt x="81951" y="4690"/>
                    <a:pt x="80487" y="4851"/>
                    <a:pt x="79860" y="5175"/>
                  </a:cubicBezTo>
                  <a:cubicBezTo>
                    <a:pt x="79233" y="5336"/>
                    <a:pt x="77351" y="6145"/>
                    <a:pt x="76933" y="6630"/>
                  </a:cubicBezTo>
                  <a:cubicBezTo>
                    <a:pt x="76306" y="6954"/>
                    <a:pt x="74843" y="8409"/>
                    <a:pt x="74634" y="9056"/>
                  </a:cubicBezTo>
                  <a:cubicBezTo>
                    <a:pt x="74634" y="9703"/>
                    <a:pt x="74843" y="10673"/>
                    <a:pt x="74006" y="10673"/>
                  </a:cubicBezTo>
                  <a:cubicBezTo>
                    <a:pt x="73379" y="10673"/>
                    <a:pt x="72125" y="11320"/>
                    <a:pt x="72961" y="11644"/>
                  </a:cubicBezTo>
                  <a:cubicBezTo>
                    <a:pt x="73588" y="11967"/>
                    <a:pt x="75261" y="11805"/>
                    <a:pt x="74634" y="12291"/>
                  </a:cubicBezTo>
                  <a:cubicBezTo>
                    <a:pt x="74006" y="12614"/>
                    <a:pt x="72961" y="12938"/>
                    <a:pt x="72752" y="13423"/>
                  </a:cubicBezTo>
                  <a:cubicBezTo>
                    <a:pt x="72334" y="13746"/>
                    <a:pt x="70871" y="15525"/>
                    <a:pt x="71916" y="15849"/>
                  </a:cubicBezTo>
                  <a:cubicBezTo>
                    <a:pt x="72961" y="16010"/>
                    <a:pt x="76515" y="16657"/>
                    <a:pt x="77560" y="16495"/>
                  </a:cubicBezTo>
                  <a:cubicBezTo>
                    <a:pt x="78606" y="16495"/>
                    <a:pt x="81324" y="15363"/>
                    <a:pt x="81533" y="16010"/>
                  </a:cubicBezTo>
                  <a:cubicBezTo>
                    <a:pt x="81533" y="16657"/>
                    <a:pt x="81951" y="17304"/>
                    <a:pt x="81114" y="17628"/>
                  </a:cubicBezTo>
                  <a:cubicBezTo>
                    <a:pt x="80278" y="17951"/>
                    <a:pt x="78606" y="18436"/>
                    <a:pt x="78397" y="18760"/>
                  </a:cubicBezTo>
                  <a:cubicBezTo>
                    <a:pt x="77979" y="19083"/>
                    <a:pt x="76724" y="20700"/>
                    <a:pt x="75888" y="20215"/>
                  </a:cubicBezTo>
                  <a:cubicBezTo>
                    <a:pt x="75261" y="19892"/>
                    <a:pt x="73170" y="18921"/>
                    <a:pt x="72543" y="18921"/>
                  </a:cubicBezTo>
                  <a:cubicBezTo>
                    <a:pt x="71707" y="19083"/>
                    <a:pt x="70662" y="19730"/>
                    <a:pt x="69616" y="19245"/>
                  </a:cubicBezTo>
                  <a:cubicBezTo>
                    <a:pt x="68571" y="18760"/>
                    <a:pt x="67944" y="18113"/>
                    <a:pt x="66898" y="18274"/>
                  </a:cubicBezTo>
                  <a:cubicBezTo>
                    <a:pt x="65853" y="18436"/>
                    <a:pt x="62508" y="19407"/>
                    <a:pt x="62090" y="19730"/>
                  </a:cubicBezTo>
                  <a:cubicBezTo>
                    <a:pt x="61672" y="20215"/>
                    <a:pt x="59372" y="22156"/>
                    <a:pt x="58327" y="22318"/>
                  </a:cubicBezTo>
                  <a:cubicBezTo>
                    <a:pt x="57282" y="22318"/>
                    <a:pt x="54146" y="22964"/>
                    <a:pt x="53728" y="23611"/>
                  </a:cubicBezTo>
                  <a:cubicBezTo>
                    <a:pt x="53310" y="24420"/>
                    <a:pt x="52055" y="26037"/>
                    <a:pt x="51010" y="26199"/>
                  </a:cubicBezTo>
                  <a:cubicBezTo>
                    <a:pt x="49965" y="26361"/>
                    <a:pt x="48710" y="27008"/>
                    <a:pt x="48083" y="27331"/>
                  </a:cubicBezTo>
                  <a:cubicBezTo>
                    <a:pt x="47247" y="27654"/>
                    <a:pt x="43484" y="31051"/>
                    <a:pt x="42857" y="31374"/>
                  </a:cubicBezTo>
                  <a:cubicBezTo>
                    <a:pt x="42229" y="31698"/>
                    <a:pt x="37839" y="33477"/>
                    <a:pt x="37003" y="33962"/>
                  </a:cubicBezTo>
                  <a:cubicBezTo>
                    <a:pt x="35958" y="34285"/>
                    <a:pt x="33867" y="34770"/>
                    <a:pt x="33240" y="35417"/>
                  </a:cubicBezTo>
                  <a:cubicBezTo>
                    <a:pt x="32613" y="35902"/>
                    <a:pt x="23205" y="43018"/>
                    <a:pt x="22996" y="43504"/>
                  </a:cubicBezTo>
                  <a:cubicBezTo>
                    <a:pt x="22578" y="44150"/>
                    <a:pt x="22160" y="45606"/>
                    <a:pt x="21951" y="46253"/>
                  </a:cubicBezTo>
                  <a:cubicBezTo>
                    <a:pt x="21533" y="46900"/>
                    <a:pt x="20696" y="47708"/>
                    <a:pt x="20487" y="48032"/>
                  </a:cubicBezTo>
                  <a:cubicBezTo>
                    <a:pt x="20069" y="48517"/>
                    <a:pt x="19024" y="49649"/>
                    <a:pt x="18606" y="50296"/>
                  </a:cubicBezTo>
                  <a:cubicBezTo>
                    <a:pt x="18188" y="50943"/>
                    <a:pt x="18188" y="51266"/>
                    <a:pt x="18397" y="51913"/>
                  </a:cubicBezTo>
                  <a:cubicBezTo>
                    <a:pt x="18606" y="52398"/>
                    <a:pt x="19651" y="53854"/>
                    <a:pt x="18606" y="53854"/>
                  </a:cubicBezTo>
                  <a:cubicBezTo>
                    <a:pt x="17770" y="53854"/>
                    <a:pt x="16933" y="53692"/>
                    <a:pt x="16097" y="54016"/>
                  </a:cubicBezTo>
                  <a:cubicBezTo>
                    <a:pt x="15261" y="54177"/>
                    <a:pt x="14634" y="54663"/>
                    <a:pt x="14634" y="55148"/>
                  </a:cubicBezTo>
                  <a:cubicBezTo>
                    <a:pt x="14634" y="55633"/>
                    <a:pt x="14843" y="57088"/>
                    <a:pt x="14216" y="57250"/>
                  </a:cubicBezTo>
                  <a:cubicBezTo>
                    <a:pt x="13379" y="57412"/>
                    <a:pt x="11916" y="58221"/>
                    <a:pt x="11498" y="58706"/>
                  </a:cubicBezTo>
                  <a:cubicBezTo>
                    <a:pt x="11289" y="59191"/>
                    <a:pt x="10452" y="61455"/>
                    <a:pt x="11080" y="61617"/>
                  </a:cubicBezTo>
                  <a:cubicBezTo>
                    <a:pt x="11707" y="61778"/>
                    <a:pt x="13588" y="61455"/>
                    <a:pt x="13797" y="61940"/>
                  </a:cubicBezTo>
                  <a:cubicBezTo>
                    <a:pt x="14216" y="62587"/>
                    <a:pt x="14634" y="63396"/>
                    <a:pt x="15261" y="63396"/>
                  </a:cubicBezTo>
                  <a:cubicBezTo>
                    <a:pt x="16097" y="63396"/>
                    <a:pt x="17979" y="62911"/>
                    <a:pt x="18606" y="63072"/>
                  </a:cubicBezTo>
                  <a:cubicBezTo>
                    <a:pt x="19233" y="63396"/>
                    <a:pt x="22996" y="64690"/>
                    <a:pt x="23832" y="64690"/>
                  </a:cubicBezTo>
                  <a:cubicBezTo>
                    <a:pt x="24668" y="64690"/>
                    <a:pt x="24878" y="64851"/>
                    <a:pt x="25296" y="65336"/>
                  </a:cubicBezTo>
                  <a:cubicBezTo>
                    <a:pt x="25714" y="65660"/>
                    <a:pt x="26341" y="66469"/>
                    <a:pt x="25923" y="66954"/>
                  </a:cubicBezTo>
                  <a:cubicBezTo>
                    <a:pt x="25714" y="67439"/>
                    <a:pt x="25714" y="68409"/>
                    <a:pt x="25087" y="68571"/>
                  </a:cubicBezTo>
                  <a:cubicBezTo>
                    <a:pt x="24459" y="68733"/>
                    <a:pt x="21324" y="69056"/>
                    <a:pt x="20696" y="69380"/>
                  </a:cubicBezTo>
                  <a:cubicBezTo>
                    <a:pt x="19860" y="69703"/>
                    <a:pt x="17142" y="70835"/>
                    <a:pt x="16515" y="70835"/>
                  </a:cubicBezTo>
                  <a:cubicBezTo>
                    <a:pt x="15679" y="70835"/>
                    <a:pt x="13797" y="70997"/>
                    <a:pt x="13379" y="70835"/>
                  </a:cubicBezTo>
                  <a:cubicBezTo>
                    <a:pt x="12961" y="70512"/>
                    <a:pt x="10871" y="69380"/>
                    <a:pt x="11498" y="68894"/>
                  </a:cubicBezTo>
                  <a:cubicBezTo>
                    <a:pt x="12125" y="68571"/>
                    <a:pt x="13379" y="67762"/>
                    <a:pt x="12961" y="67439"/>
                  </a:cubicBezTo>
                  <a:cubicBezTo>
                    <a:pt x="12543" y="67115"/>
                    <a:pt x="10871" y="65013"/>
                    <a:pt x="10243" y="65498"/>
                  </a:cubicBezTo>
                  <a:cubicBezTo>
                    <a:pt x="9616" y="65983"/>
                    <a:pt x="7108" y="68086"/>
                    <a:pt x="7735" y="68733"/>
                  </a:cubicBezTo>
                  <a:cubicBezTo>
                    <a:pt x="8153" y="69541"/>
                    <a:pt x="8780" y="70188"/>
                    <a:pt x="8780" y="70673"/>
                  </a:cubicBezTo>
                  <a:cubicBezTo>
                    <a:pt x="8780" y="71159"/>
                    <a:pt x="8571" y="72452"/>
                    <a:pt x="9407" y="72938"/>
                  </a:cubicBezTo>
                  <a:cubicBezTo>
                    <a:pt x="10034" y="73584"/>
                    <a:pt x="9825" y="73908"/>
                    <a:pt x="9825" y="74555"/>
                  </a:cubicBezTo>
                  <a:cubicBezTo>
                    <a:pt x="9616" y="75202"/>
                    <a:pt x="9198" y="76657"/>
                    <a:pt x="8362" y="76981"/>
                  </a:cubicBezTo>
                  <a:cubicBezTo>
                    <a:pt x="7735" y="77304"/>
                    <a:pt x="6062" y="78113"/>
                    <a:pt x="5853" y="78598"/>
                  </a:cubicBezTo>
                  <a:cubicBezTo>
                    <a:pt x="5853" y="79083"/>
                    <a:pt x="5853" y="80377"/>
                    <a:pt x="5435" y="80700"/>
                  </a:cubicBezTo>
                  <a:cubicBezTo>
                    <a:pt x="5017" y="80862"/>
                    <a:pt x="4181" y="82156"/>
                    <a:pt x="3554" y="82156"/>
                  </a:cubicBezTo>
                  <a:cubicBezTo>
                    <a:pt x="2717" y="82156"/>
                    <a:pt x="1881" y="81832"/>
                    <a:pt x="1463" y="82318"/>
                  </a:cubicBezTo>
                  <a:cubicBezTo>
                    <a:pt x="836" y="82641"/>
                    <a:pt x="0" y="83611"/>
                    <a:pt x="0" y="84258"/>
                  </a:cubicBezTo>
                  <a:cubicBezTo>
                    <a:pt x="0" y="84743"/>
                    <a:pt x="418" y="86361"/>
                    <a:pt x="209" y="87169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0" name="Shape 6934">
              <a:extLst>
                <a:ext uri="{FF2B5EF4-FFF2-40B4-BE49-F238E27FC236}">
                  <a16:creationId xmlns:a16="http://schemas.microsoft.com/office/drawing/2014/main" id="{4F5F30BA-FAE9-45D3-AE4A-B2FA96893FE0}"/>
                </a:ext>
              </a:extLst>
            </p:cNvPr>
            <p:cNvSpPr/>
            <p:nvPr/>
          </p:nvSpPr>
          <p:spPr>
            <a:xfrm>
              <a:off x="5228973" y="1704375"/>
              <a:ext cx="2130104" cy="2491556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5330" y="37477"/>
                  </a:moveTo>
                  <a:cubicBezTo>
                    <a:pt x="5113" y="37657"/>
                    <a:pt x="4460" y="38558"/>
                    <a:pt x="4351" y="38738"/>
                  </a:cubicBezTo>
                  <a:cubicBezTo>
                    <a:pt x="4242" y="38918"/>
                    <a:pt x="3590" y="38828"/>
                    <a:pt x="3263" y="38558"/>
                  </a:cubicBezTo>
                  <a:cubicBezTo>
                    <a:pt x="3046" y="38468"/>
                    <a:pt x="2502" y="38378"/>
                    <a:pt x="1740" y="38288"/>
                  </a:cubicBezTo>
                  <a:cubicBezTo>
                    <a:pt x="1740" y="38378"/>
                    <a:pt x="1740" y="38378"/>
                    <a:pt x="1740" y="38378"/>
                  </a:cubicBezTo>
                  <a:cubicBezTo>
                    <a:pt x="1740" y="38648"/>
                    <a:pt x="1740" y="38918"/>
                    <a:pt x="1849" y="39009"/>
                  </a:cubicBezTo>
                  <a:cubicBezTo>
                    <a:pt x="1849" y="39009"/>
                    <a:pt x="1958" y="39099"/>
                    <a:pt x="2067" y="39189"/>
                  </a:cubicBezTo>
                  <a:cubicBezTo>
                    <a:pt x="2284" y="39369"/>
                    <a:pt x="2502" y="39549"/>
                    <a:pt x="2502" y="39729"/>
                  </a:cubicBezTo>
                  <a:cubicBezTo>
                    <a:pt x="2502" y="40090"/>
                    <a:pt x="2502" y="40540"/>
                    <a:pt x="2175" y="40630"/>
                  </a:cubicBezTo>
                  <a:cubicBezTo>
                    <a:pt x="1958" y="40720"/>
                    <a:pt x="1958" y="40810"/>
                    <a:pt x="1958" y="40900"/>
                  </a:cubicBezTo>
                  <a:cubicBezTo>
                    <a:pt x="2067" y="40990"/>
                    <a:pt x="2393" y="41351"/>
                    <a:pt x="2611" y="41711"/>
                  </a:cubicBezTo>
                  <a:cubicBezTo>
                    <a:pt x="2937" y="42162"/>
                    <a:pt x="3046" y="42252"/>
                    <a:pt x="3046" y="42342"/>
                  </a:cubicBezTo>
                  <a:cubicBezTo>
                    <a:pt x="3046" y="42432"/>
                    <a:pt x="3155" y="42432"/>
                    <a:pt x="3155" y="42522"/>
                  </a:cubicBezTo>
                  <a:cubicBezTo>
                    <a:pt x="3263" y="42612"/>
                    <a:pt x="3372" y="42702"/>
                    <a:pt x="3372" y="42882"/>
                  </a:cubicBezTo>
                  <a:cubicBezTo>
                    <a:pt x="3372" y="42882"/>
                    <a:pt x="3372" y="43063"/>
                    <a:pt x="3372" y="43153"/>
                  </a:cubicBezTo>
                  <a:cubicBezTo>
                    <a:pt x="3372" y="43423"/>
                    <a:pt x="3263" y="44144"/>
                    <a:pt x="3372" y="44324"/>
                  </a:cubicBezTo>
                  <a:cubicBezTo>
                    <a:pt x="3590" y="44684"/>
                    <a:pt x="3807" y="44954"/>
                    <a:pt x="4025" y="45045"/>
                  </a:cubicBezTo>
                  <a:cubicBezTo>
                    <a:pt x="4025" y="45045"/>
                    <a:pt x="4134" y="45045"/>
                    <a:pt x="4242" y="45045"/>
                  </a:cubicBezTo>
                  <a:cubicBezTo>
                    <a:pt x="4895" y="45225"/>
                    <a:pt x="5330" y="45405"/>
                    <a:pt x="5330" y="45585"/>
                  </a:cubicBezTo>
                  <a:cubicBezTo>
                    <a:pt x="5330" y="45765"/>
                    <a:pt x="5330" y="45765"/>
                    <a:pt x="5330" y="45765"/>
                  </a:cubicBezTo>
                  <a:cubicBezTo>
                    <a:pt x="5330" y="45855"/>
                    <a:pt x="5330" y="46036"/>
                    <a:pt x="5439" y="46126"/>
                  </a:cubicBezTo>
                  <a:cubicBezTo>
                    <a:pt x="5439" y="46216"/>
                    <a:pt x="5766" y="46396"/>
                    <a:pt x="6092" y="46576"/>
                  </a:cubicBezTo>
                  <a:cubicBezTo>
                    <a:pt x="8377" y="48018"/>
                    <a:pt x="8485" y="48198"/>
                    <a:pt x="8377" y="48378"/>
                  </a:cubicBezTo>
                  <a:cubicBezTo>
                    <a:pt x="8377" y="48648"/>
                    <a:pt x="8268" y="49549"/>
                    <a:pt x="8377" y="49729"/>
                  </a:cubicBezTo>
                  <a:cubicBezTo>
                    <a:pt x="8485" y="49819"/>
                    <a:pt x="8594" y="50000"/>
                    <a:pt x="8703" y="50360"/>
                  </a:cubicBezTo>
                  <a:cubicBezTo>
                    <a:pt x="8921" y="50630"/>
                    <a:pt x="9138" y="51261"/>
                    <a:pt x="9356" y="51351"/>
                  </a:cubicBezTo>
                  <a:cubicBezTo>
                    <a:pt x="9900" y="51351"/>
                    <a:pt x="10553" y="51441"/>
                    <a:pt x="10661" y="51801"/>
                  </a:cubicBezTo>
                  <a:cubicBezTo>
                    <a:pt x="10661" y="51801"/>
                    <a:pt x="10661" y="51891"/>
                    <a:pt x="10770" y="51981"/>
                  </a:cubicBezTo>
                  <a:cubicBezTo>
                    <a:pt x="10879" y="52252"/>
                    <a:pt x="10988" y="52702"/>
                    <a:pt x="10661" y="52882"/>
                  </a:cubicBezTo>
                  <a:cubicBezTo>
                    <a:pt x="10553" y="52882"/>
                    <a:pt x="10444" y="52882"/>
                    <a:pt x="10444" y="52972"/>
                  </a:cubicBezTo>
                  <a:cubicBezTo>
                    <a:pt x="10335" y="52972"/>
                    <a:pt x="10226" y="52972"/>
                    <a:pt x="10117" y="52972"/>
                  </a:cubicBezTo>
                  <a:cubicBezTo>
                    <a:pt x="10117" y="53243"/>
                    <a:pt x="9465" y="54234"/>
                    <a:pt x="9138" y="54594"/>
                  </a:cubicBezTo>
                  <a:cubicBezTo>
                    <a:pt x="8921" y="54684"/>
                    <a:pt x="8594" y="54954"/>
                    <a:pt x="8159" y="55225"/>
                  </a:cubicBezTo>
                  <a:cubicBezTo>
                    <a:pt x="7833" y="55405"/>
                    <a:pt x="7180" y="55765"/>
                    <a:pt x="7180" y="55945"/>
                  </a:cubicBezTo>
                  <a:cubicBezTo>
                    <a:pt x="7180" y="55945"/>
                    <a:pt x="7180" y="56036"/>
                    <a:pt x="7180" y="56216"/>
                  </a:cubicBezTo>
                  <a:cubicBezTo>
                    <a:pt x="7289" y="57657"/>
                    <a:pt x="7289" y="58108"/>
                    <a:pt x="6962" y="58198"/>
                  </a:cubicBezTo>
                  <a:cubicBezTo>
                    <a:pt x="6854" y="58288"/>
                    <a:pt x="6745" y="58288"/>
                    <a:pt x="6636" y="58288"/>
                  </a:cubicBezTo>
                  <a:cubicBezTo>
                    <a:pt x="6418" y="58378"/>
                    <a:pt x="5983" y="58378"/>
                    <a:pt x="5983" y="58558"/>
                  </a:cubicBezTo>
                  <a:cubicBezTo>
                    <a:pt x="5657" y="59369"/>
                    <a:pt x="5766" y="59549"/>
                    <a:pt x="5766" y="59549"/>
                  </a:cubicBezTo>
                  <a:cubicBezTo>
                    <a:pt x="5874" y="59639"/>
                    <a:pt x="5874" y="59639"/>
                    <a:pt x="5874" y="59639"/>
                  </a:cubicBezTo>
                  <a:cubicBezTo>
                    <a:pt x="6201" y="59819"/>
                    <a:pt x="6527" y="60000"/>
                    <a:pt x="6527" y="60360"/>
                  </a:cubicBezTo>
                  <a:cubicBezTo>
                    <a:pt x="6527" y="60450"/>
                    <a:pt x="6418" y="61981"/>
                    <a:pt x="5983" y="62252"/>
                  </a:cubicBezTo>
                  <a:cubicBezTo>
                    <a:pt x="5874" y="62342"/>
                    <a:pt x="5766" y="62342"/>
                    <a:pt x="5657" y="62342"/>
                  </a:cubicBezTo>
                  <a:cubicBezTo>
                    <a:pt x="5548" y="62342"/>
                    <a:pt x="5330" y="62252"/>
                    <a:pt x="5113" y="62252"/>
                  </a:cubicBezTo>
                  <a:cubicBezTo>
                    <a:pt x="4786" y="62162"/>
                    <a:pt x="4134" y="62072"/>
                    <a:pt x="3916" y="62072"/>
                  </a:cubicBezTo>
                  <a:cubicBezTo>
                    <a:pt x="3699" y="62162"/>
                    <a:pt x="3263" y="62342"/>
                    <a:pt x="3046" y="62522"/>
                  </a:cubicBezTo>
                  <a:cubicBezTo>
                    <a:pt x="2937" y="62702"/>
                    <a:pt x="1958" y="63873"/>
                    <a:pt x="1740" y="63963"/>
                  </a:cubicBezTo>
                  <a:cubicBezTo>
                    <a:pt x="1740" y="64054"/>
                    <a:pt x="1523" y="64144"/>
                    <a:pt x="1196" y="64234"/>
                  </a:cubicBezTo>
                  <a:cubicBezTo>
                    <a:pt x="870" y="64324"/>
                    <a:pt x="326" y="64504"/>
                    <a:pt x="217" y="64594"/>
                  </a:cubicBezTo>
                  <a:cubicBezTo>
                    <a:pt x="217" y="64684"/>
                    <a:pt x="217" y="64684"/>
                    <a:pt x="217" y="64774"/>
                  </a:cubicBezTo>
                  <a:cubicBezTo>
                    <a:pt x="108" y="64954"/>
                    <a:pt x="0" y="65045"/>
                    <a:pt x="217" y="65315"/>
                  </a:cubicBezTo>
                  <a:cubicBezTo>
                    <a:pt x="217" y="65495"/>
                    <a:pt x="326" y="65585"/>
                    <a:pt x="435" y="65765"/>
                  </a:cubicBezTo>
                  <a:cubicBezTo>
                    <a:pt x="543" y="66126"/>
                    <a:pt x="761" y="66666"/>
                    <a:pt x="979" y="66756"/>
                  </a:cubicBezTo>
                  <a:cubicBezTo>
                    <a:pt x="979" y="66756"/>
                    <a:pt x="1196" y="66846"/>
                    <a:pt x="1305" y="66936"/>
                  </a:cubicBezTo>
                  <a:cubicBezTo>
                    <a:pt x="1958" y="67387"/>
                    <a:pt x="2393" y="67657"/>
                    <a:pt x="2393" y="67927"/>
                  </a:cubicBezTo>
                  <a:cubicBezTo>
                    <a:pt x="2393" y="69099"/>
                    <a:pt x="2502" y="69549"/>
                    <a:pt x="2502" y="69639"/>
                  </a:cubicBezTo>
                  <a:cubicBezTo>
                    <a:pt x="2611" y="70000"/>
                    <a:pt x="3263" y="70990"/>
                    <a:pt x="3481" y="71261"/>
                  </a:cubicBezTo>
                  <a:cubicBezTo>
                    <a:pt x="3699" y="71621"/>
                    <a:pt x="3807" y="71891"/>
                    <a:pt x="3807" y="72252"/>
                  </a:cubicBezTo>
                  <a:cubicBezTo>
                    <a:pt x="3807" y="72432"/>
                    <a:pt x="3807" y="72612"/>
                    <a:pt x="3916" y="72792"/>
                  </a:cubicBezTo>
                  <a:cubicBezTo>
                    <a:pt x="3916" y="72972"/>
                    <a:pt x="3916" y="73063"/>
                    <a:pt x="3916" y="73153"/>
                  </a:cubicBezTo>
                  <a:cubicBezTo>
                    <a:pt x="3916" y="73153"/>
                    <a:pt x="4025" y="73423"/>
                    <a:pt x="4025" y="73783"/>
                  </a:cubicBezTo>
                  <a:cubicBezTo>
                    <a:pt x="4678" y="76396"/>
                    <a:pt x="4678" y="76846"/>
                    <a:pt x="4351" y="76936"/>
                  </a:cubicBezTo>
                  <a:cubicBezTo>
                    <a:pt x="4242" y="77027"/>
                    <a:pt x="4134" y="77027"/>
                    <a:pt x="3916" y="77027"/>
                  </a:cubicBezTo>
                  <a:cubicBezTo>
                    <a:pt x="3699" y="77027"/>
                    <a:pt x="3263" y="77117"/>
                    <a:pt x="3155" y="77207"/>
                  </a:cubicBezTo>
                  <a:cubicBezTo>
                    <a:pt x="3046" y="77837"/>
                    <a:pt x="2828" y="78198"/>
                    <a:pt x="2611" y="78378"/>
                  </a:cubicBezTo>
                  <a:cubicBezTo>
                    <a:pt x="2502" y="78378"/>
                    <a:pt x="2284" y="78378"/>
                    <a:pt x="2175" y="78468"/>
                  </a:cubicBezTo>
                  <a:cubicBezTo>
                    <a:pt x="2067" y="78468"/>
                    <a:pt x="1958" y="78468"/>
                    <a:pt x="1958" y="78558"/>
                  </a:cubicBezTo>
                  <a:cubicBezTo>
                    <a:pt x="1849" y="78558"/>
                    <a:pt x="1849" y="78648"/>
                    <a:pt x="1849" y="78738"/>
                  </a:cubicBezTo>
                  <a:cubicBezTo>
                    <a:pt x="1958" y="79009"/>
                    <a:pt x="1958" y="79279"/>
                    <a:pt x="1958" y="79459"/>
                  </a:cubicBezTo>
                  <a:cubicBezTo>
                    <a:pt x="1958" y="79549"/>
                    <a:pt x="1958" y="79639"/>
                    <a:pt x="1958" y="79729"/>
                  </a:cubicBezTo>
                  <a:cubicBezTo>
                    <a:pt x="2067" y="79729"/>
                    <a:pt x="2067" y="79729"/>
                    <a:pt x="2175" y="79639"/>
                  </a:cubicBezTo>
                  <a:cubicBezTo>
                    <a:pt x="2611" y="79459"/>
                    <a:pt x="2937" y="79369"/>
                    <a:pt x="3155" y="79459"/>
                  </a:cubicBezTo>
                  <a:cubicBezTo>
                    <a:pt x="3155" y="79459"/>
                    <a:pt x="3263" y="79549"/>
                    <a:pt x="3372" y="79549"/>
                  </a:cubicBezTo>
                  <a:cubicBezTo>
                    <a:pt x="3699" y="79639"/>
                    <a:pt x="4351" y="79729"/>
                    <a:pt x="4351" y="80090"/>
                  </a:cubicBezTo>
                  <a:cubicBezTo>
                    <a:pt x="4351" y="80270"/>
                    <a:pt x="4242" y="80360"/>
                    <a:pt x="4242" y="80450"/>
                  </a:cubicBezTo>
                  <a:cubicBezTo>
                    <a:pt x="4134" y="80630"/>
                    <a:pt x="4134" y="80630"/>
                    <a:pt x="4242" y="80720"/>
                  </a:cubicBezTo>
                  <a:cubicBezTo>
                    <a:pt x="4351" y="80720"/>
                    <a:pt x="4351" y="80720"/>
                    <a:pt x="4351" y="80720"/>
                  </a:cubicBezTo>
                  <a:cubicBezTo>
                    <a:pt x="4569" y="80990"/>
                    <a:pt x="4895" y="81171"/>
                    <a:pt x="4786" y="81441"/>
                  </a:cubicBezTo>
                  <a:cubicBezTo>
                    <a:pt x="4786" y="81441"/>
                    <a:pt x="4786" y="81531"/>
                    <a:pt x="4569" y="81621"/>
                  </a:cubicBezTo>
                  <a:cubicBezTo>
                    <a:pt x="4460" y="81621"/>
                    <a:pt x="4351" y="81711"/>
                    <a:pt x="4351" y="81891"/>
                  </a:cubicBezTo>
                  <a:cubicBezTo>
                    <a:pt x="4351" y="82072"/>
                    <a:pt x="4242" y="82162"/>
                    <a:pt x="4242" y="82252"/>
                  </a:cubicBezTo>
                  <a:cubicBezTo>
                    <a:pt x="4134" y="82612"/>
                    <a:pt x="4025" y="82792"/>
                    <a:pt x="4134" y="82792"/>
                  </a:cubicBezTo>
                  <a:cubicBezTo>
                    <a:pt x="4242" y="82882"/>
                    <a:pt x="4351" y="82882"/>
                    <a:pt x="4569" y="82882"/>
                  </a:cubicBezTo>
                  <a:cubicBezTo>
                    <a:pt x="5004" y="83063"/>
                    <a:pt x="5548" y="83153"/>
                    <a:pt x="5548" y="83423"/>
                  </a:cubicBezTo>
                  <a:cubicBezTo>
                    <a:pt x="5548" y="83603"/>
                    <a:pt x="5983" y="85045"/>
                    <a:pt x="6092" y="85225"/>
                  </a:cubicBezTo>
                  <a:cubicBezTo>
                    <a:pt x="6092" y="85225"/>
                    <a:pt x="6310" y="85405"/>
                    <a:pt x="6418" y="85495"/>
                  </a:cubicBezTo>
                  <a:cubicBezTo>
                    <a:pt x="7289" y="86216"/>
                    <a:pt x="7615" y="86486"/>
                    <a:pt x="7506" y="86756"/>
                  </a:cubicBezTo>
                  <a:cubicBezTo>
                    <a:pt x="7506" y="87027"/>
                    <a:pt x="6854" y="88108"/>
                    <a:pt x="6745" y="88378"/>
                  </a:cubicBezTo>
                  <a:cubicBezTo>
                    <a:pt x="6636" y="88378"/>
                    <a:pt x="6527" y="88468"/>
                    <a:pt x="6418" y="88558"/>
                  </a:cubicBezTo>
                  <a:cubicBezTo>
                    <a:pt x="6310" y="88648"/>
                    <a:pt x="6201" y="88738"/>
                    <a:pt x="6201" y="88738"/>
                  </a:cubicBezTo>
                  <a:cubicBezTo>
                    <a:pt x="6310" y="88828"/>
                    <a:pt x="6310" y="88918"/>
                    <a:pt x="6310" y="89009"/>
                  </a:cubicBezTo>
                  <a:cubicBezTo>
                    <a:pt x="6418" y="89369"/>
                    <a:pt x="6636" y="89729"/>
                    <a:pt x="6636" y="89909"/>
                  </a:cubicBezTo>
                  <a:cubicBezTo>
                    <a:pt x="6636" y="90000"/>
                    <a:pt x="6636" y="90090"/>
                    <a:pt x="6636" y="90180"/>
                  </a:cubicBezTo>
                  <a:cubicBezTo>
                    <a:pt x="6636" y="90360"/>
                    <a:pt x="6636" y="90630"/>
                    <a:pt x="6527" y="90810"/>
                  </a:cubicBezTo>
                  <a:cubicBezTo>
                    <a:pt x="6418" y="90900"/>
                    <a:pt x="6418" y="90990"/>
                    <a:pt x="6310" y="90990"/>
                  </a:cubicBezTo>
                  <a:cubicBezTo>
                    <a:pt x="6201" y="91171"/>
                    <a:pt x="6201" y="91171"/>
                    <a:pt x="6201" y="91261"/>
                  </a:cubicBezTo>
                  <a:cubicBezTo>
                    <a:pt x="6201" y="91351"/>
                    <a:pt x="6092" y="91531"/>
                    <a:pt x="6092" y="91621"/>
                  </a:cubicBezTo>
                  <a:cubicBezTo>
                    <a:pt x="6092" y="91801"/>
                    <a:pt x="5983" y="92162"/>
                    <a:pt x="6092" y="92342"/>
                  </a:cubicBezTo>
                  <a:cubicBezTo>
                    <a:pt x="6310" y="92522"/>
                    <a:pt x="7506" y="92792"/>
                    <a:pt x="7833" y="92702"/>
                  </a:cubicBezTo>
                  <a:cubicBezTo>
                    <a:pt x="7833" y="92612"/>
                    <a:pt x="7941" y="92522"/>
                    <a:pt x="7941" y="92432"/>
                  </a:cubicBezTo>
                  <a:cubicBezTo>
                    <a:pt x="8159" y="92252"/>
                    <a:pt x="8485" y="91981"/>
                    <a:pt x="8812" y="92072"/>
                  </a:cubicBezTo>
                  <a:cubicBezTo>
                    <a:pt x="9138" y="92072"/>
                    <a:pt x="9356" y="92252"/>
                    <a:pt x="9573" y="92432"/>
                  </a:cubicBezTo>
                  <a:cubicBezTo>
                    <a:pt x="9682" y="92522"/>
                    <a:pt x="9900" y="92612"/>
                    <a:pt x="9900" y="92612"/>
                  </a:cubicBezTo>
                  <a:cubicBezTo>
                    <a:pt x="10009" y="92612"/>
                    <a:pt x="10117" y="92522"/>
                    <a:pt x="10335" y="92432"/>
                  </a:cubicBezTo>
                  <a:cubicBezTo>
                    <a:pt x="10661" y="92252"/>
                    <a:pt x="11097" y="92072"/>
                    <a:pt x="11314" y="92252"/>
                  </a:cubicBezTo>
                  <a:cubicBezTo>
                    <a:pt x="11423" y="92252"/>
                    <a:pt x="11423" y="92252"/>
                    <a:pt x="11423" y="92342"/>
                  </a:cubicBezTo>
                  <a:cubicBezTo>
                    <a:pt x="11640" y="92432"/>
                    <a:pt x="11967" y="92612"/>
                    <a:pt x="12184" y="92612"/>
                  </a:cubicBezTo>
                  <a:cubicBezTo>
                    <a:pt x="12293" y="92522"/>
                    <a:pt x="12402" y="92432"/>
                    <a:pt x="12511" y="92252"/>
                  </a:cubicBezTo>
                  <a:cubicBezTo>
                    <a:pt x="12620" y="92072"/>
                    <a:pt x="12837" y="91891"/>
                    <a:pt x="13164" y="91891"/>
                  </a:cubicBezTo>
                  <a:cubicBezTo>
                    <a:pt x="13164" y="91891"/>
                    <a:pt x="13381" y="91891"/>
                    <a:pt x="13490" y="91891"/>
                  </a:cubicBezTo>
                  <a:cubicBezTo>
                    <a:pt x="13925" y="91801"/>
                    <a:pt x="14469" y="91801"/>
                    <a:pt x="14469" y="92162"/>
                  </a:cubicBezTo>
                  <a:cubicBezTo>
                    <a:pt x="14578" y="92252"/>
                    <a:pt x="14578" y="92522"/>
                    <a:pt x="14469" y="92792"/>
                  </a:cubicBezTo>
                  <a:cubicBezTo>
                    <a:pt x="15122" y="93153"/>
                    <a:pt x="15775" y="93603"/>
                    <a:pt x="15775" y="93873"/>
                  </a:cubicBezTo>
                  <a:cubicBezTo>
                    <a:pt x="15775" y="93963"/>
                    <a:pt x="15775" y="94054"/>
                    <a:pt x="15775" y="94054"/>
                  </a:cubicBezTo>
                  <a:cubicBezTo>
                    <a:pt x="15775" y="94324"/>
                    <a:pt x="15775" y="94594"/>
                    <a:pt x="15557" y="94774"/>
                  </a:cubicBezTo>
                  <a:cubicBezTo>
                    <a:pt x="15448" y="94774"/>
                    <a:pt x="15339" y="94774"/>
                    <a:pt x="15231" y="94864"/>
                  </a:cubicBezTo>
                  <a:cubicBezTo>
                    <a:pt x="15122" y="94864"/>
                    <a:pt x="14796" y="94954"/>
                    <a:pt x="14796" y="95045"/>
                  </a:cubicBezTo>
                  <a:cubicBezTo>
                    <a:pt x="14796" y="95225"/>
                    <a:pt x="14687" y="95675"/>
                    <a:pt x="14796" y="95855"/>
                  </a:cubicBezTo>
                  <a:cubicBezTo>
                    <a:pt x="15122" y="95855"/>
                    <a:pt x="15883" y="95765"/>
                    <a:pt x="16210" y="95675"/>
                  </a:cubicBezTo>
                  <a:cubicBezTo>
                    <a:pt x="16210" y="95675"/>
                    <a:pt x="16319" y="95675"/>
                    <a:pt x="16319" y="95585"/>
                  </a:cubicBezTo>
                  <a:cubicBezTo>
                    <a:pt x="16536" y="95585"/>
                    <a:pt x="16754" y="95495"/>
                    <a:pt x="17080" y="95675"/>
                  </a:cubicBezTo>
                  <a:cubicBezTo>
                    <a:pt x="17080" y="95675"/>
                    <a:pt x="18386" y="96126"/>
                    <a:pt x="18495" y="96396"/>
                  </a:cubicBezTo>
                  <a:cubicBezTo>
                    <a:pt x="18603" y="96576"/>
                    <a:pt x="19147" y="97657"/>
                    <a:pt x="19256" y="97927"/>
                  </a:cubicBezTo>
                  <a:cubicBezTo>
                    <a:pt x="19365" y="98018"/>
                    <a:pt x="19365" y="98108"/>
                    <a:pt x="19365" y="98288"/>
                  </a:cubicBezTo>
                  <a:cubicBezTo>
                    <a:pt x="19474" y="98558"/>
                    <a:pt x="19474" y="98918"/>
                    <a:pt x="19691" y="99009"/>
                  </a:cubicBezTo>
                  <a:cubicBezTo>
                    <a:pt x="19691" y="99099"/>
                    <a:pt x="19800" y="99099"/>
                    <a:pt x="19800" y="99099"/>
                  </a:cubicBezTo>
                  <a:cubicBezTo>
                    <a:pt x="20018" y="99189"/>
                    <a:pt x="20453" y="99369"/>
                    <a:pt x="20235" y="99729"/>
                  </a:cubicBezTo>
                  <a:cubicBezTo>
                    <a:pt x="20126" y="99909"/>
                    <a:pt x="20018" y="100000"/>
                    <a:pt x="19909" y="100000"/>
                  </a:cubicBezTo>
                  <a:cubicBezTo>
                    <a:pt x="19800" y="100090"/>
                    <a:pt x="19800" y="100090"/>
                    <a:pt x="19800" y="100270"/>
                  </a:cubicBezTo>
                  <a:cubicBezTo>
                    <a:pt x="19800" y="100540"/>
                    <a:pt x="19800" y="100720"/>
                    <a:pt x="19909" y="100810"/>
                  </a:cubicBezTo>
                  <a:cubicBezTo>
                    <a:pt x="20018" y="100810"/>
                    <a:pt x="20018" y="100900"/>
                    <a:pt x="20235" y="100900"/>
                  </a:cubicBezTo>
                  <a:cubicBezTo>
                    <a:pt x="20344" y="101081"/>
                    <a:pt x="20670" y="101171"/>
                    <a:pt x="20888" y="101171"/>
                  </a:cubicBezTo>
                  <a:cubicBezTo>
                    <a:pt x="20997" y="101171"/>
                    <a:pt x="20997" y="101171"/>
                    <a:pt x="20997" y="101171"/>
                  </a:cubicBezTo>
                  <a:cubicBezTo>
                    <a:pt x="21323" y="101171"/>
                    <a:pt x="21650" y="101171"/>
                    <a:pt x="21976" y="101351"/>
                  </a:cubicBezTo>
                  <a:cubicBezTo>
                    <a:pt x="22302" y="101531"/>
                    <a:pt x="22955" y="101891"/>
                    <a:pt x="22955" y="102252"/>
                  </a:cubicBezTo>
                  <a:cubicBezTo>
                    <a:pt x="22955" y="102342"/>
                    <a:pt x="22955" y="102342"/>
                    <a:pt x="22955" y="102342"/>
                  </a:cubicBezTo>
                  <a:cubicBezTo>
                    <a:pt x="22955" y="102972"/>
                    <a:pt x="22846" y="103333"/>
                    <a:pt x="22629" y="103513"/>
                  </a:cubicBezTo>
                  <a:cubicBezTo>
                    <a:pt x="22411" y="103603"/>
                    <a:pt x="22302" y="103783"/>
                    <a:pt x="22194" y="103873"/>
                  </a:cubicBezTo>
                  <a:cubicBezTo>
                    <a:pt x="22302" y="103873"/>
                    <a:pt x="22194" y="103963"/>
                    <a:pt x="22194" y="103963"/>
                  </a:cubicBezTo>
                  <a:cubicBezTo>
                    <a:pt x="22194" y="104144"/>
                    <a:pt x="22194" y="104504"/>
                    <a:pt x="22302" y="104594"/>
                  </a:cubicBezTo>
                  <a:cubicBezTo>
                    <a:pt x="22520" y="104774"/>
                    <a:pt x="22846" y="104954"/>
                    <a:pt x="23064" y="105495"/>
                  </a:cubicBezTo>
                  <a:cubicBezTo>
                    <a:pt x="23173" y="105585"/>
                    <a:pt x="23173" y="105855"/>
                    <a:pt x="23281" y="106036"/>
                  </a:cubicBezTo>
                  <a:cubicBezTo>
                    <a:pt x="23390" y="106306"/>
                    <a:pt x="23608" y="106846"/>
                    <a:pt x="23717" y="106936"/>
                  </a:cubicBezTo>
                  <a:cubicBezTo>
                    <a:pt x="23717" y="106936"/>
                    <a:pt x="23934" y="107027"/>
                    <a:pt x="24152" y="107027"/>
                  </a:cubicBezTo>
                  <a:cubicBezTo>
                    <a:pt x="25566" y="107387"/>
                    <a:pt x="25893" y="107567"/>
                    <a:pt x="25893" y="107747"/>
                  </a:cubicBezTo>
                  <a:cubicBezTo>
                    <a:pt x="25893" y="107927"/>
                    <a:pt x="25893" y="108288"/>
                    <a:pt x="25893" y="108828"/>
                  </a:cubicBezTo>
                  <a:cubicBezTo>
                    <a:pt x="25893" y="109369"/>
                    <a:pt x="25893" y="110000"/>
                    <a:pt x="25893" y="110090"/>
                  </a:cubicBezTo>
                  <a:cubicBezTo>
                    <a:pt x="25893" y="110270"/>
                    <a:pt x="25784" y="110900"/>
                    <a:pt x="25675" y="111621"/>
                  </a:cubicBezTo>
                  <a:cubicBezTo>
                    <a:pt x="25566" y="112342"/>
                    <a:pt x="25566" y="113153"/>
                    <a:pt x="25566" y="113333"/>
                  </a:cubicBezTo>
                  <a:cubicBezTo>
                    <a:pt x="25566" y="115675"/>
                    <a:pt x="25566" y="115675"/>
                    <a:pt x="25566" y="115675"/>
                  </a:cubicBezTo>
                  <a:cubicBezTo>
                    <a:pt x="25566" y="115675"/>
                    <a:pt x="25457" y="115765"/>
                    <a:pt x="25457" y="115855"/>
                  </a:cubicBezTo>
                  <a:cubicBezTo>
                    <a:pt x="25457" y="117117"/>
                    <a:pt x="25566" y="117477"/>
                    <a:pt x="25566" y="117567"/>
                  </a:cubicBezTo>
                  <a:cubicBezTo>
                    <a:pt x="25675" y="117567"/>
                    <a:pt x="25784" y="117657"/>
                    <a:pt x="26001" y="117837"/>
                  </a:cubicBezTo>
                  <a:cubicBezTo>
                    <a:pt x="26328" y="118108"/>
                    <a:pt x="27198" y="119009"/>
                    <a:pt x="27416" y="119009"/>
                  </a:cubicBezTo>
                  <a:cubicBezTo>
                    <a:pt x="27524" y="119009"/>
                    <a:pt x="27633" y="119099"/>
                    <a:pt x="27742" y="119099"/>
                  </a:cubicBezTo>
                  <a:cubicBezTo>
                    <a:pt x="27960" y="119099"/>
                    <a:pt x="28612" y="119099"/>
                    <a:pt x="28721" y="119009"/>
                  </a:cubicBezTo>
                  <a:cubicBezTo>
                    <a:pt x="28939" y="118918"/>
                    <a:pt x="29156" y="118468"/>
                    <a:pt x="29265" y="118108"/>
                  </a:cubicBezTo>
                  <a:cubicBezTo>
                    <a:pt x="29374" y="118108"/>
                    <a:pt x="29374" y="118108"/>
                    <a:pt x="29374" y="118108"/>
                  </a:cubicBezTo>
                  <a:cubicBezTo>
                    <a:pt x="29700" y="117297"/>
                    <a:pt x="30027" y="116936"/>
                    <a:pt x="30353" y="116936"/>
                  </a:cubicBezTo>
                  <a:cubicBezTo>
                    <a:pt x="30571" y="116936"/>
                    <a:pt x="31223" y="116846"/>
                    <a:pt x="31550" y="116756"/>
                  </a:cubicBezTo>
                  <a:cubicBezTo>
                    <a:pt x="31767" y="116666"/>
                    <a:pt x="31767" y="116666"/>
                    <a:pt x="31767" y="116666"/>
                  </a:cubicBezTo>
                  <a:cubicBezTo>
                    <a:pt x="33182" y="116306"/>
                    <a:pt x="33617" y="116126"/>
                    <a:pt x="33726" y="116036"/>
                  </a:cubicBezTo>
                  <a:cubicBezTo>
                    <a:pt x="33726" y="116036"/>
                    <a:pt x="33726" y="116036"/>
                    <a:pt x="33726" y="116036"/>
                  </a:cubicBezTo>
                  <a:cubicBezTo>
                    <a:pt x="33726" y="115675"/>
                    <a:pt x="33726" y="115045"/>
                    <a:pt x="34270" y="114954"/>
                  </a:cubicBezTo>
                  <a:cubicBezTo>
                    <a:pt x="34378" y="114954"/>
                    <a:pt x="34487" y="114954"/>
                    <a:pt x="34596" y="114954"/>
                  </a:cubicBezTo>
                  <a:cubicBezTo>
                    <a:pt x="34922" y="114864"/>
                    <a:pt x="35140" y="114774"/>
                    <a:pt x="35358" y="114864"/>
                  </a:cubicBezTo>
                  <a:cubicBezTo>
                    <a:pt x="35466" y="114864"/>
                    <a:pt x="36228" y="115225"/>
                    <a:pt x="36228" y="115675"/>
                  </a:cubicBezTo>
                  <a:cubicBezTo>
                    <a:pt x="36228" y="115765"/>
                    <a:pt x="36228" y="115855"/>
                    <a:pt x="36228" y="115945"/>
                  </a:cubicBezTo>
                  <a:cubicBezTo>
                    <a:pt x="36119" y="116216"/>
                    <a:pt x="36119" y="116756"/>
                    <a:pt x="36337" y="116936"/>
                  </a:cubicBezTo>
                  <a:cubicBezTo>
                    <a:pt x="36337" y="117027"/>
                    <a:pt x="36446" y="117117"/>
                    <a:pt x="36554" y="117207"/>
                  </a:cubicBezTo>
                  <a:cubicBezTo>
                    <a:pt x="36663" y="117297"/>
                    <a:pt x="36663" y="117297"/>
                    <a:pt x="36663" y="117387"/>
                  </a:cubicBezTo>
                  <a:cubicBezTo>
                    <a:pt x="36663" y="117297"/>
                    <a:pt x="36663" y="117297"/>
                    <a:pt x="36663" y="117207"/>
                  </a:cubicBezTo>
                  <a:cubicBezTo>
                    <a:pt x="36663" y="116846"/>
                    <a:pt x="36663" y="116486"/>
                    <a:pt x="36881" y="116396"/>
                  </a:cubicBezTo>
                  <a:cubicBezTo>
                    <a:pt x="37207" y="116216"/>
                    <a:pt x="38295" y="115585"/>
                    <a:pt x="38404" y="115405"/>
                  </a:cubicBezTo>
                  <a:cubicBezTo>
                    <a:pt x="38621" y="115225"/>
                    <a:pt x="38621" y="115045"/>
                    <a:pt x="38621" y="114864"/>
                  </a:cubicBezTo>
                  <a:cubicBezTo>
                    <a:pt x="38621" y="114864"/>
                    <a:pt x="38621" y="114774"/>
                    <a:pt x="38621" y="114684"/>
                  </a:cubicBezTo>
                  <a:cubicBezTo>
                    <a:pt x="38513" y="113963"/>
                    <a:pt x="38513" y="113153"/>
                    <a:pt x="38948" y="112792"/>
                  </a:cubicBezTo>
                  <a:cubicBezTo>
                    <a:pt x="40036" y="112072"/>
                    <a:pt x="40362" y="111711"/>
                    <a:pt x="40362" y="111621"/>
                  </a:cubicBezTo>
                  <a:cubicBezTo>
                    <a:pt x="40362" y="111531"/>
                    <a:pt x="40362" y="111441"/>
                    <a:pt x="40471" y="111351"/>
                  </a:cubicBezTo>
                  <a:cubicBezTo>
                    <a:pt x="40471" y="111081"/>
                    <a:pt x="40689" y="110630"/>
                    <a:pt x="40689" y="110540"/>
                  </a:cubicBezTo>
                  <a:cubicBezTo>
                    <a:pt x="40580" y="110540"/>
                    <a:pt x="40580" y="110360"/>
                    <a:pt x="40471" y="110270"/>
                  </a:cubicBezTo>
                  <a:cubicBezTo>
                    <a:pt x="40362" y="109729"/>
                    <a:pt x="40145" y="109189"/>
                    <a:pt x="40471" y="109009"/>
                  </a:cubicBezTo>
                  <a:cubicBezTo>
                    <a:pt x="41233" y="108558"/>
                    <a:pt x="41341" y="108378"/>
                    <a:pt x="41341" y="108378"/>
                  </a:cubicBezTo>
                  <a:cubicBezTo>
                    <a:pt x="41450" y="108288"/>
                    <a:pt x="41668" y="107657"/>
                    <a:pt x="41776" y="107387"/>
                  </a:cubicBezTo>
                  <a:cubicBezTo>
                    <a:pt x="41776" y="107297"/>
                    <a:pt x="41776" y="107207"/>
                    <a:pt x="41885" y="107207"/>
                  </a:cubicBezTo>
                  <a:cubicBezTo>
                    <a:pt x="41885" y="107117"/>
                    <a:pt x="42647" y="106036"/>
                    <a:pt x="43082" y="106036"/>
                  </a:cubicBezTo>
                  <a:cubicBezTo>
                    <a:pt x="43082" y="106036"/>
                    <a:pt x="43408" y="106126"/>
                    <a:pt x="43735" y="106126"/>
                  </a:cubicBezTo>
                  <a:cubicBezTo>
                    <a:pt x="44061" y="106126"/>
                    <a:pt x="44388" y="106126"/>
                    <a:pt x="44605" y="106126"/>
                  </a:cubicBezTo>
                  <a:cubicBezTo>
                    <a:pt x="44714" y="106126"/>
                    <a:pt x="44932" y="106126"/>
                    <a:pt x="45149" y="106126"/>
                  </a:cubicBezTo>
                  <a:cubicBezTo>
                    <a:pt x="45693" y="106036"/>
                    <a:pt x="46128" y="106036"/>
                    <a:pt x="46346" y="106126"/>
                  </a:cubicBezTo>
                  <a:cubicBezTo>
                    <a:pt x="46455" y="106126"/>
                    <a:pt x="46672" y="106216"/>
                    <a:pt x="46890" y="106306"/>
                  </a:cubicBezTo>
                  <a:cubicBezTo>
                    <a:pt x="47216" y="106396"/>
                    <a:pt x="47651" y="106576"/>
                    <a:pt x="47869" y="106576"/>
                  </a:cubicBezTo>
                  <a:cubicBezTo>
                    <a:pt x="48195" y="106576"/>
                    <a:pt x="48304" y="106666"/>
                    <a:pt x="48413" y="106666"/>
                  </a:cubicBezTo>
                  <a:cubicBezTo>
                    <a:pt x="48522" y="106756"/>
                    <a:pt x="48631" y="106756"/>
                    <a:pt x="48631" y="106756"/>
                  </a:cubicBezTo>
                  <a:cubicBezTo>
                    <a:pt x="48739" y="106756"/>
                    <a:pt x="48848" y="106756"/>
                    <a:pt x="48848" y="106756"/>
                  </a:cubicBezTo>
                  <a:cubicBezTo>
                    <a:pt x="49174" y="106756"/>
                    <a:pt x="49718" y="106846"/>
                    <a:pt x="49718" y="107207"/>
                  </a:cubicBezTo>
                  <a:cubicBezTo>
                    <a:pt x="49718" y="107297"/>
                    <a:pt x="49610" y="107387"/>
                    <a:pt x="49610" y="107477"/>
                  </a:cubicBezTo>
                  <a:cubicBezTo>
                    <a:pt x="49610" y="107657"/>
                    <a:pt x="49610" y="107927"/>
                    <a:pt x="49718" y="108018"/>
                  </a:cubicBezTo>
                  <a:cubicBezTo>
                    <a:pt x="49718" y="108018"/>
                    <a:pt x="49827" y="108108"/>
                    <a:pt x="49827" y="108108"/>
                  </a:cubicBezTo>
                  <a:cubicBezTo>
                    <a:pt x="50045" y="108288"/>
                    <a:pt x="50262" y="108378"/>
                    <a:pt x="50262" y="108648"/>
                  </a:cubicBezTo>
                  <a:cubicBezTo>
                    <a:pt x="50371" y="108738"/>
                    <a:pt x="50371" y="108828"/>
                    <a:pt x="50371" y="109009"/>
                  </a:cubicBezTo>
                  <a:cubicBezTo>
                    <a:pt x="50371" y="109189"/>
                    <a:pt x="50262" y="109369"/>
                    <a:pt x="50371" y="109459"/>
                  </a:cubicBezTo>
                  <a:cubicBezTo>
                    <a:pt x="50698" y="109549"/>
                    <a:pt x="51568" y="109639"/>
                    <a:pt x="51786" y="109549"/>
                  </a:cubicBezTo>
                  <a:cubicBezTo>
                    <a:pt x="52003" y="109459"/>
                    <a:pt x="52547" y="109009"/>
                    <a:pt x="52656" y="108828"/>
                  </a:cubicBezTo>
                  <a:cubicBezTo>
                    <a:pt x="52656" y="108828"/>
                    <a:pt x="52656" y="108648"/>
                    <a:pt x="52656" y="108558"/>
                  </a:cubicBezTo>
                  <a:cubicBezTo>
                    <a:pt x="52656" y="108288"/>
                    <a:pt x="52656" y="107837"/>
                    <a:pt x="53200" y="107837"/>
                  </a:cubicBezTo>
                  <a:cubicBezTo>
                    <a:pt x="53200" y="107837"/>
                    <a:pt x="53309" y="107837"/>
                    <a:pt x="53417" y="107837"/>
                  </a:cubicBezTo>
                  <a:cubicBezTo>
                    <a:pt x="53744" y="107837"/>
                    <a:pt x="54288" y="107747"/>
                    <a:pt x="54505" y="108108"/>
                  </a:cubicBezTo>
                  <a:cubicBezTo>
                    <a:pt x="54614" y="108198"/>
                    <a:pt x="54941" y="108378"/>
                    <a:pt x="55158" y="108648"/>
                  </a:cubicBezTo>
                  <a:cubicBezTo>
                    <a:pt x="55920" y="109189"/>
                    <a:pt x="56246" y="109369"/>
                    <a:pt x="56246" y="109639"/>
                  </a:cubicBezTo>
                  <a:cubicBezTo>
                    <a:pt x="56137" y="109729"/>
                    <a:pt x="56137" y="109729"/>
                    <a:pt x="56137" y="109729"/>
                  </a:cubicBezTo>
                  <a:cubicBezTo>
                    <a:pt x="56137" y="109909"/>
                    <a:pt x="56137" y="110180"/>
                    <a:pt x="56246" y="110270"/>
                  </a:cubicBezTo>
                  <a:cubicBezTo>
                    <a:pt x="56464" y="110270"/>
                    <a:pt x="56899" y="110360"/>
                    <a:pt x="57225" y="110630"/>
                  </a:cubicBezTo>
                  <a:cubicBezTo>
                    <a:pt x="57334" y="110810"/>
                    <a:pt x="57334" y="110990"/>
                    <a:pt x="57443" y="111171"/>
                  </a:cubicBezTo>
                  <a:cubicBezTo>
                    <a:pt x="57660" y="111531"/>
                    <a:pt x="57769" y="111891"/>
                    <a:pt x="57987" y="111981"/>
                  </a:cubicBezTo>
                  <a:cubicBezTo>
                    <a:pt x="58096" y="112072"/>
                    <a:pt x="58096" y="112072"/>
                    <a:pt x="58096" y="112072"/>
                  </a:cubicBezTo>
                  <a:cubicBezTo>
                    <a:pt x="59836" y="113513"/>
                    <a:pt x="59945" y="113783"/>
                    <a:pt x="59945" y="113963"/>
                  </a:cubicBezTo>
                  <a:cubicBezTo>
                    <a:pt x="59945" y="114054"/>
                    <a:pt x="59836" y="114234"/>
                    <a:pt x="59728" y="114414"/>
                  </a:cubicBezTo>
                  <a:cubicBezTo>
                    <a:pt x="60054" y="114594"/>
                    <a:pt x="60489" y="114864"/>
                    <a:pt x="60489" y="115225"/>
                  </a:cubicBezTo>
                  <a:cubicBezTo>
                    <a:pt x="60598" y="115585"/>
                    <a:pt x="60924" y="116396"/>
                    <a:pt x="61142" y="116486"/>
                  </a:cubicBezTo>
                  <a:cubicBezTo>
                    <a:pt x="61251" y="116576"/>
                    <a:pt x="61468" y="116666"/>
                    <a:pt x="61686" y="116666"/>
                  </a:cubicBezTo>
                  <a:cubicBezTo>
                    <a:pt x="62230" y="116846"/>
                    <a:pt x="62447" y="116936"/>
                    <a:pt x="62556" y="117027"/>
                  </a:cubicBezTo>
                  <a:cubicBezTo>
                    <a:pt x="62556" y="117117"/>
                    <a:pt x="62665" y="117117"/>
                    <a:pt x="62665" y="117207"/>
                  </a:cubicBezTo>
                  <a:cubicBezTo>
                    <a:pt x="63100" y="117837"/>
                    <a:pt x="63427" y="118198"/>
                    <a:pt x="63535" y="118288"/>
                  </a:cubicBezTo>
                  <a:cubicBezTo>
                    <a:pt x="63644" y="118288"/>
                    <a:pt x="63862" y="118288"/>
                    <a:pt x="63970" y="118378"/>
                  </a:cubicBezTo>
                  <a:cubicBezTo>
                    <a:pt x="64297" y="118378"/>
                    <a:pt x="64732" y="118468"/>
                    <a:pt x="64732" y="118738"/>
                  </a:cubicBezTo>
                  <a:cubicBezTo>
                    <a:pt x="64732" y="118828"/>
                    <a:pt x="64732" y="118918"/>
                    <a:pt x="64732" y="119009"/>
                  </a:cubicBezTo>
                  <a:cubicBezTo>
                    <a:pt x="64732" y="119189"/>
                    <a:pt x="64623" y="119639"/>
                    <a:pt x="64732" y="119729"/>
                  </a:cubicBezTo>
                  <a:cubicBezTo>
                    <a:pt x="64950" y="119729"/>
                    <a:pt x="65602" y="119909"/>
                    <a:pt x="65820" y="120000"/>
                  </a:cubicBezTo>
                  <a:cubicBezTo>
                    <a:pt x="66255" y="119639"/>
                    <a:pt x="67996" y="118288"/>
                    <a:pt x="68322" y="118018"/>
                  </a:cubicBezTo>
                  <a:cubicBezTo>
                    <a:pt x="68757" y="117837"/>
                    <a:pt x="69301" y="117837"/>
                    <a:pt x="69737" y="117927"/>
                  </a:cubicBezTo>
                  <a:cubicBezTo>
                    <a:pt x="69954" y="117927"/>
                    <a:pt x="69954" y="117927"/>
                    <a:pt x="69954" y="117927"/>
                  </a:cubicBezTo>
                  <a:cubicBezTo>
                    <a:pt x="70281" y="117927"/>
                    <a:pt x="70281" y="117837"/>
                    <a:pt x="70498" y="117657"/>
                  </a:cubicBezTo>
                  <a:cubicBezTo>
                    <a:pt x="70498" y="117567"/>
                    <a:pt x="70607" y="117477"/>
                    <a:pt x="70716" y="117477"/>
                  </a:cubicBezTo>
                  <a:cubicBezTo>
                    <a:pt x="71042" y="117207"/>
                    <a:pt x="71368" y="117477"/>
                    <a:pt x="71695" y="117657"/>
                  </a:cubicBezTo>
                  <a:cubicBezTo>
                    <a:pt x="71804" y="117747"/>
                    <a:pt x="71804" y="117747"/>
                    <a:pt x="71912" y="117837"/>
                  </a:cubicBezTo>
                  <a:cubicBezTo>
                    <a:pt x="72130" y="118018"/>
                    <a:pt x="72456" y="118108"/>
                    <a:pt x="72783" y="118108"/>
                  </a:cubicBezTo>
                  <a:cubicBezTo>
                    <a:pt x="73000" y="118108"/>
                    <a:pt x="73109" y="118018"/>
                    <a:pt x="73327" y="117837"/>
                  </a:cubicBezTo>
                  <a:cubicBezTo>
                    <a:pt x="73436" y="117747"/>
                    <a:pt x="73436" y="117747"/>
                    <a:pt x="73436" y="117747"/>
                  </a:cubicBezTo>
                  <a:cubicBezTo>
                    <a:pt x="73762" y="117477"/>
                    <a:pt x="74088" y="117657"/>
                    <a:pt x="74415" y="117747"/>
                  </a:cubicBezTo>
                  <a:cubicBezTo>
                    <a:pt x="74524" y="117747"/>
                    <a:pt x="74632" y="117747"/>
                    <a:pt x="74741" y="117747"/>
                  </a:cubicBezTo>
                  <a:cubicBezTo>
                    <a:pt x="75067" y="117747"/>
                    <a:pt x="75503" y="118198"/>
                    <a:pt x="75611" y="118378"/>
                  </a:cubicBezTo>
                  <a:cubicBezTo>
                    <a:pt x="75611" y="118378"/>
                    <a:pt x="75720" y="118468"/>
                    <a:pt x="75938" y="118468"/>
                  </a:cubicBezTo>
                  <a:cubicBezTo>
                    <a:pt x="76155" y="118468"/>
                    <a:pt x="76373" y="118378"/>
                    <a:pt x="76373" y="118378"/>
                  </a:cubicBezTo>
                  <a:cubicBezTo>
                    <a:pt x="76591" y="118288"/>
                    <a:pt x="76591" y="118018"/>
                    <a:pt x="76591" y="117837"/>
                  </a:cubicBezTo>
                  <a:cubicBezTo>
                    <a:pt x="76591" y="117837"/>
                    <a:pt x="76591" y="117747"/>
                    <a:pt x="76699" y="117747"/>
                  </a:cubicBezTo>
                  <a:cubicBezTo>
                    <a:pt x="76699" y="117657"/>
                    <a:pt x="76699" y="117567"/>
                    <a:pt x="76808" y="117567"/>
                  </a:cubicBezTo>
                  <a:cubicBezTo>
                    <a:pt x="77026" y="117387"/>
                    <a:pt x="77461" y="117477"/>
                    <a:pt x="78331" y="117657"/>
                  </a:cubicBezTo>
                  <a:cubicBezTo>
                    <a:pt x="78440" y="117747"/>
                    <a:pt x="78549" y="117747"/>
                    <a:pt x="78549" y="117747"/>
                  </a:cubicBezTo>
                  <a:cubicBezTo>
                    <a:pt x="78766" y="117747"/>
                    <a:pt x="78875" y="117747"/>
                    <a:pt x="79093" y="117477"/>
                  </a:cubicBezTo>
                  <a:cubicBezTo>
                    <a:pt x="79202" y="117477"/>
                    <a:pt x="79310" y="117387"/>
                    <a:pt x="79310" y="117297"/>
                  </a:cubicBezTo>
                  <a:cubicBezTo>
                    <a:pt x="79637" y="117117"/>
                    <a:pt x="79963" y="117027"/>
                    <a:pt x="80507" y="117027"/>
                  </a:cubicBezTo>
                  <a:cubicBezTo>
                    <a:pt x="80834" y="117027"/>
                    <a:pt x="81378" y="117207"/>
                    <a:pt x="81813" y="117297"/>
                  </a:cubicBezTo>
                  <a:cubicBezTo>
                    <a:pt x="82030" y="117387"/>
                    <a:pt x="82030" y="117387"/>
                    <a:pt x="82030" y="117387"/>
                  </a:cubicBezTo>
                  <a:cubicBezTo>
                    <a:pt x="82357" y="117477"/>
                    <a:pt x="83553" y="118558"/>
                    <a:pt x="83662" y="118738"/>
                  </a:cubicBezTo>
                  <a:cubicBezTo>
                    <a:pt x="83662" y="118828"/>
                    <a:pt x="83771" y="118918"/>
                    <a:pt x="84206" y="118738"/>
                  </a:cubicBezTo>
                  <a:cubicBezTo>
                    <a:pt x="84424" y="118648"/>
                    <a:pt x="84859" y="118558"/>
                    <a:pt x="85185" y="118378"/>
                  </a:cubicBezTo>
                  <a:cubicBezTo>
                    <a:pt x="85512" y="118288"/>
                    <a:pt x="85838" y="118288"/>
                    <a:pt x="85947" y="118198"/>
                  </a:cubicBezTo>
                  <a:cubicBezTo>
                    <a:pt x="86056" y="118108"/>
                    <a:pt x="86491" y="117747"/>
                    <a:pt x="86600" y="117567"/>
                  </a:cubicBezTo>
                  <a:cubicBezTo>
                    <a:pt x="86708" y="117297"/>
                    <a:pt x="87144" y="117477"/>
                    <a:pt x="87688" y="117567"/>
                  </a:cubicBezTo>
                  <a:cubicBezTo>
                    <a:pt x="87905" y="117657"/>
                    <a:pt x="88123" y="117657"/>
                    <a:pt x="88123" y="117657"/>
                  </a:cubicBezTo>
                  <a:cubicBezTo>
                    <a:pt x="88232" y="117657"/>
                    <a:pt x="88449" y="117567"/>
                    <a:pt x="88558" y="117477"/>
                  </a:cubicBezTo>
                  <a:cubicBezTo>
                    <a:pt x="88667" y="117387"/>
                    <a:pt x="88993" y="117117"/>
                    <a:pt x="89428" y="117117"/>
                  </a:cubicBezTo>
                  <a:cubicBezTo>
                    <a:pt x="89755" y="117117"/>
                    <a:pt x="90299" y="117477"/>
                    <a:pt x="90625" y="117747"/>
                  </a:cubicBezTo>
                  <a:cubicBezTo>
                    <a:pt x="90951" y="117567"/>
                    <a:pt x="92366" y="116396"/>
                    <a:pt x="93454" y="115315"/>
                  </a:cubicBezTo>
                  <a:cubicBezTo>
                    <a:pt x="93454" y="115315"/>
                    <a:pt x="93563" y="115225"/>
                    <a:pt x="93671" y="115225"/>
                  </a:cubicBezTo>
                  <a:cubicBezTo>
                    <a:pt x="93780" y="115225"/>
                    <a:pt x="94650" y="115315"/>
                    <a:pt x="95194" y="115495"/>
                  </a:cubicBezTo>
                  <a:cubicBezTo>
                    <a:pt x="95194" y="115405"/>
                    <a:pt x="95194" y="115225"/>
                    <a:pt x="95194" y="114954"/>
                  </a:cubicBezTo>
                  <a:cubicBezTo>
                    <a:pt x="95194" y="114954"/>
                    <a:pt x="95194" y="114864"/>
                    <a:pt x="95194" y="114864"/>
                  </a:cubicBezTo>
                  <a:cubicBezTo>
                    <a:pt x="95194" y="114504"/>
                    <a:pt x="97370" y="114054"/>
                    <a:pt x="97370" y="114054"/>
                  </a:cubicBezTo>
                  <a:cubicBezTo>
                    <a:pt x="97588" y="114054"/>
                    <a:pt x="97914" y="114054"/>
                    <a:pt x="98241" y="114144"/>
                  </a:cubicBezTo>
                  <a:cubicBezTo>
                    <a:pt x="98349" y="114144"/>
                    <a:pt x="98567" y="114234"/>
                    <a:pt x="98785" y="114234"/>
                  </a:cubicBezTo>
                  <a:cubicBezTo>
                    <a:pt x="98893" y="114234"/>
                    <a:pt x="99329" y="113963"/>
                    <a:pt x="99655" y="113873"/>
                  </a:cubicBezTo>
                  <a:cubicBezTo>
                    <a:pt x="99764" y="113783"/>
                    <a:pt x="99981" y="113693"/>
                    <a:pt x="100090" y="113603"/>
                  </a:cubicBezTo>
                  <a:cubicBezTo>
                    <a:pt x="100090" y="113513"/>
                    <a:pt x="100199" y="113333"/>
                    <a:pt x="100199" y="112432"/>
                  </a:cubicBezTo>
                  <a:cubicBezTo>
                    <a:pt x="100199" y="112342"/>
                    <a:pt x="100199" y="112252"/>
                    <a:pt x="100199" y="112252"/>
                  </a:cubicBezTo>
                  <a:cubicBezTo>
                    <a:pt x="100199" y="112072"/>
                    <a:pt x="100417" y="111891"/>
                    <a:pt x="101287" y="111531"/>
                  </a:cubicBezTo>
                  <a:cubicBezTo>
                    <a:pt x="101831" y="111351"/>
                    <a:pt x="102266" y="111081"/>
                    <a:pt x="102701" y="110900"/>
                  </a:cubicBezTo>
                  <a:cubicBezTo>
                    <a:pt x="103354" y="110540"/>
                    <a:pt x="104333" y="109729"/>
                    <a:pt x="104768" y="109459"/>
                  </a:cubicBezTo>
                  <a:cubicBezTo>
                    <a:pt x="104660" y="109279"/>
                    <a:pt x="104551" y="109189"/>
                    <a:pt x="104551" y="109099"/>
                  </a:cubicBezTo>
                  <a:cubicBezTo>
                    <a:pt x="104442" y="108918"/>
                    <a:pt x="104333" y="108648"/>
                    <a:pt x="104333" y="108468"/>
                  </a:cubicBezTo>
                  <a:cubicBezTo>
                    <a:pt x="104224" y="108198"/>
                    <a:pt x="104116" y="108018"/>
                    <a:pt x="104116" y="107837"/>
                  </a:cubicBezTo>
                  <a:cubicBezTo>
                    <a:pt x="103898" y="107567"/>
                    <a:pt x="104007" y="107297"/>
                    <a:pt x="104007" y="107027"/>
                  </a:cubicBezTo>
                  <a:cubicBezTo>
                    <a:pt x="104007" y="106936"/>
                    <a:pt x="104116" y="106756"/>
                    <a:pt x="104116" y="106666"/>
                  </a:cubicBezTo>
                  <a:cubicBezTo>
                    <a:pt x="104116" y="106576"/>
                    <a:pt x="103680" y="106216"/>
                    <a:pt x="103354" y="106036"/>
                  </a:cubicBezTo>
                  <a:cubicBezTo>
                    <a:pt x="103245" y="106036"/>
                    <a:pt x="103136" y="105945"/>
                    <a:pt x="103136" y="105855"/>
                  </a:cubicBezTo>
                  <a:cubicBezTo>
                    <a:pt x="102919" y="105765"/>
                    <a:pt x="102919" y="105675"/>
                    <a:pt x="102919" y="105585"/>
                  </a:cubicBezTo>
                  <a:cubicBezTo>
                    <a:pt x="102919" y="105405"/>
                    <a:pt x="103245" y="105315"/>
                    <a:pt x="103463" y="105135"/>
                  </a:cubicBezTo>
                  <a:cubicBezTo>
                    <a:pt x="103572" y="105045"/>
                    <a:pt x="103789" y="104954"/>
                    <a:pt x="103789" y="104954"/>
                  </a:cubicBezTo>
                  <a:cubicBezTo>
                    <a:pt x="104007" y="104774"/>
                    <a:pt x="104116" y="103963"/>
                    <a:pt x="104116" y="103603"/>
                  </a:cubicBezTo>
                  <a:cubicBezTo>
                    <a:pt x="104007" y="103513"/>
                    <a:pt x="103354" y="103243"/>
                    <a:pt x="103028" y="103153"/>
                  </a:cubicBezTo>
                  <a:cubicBezTo>
                    <a:pt x="102592" y="102882"/>
                    <a:pt x="102266" y="102792"/>
                    <a:pt x="102157" y="102702"/>
                  </a:cubicBezTo>
                  <a:cubicBezTo>
                    <a:pt x="102048" y="102612"/>
                    <a:pt x="101722" y="102702"/>
                    <a:pt x="101504" y="102702"/>
                  </a:cubicBezTo>
                  <a:cubicBezTo>
                    <a:pt x="101178" y="102702"/>
                    <a:pt x="100961" y="102702"/>
                    <a:pt x="100743" y="102702"/>
                  </a:cubicBezTo>
                  <a:cubicBezTo>
                    <a:pt x="100199" y="102522"/>
                    <a:pt x="100199" y="101981"/>
                    <a:pt x="100199" y="101801"/>
                  </a:cubicBezTo>
                  <a:cubicBezTo>
                    <a:pt x="100199" y="101531"/>
                    <a:pt x="100743" y="101441"/>
                    <a:pt x="101069" y="101351"/>
                  </a:cubicBezTo>
                  <a:cubicBezTo>
                    <a:pt x="101178" y="101351"/>
                    <a:pt x="101287" y="101351"/>
                    <a:pt x="101287" y="101351"/>
                  </a:cubicBezTo>
                  <a:cubicBezTo>
                    <a:pt x="101287" y="101261"/>
                    <a:pt x="101178" y="101081"/>
                    <a:pt x="101069" y="100900"/>
                  </a:cubicBezTo>
                  <a:cubicBezTo>
                    <a:pt x="100961" y="100810"/>
                    <a:pt x="100852" y="100630"/>
                    <a:pt x="100743" y="100540"/>
                  </a:cubicBezTo>
                  <a:cubicBezTo>
                    <a:pt x="100525" y="100090"/>
                    <a:pt x="100743" y="99459"/>
                    <a:pt x="100852" y="99009"/>
                  </a:cubicBezTo>
                  <a:cubicBezTo>
                    <a:pt x="100961" y="98918"/>
                    <a:pt x="100961" y="98828"/>
                    <a:pt x="100961" y="98738"/>
                  </a:cubicBezTo>
                  <a:cubicBezTo>
                    <a:pt x="100852" y="98738"/>
                    <a:pt x="100417" y="98648"/>
                    <a:pt x="100199" y="98648"/>
                  </a:cubicBezTo>
                  <a:cubicBezTo>
                    <a:pt x="99981" y="98558"/>
                    <a:pt x="99873" y="98558"/>
                    <a:pt x="99764" y="98558"/>
                  </a:cubicBezTo>
                  <a:cubicBezTo>
                    <a:pt x="99546" y="98378"/>
                    <a:pt x="98676" y="97747"/>
                    <a:pt x="98458" y="97477"/>
                  </a:cubicBezTo>
                  <a:cubicBezTo>
                    <a:pt x="98349" y="97297"/>
                    <a:pt x="98349" y="97207"/>
                    <a:pt x="98349" y="97117"/>
                  </a:cubicBezTo>
                  <a:cubicBezTo>
                    <a:pt x="98567" y="96756"/>
                    <a:pt x="99437" y="96666"/>
                    <a:pt x="99546" y="96666"/>
                  </a:cubicBezTo>
                  <a:cubicBezTo>
                    <a:pt x="99655" y="96576"/>
                    <a:pt x="99546" y="96036"/>
                    <a:pt x="99546" y="95855"/>
                  </a:cubicBezTo>
                  <a:cubicBezTo>
                    <a:pt x="99546" y="95675"/>
                    <a:pt x="99546" y="95495"/>
                    <a:pt x="99546" y="95405"/>
                  </a:cubicBezTo>
                  <a:cubicBezTo>
                    <a:pt x="99546" y="95315"/>
                    <a:pt x="99437" y="95225"/>
                    <a:pt x="99220" y="95045"/>
                  </a:cubicBezTo>
                  <a:cubicBezTo>
                    <a:pt x="99220" y="95045"/>
                    <a:pt x="99111" y="94954"/>
                    <a:pt x="99111" y="94954"/>
                  </a:cubicBezTo>
                  <a:cubicBezTo>
                    <a:pt x="98893" y="94684"/>
                    <a:pt x="98893" y="94324"/>
                    <a:pt x="98893" y="93963"/>
                  </a:cubicBezTo>
                  <a:cubicBezTo>
                    <a:pt x="98893" y="93693"/>
                    <a:pt x="98893" y="93603"/>
                    <a:pt x="99002" y="93333"/>
                  </a:cubicBezTo>
                  <a:cubicBezTo>
                    <a:pt x="99111" y="93243"/>
                    <a:pt x="98893" y="92972"/>
                    <a:pt x="98676" y="92792"/>
                  </a:cubicBezTo>
                  <a:cubicBezTo>
                    <a:pt x="98567" y="92702"/>
                    <a:pt x="98458" y="92522"/>
                    <a:pt x="98349" y="92432"/>
                  </a:cubicBezTo>
                  <a:cubicBezTo>
                    <a:pt x="98132" y="92072"/>
                    <a:pt x="98349" y="91711"/>
                    <a:pt x="99002" y="91351"/>
                  </a:cubicBezTo>
                  <a:cubicBezTo>
                    <a:pt x="98893" y="91261"/>
                    <a:pt x="98785" y="91171"/>
                    <a:pt x="98458" y="90990"/>
                  </a:cubicBezTo>
                  <a:cubicBezTo>
                    <a:pt x="98132" y="90810"/>
                    <a:pt x="98241" y="90450"/>
                    <a:pt x="98349" y="89909"/>
                  </a:cubicBezTo>
                  <a:cubicBezTo>
                    <a:pt x="98349" y="89819"/>
                    <a:pt x="98349" y="89729"/>
                    <a:pt x="98349" y="89639"/>
                  </a:cubicBezTo>
                  <a:cubicBezTo>
                    <a:pt x="98349" y="89279"/>
                    <a:pt x="100961" y="88198"/>
                    <a:pt x="101069" y="88198"/>
                  </a:cubicBezTo>
                  <a:cubicBezTo>
                    <a:pt x="101396" y="88198"/>
                    <a:pt x="101722" y="88198"/>
                    <a:pt x="101940" y="88288"/>
                  </a:cubicBezTo>
                  <a:cubicBezTo>
                    <a:pt x="102048" y="88288"/>
                    <a:pt x="102157" y="88288"/>
                    <a:pt x="102157" y="88288"/>
                  </a:cubicBezTo>
                  <a:cubicBezTo>
                    <a:pt x="102375" y="88198"/>
                    <a:pt x="102701" y="87837"/>
                    <a:pt x="102919" y="87657"/>
                  </a:cubicBezTo>
                  <a:cubicBezTo>
                    <a:pt x="103136" y="87567"/>
                    <a:pt x="103245" y="87477"/>
                    <a:pt x="103245" y="87387"/>
                  </a:cubicBezTo>
                  <a:cubicBezTo>
                    <a:pt x="103463" y="87297"/>
                    <a:pt x="103680" y="87207"/>
                    <a:pt x="104007" y="87117"/>
                  </a:cubicBezTo>
                  <a:cubicBezTo>
                    <a:pt x="104224" y="87027"/>
                    <a:pt x="104442" y="87027"/>
                    <a:pt x="104442" y="86936"/>
                  </a:cubicBezTo>
                  <a:cubicBezTo>
                    <a:pt x="104551" y="86936"/>
                    <a:pt x="104660" y="86576"/>
                    <a:pt x="104660" y="86126"/>
                  </a:cubicBezTo>
                  <a:cubicBezTo>
                    <a:pt x="104660" y="86036"/>
                    <a:pt x="104551" y="85945"/>
                    <a:pt x="104442" y="85855"/>
                  </a:cubicBezTo>
                  <a:cubicBezTo>
                    <a:pt x="104224" y="85675"/>
                    <a:pt x="104116" y="85585"/>
                    <a:pt x="104007" y="85315"/>
                  </a:cubicBezTo>
                  <a:cubicBezTo>
                    <a:pt x="103680" y="84864"/>
                    <a:pt x="104116" y="84414"/>
                    <a:pt x="104333" y="84234"/>
                  </a:cubicBezTo>
                  <a:cubicBezTo>
                    <a:pt x="104333" y="84234"/>
                    <a:pt x="104333" y="84234"/>
                    <a:pt x="104333" y="84234"/>
                  </a:cubicBezTo>
                  <a:cubicBezTo>
                    <a:pt x="104442" y="84054"/>
                    <a:pt x="104877" y="83963"/>
                    <a:pt x="105639" y="83873"/>
                  </a:cubicBezTo>
                  <a:cubicBezTo>
                    <a:pt x="105856" y="83873"/>
                    <a:pt x="106183" y="83873"/>
                    <a:pt x="106291" y="83873"/>
                  </a:cubicBezTo>
                  <a:cubicBezTo>
                    <a:pt x="106509" y="83783"/>
                    <a:pt x="107379" y="82972"/>
                    <a:pt x="107815" y="82522"/>
                  </a:cubicBezTo>
                  <a:cubicBezTo>
                    <a:pt x="108141" y="82252"/>
                    <a:pt x="108359" y="81981"/>
                    <a:pt x="108467" y="81981"/>
                  </a:cubicBezTo>
                  <a:cubicBezTo>
                    <a:pt x="108576" y="81711"/>
                    <a:pt x="108467" y="80630"/>
                    <a:pt x="108467" y="80180"/>
                  </a:cubicBezTo>
                  <a:cubicBezTo>
                    <a:pt x="108467" y="80000"/>
                    <a:pt x="108467" y="79909"/>
                    <a:pt x="108467" y="79819"/>
                  </a:cubicBezTo>
                  <a:cubicBezTo>
                    <a:pt x="108467" y="79549"/>
                    <a:pt x="109011" y="79459"/>
                    <a:pt x="109555" y="79279"/>
                  </a:cubicBezTo>
                  <a:cubicBezTo>
                    <a:pt x="109773" y="79189"/>
                    <a:pt x="109990" y="79189"/>
                    <a:pt x="110099" y="79099"/>
                  </a:cubicBezTo>
                  <a:cubicBezTo>
                    <a:pt x="110208" y="79099"/>
                    <a:pt x="110208" y="79099"/>
                    <a:pt x="110208" y="78918"/>
                  </a:cubicBezTo>
                  <a:cubicBezTo>
                    <a:pt x="110099" y="78828"/>
                    <a:pt x="110099" y="78738"/>
                    <a:pt x="110099" y="78648"/>
                  </a:cubicBezTo>
                  <a:cubicBezTo>
                    <a:pt x="110099" y="78468"/>
                    <a:pt x="109338" y="78018"/>
                    <a:pt x="109011" y="77837"/>
                  </a:cubicBezTo>
                  <a:cubicBezTo>
                    <a:pt x="108794" y="77657"/>
                    <a:pt x="108576" y="77567"/>
                    <a:pt x="108576" y="77477"/>
                  </a:cubicBezTo>
                  <a:cubicBezTo>
                    <a:pt x="108250" y="77297"/>
                    <a:pt x="108250" y="77117"/>
                    <a:pt x="108141" y="76756"/>
                  </a:cubicBezTo>
                  <a:cubicBezTo>
                    <a:pt x="108141" y="76666"/>
                    <a:pt x="108141" y="76666"/>
                    <a:pt x="108141" y="76666"/>
                  </a:cubicBezTo>
                  <a:cubicBezTo>
                    <a:pt x="108141" y="76486"/>
                    <a:pt x="107815" y="76126"/>
                    <a:pt x="106618" y="75225"/>
                  </a:cubicBezTo>
                  <a:cubicBezTo>
                    <a:pt x="106509" y="75135"/>
                    <a:pt x="106400" y="75045"/>
                    <a:pt x="106400" y="75045"/>
                  </a:cubicBezTo>
                  <a:cubicBezTo>
                    <a:pt x="106183" y="74864"/>
                    <a:pt x="105639" y="74774"/>
                    <a:pt x="105312" y="74684"/>
                  </a:cubicBezTo>
                  <a:cubicBezTo>
                    <a:pt x="104877" y="74594"/>
                    <a:pt x="104877" y="73693"/>
                    <a:pt x="104877" y="73333"/>
                  </a:cubicBezTo>
                  <a:cubicBezTo>
                    <a:pt x="104877" y="73153"/>
                    <a:pt x="104986" y="72342"/>
                    <a:pt x="105095" y="72072"/>
                  </a:cubicBezTo>
                  <a:cubicBezTo>
                    <a:pt x="105095" y="71981"/>
                    <a:pt x="104877" y="71711"/>
                    <a:pt x="104442" y="71261"/>
                  </a:cubicBezTo>
                  <a:cubicBezTo>
                    <a:pt x="104007" y="70990"/>
                    <a:pt x="104660" y="70360"/>
                    <a:pt x="105312" y="69639"/>
                  </a:cubicBezTo>
                  <a:cubicBezTo>
                    <a:pt x="105421" y="69639"/>
                    <a:pt x="105421" y="69549"/>
                    <a:pt x="105421" y="69549"/>
                  </a:cubicBezTo>
                  <a:cubicBezTo>
                    <a:pt x="105530" y="69459"/>
                    <a:pt x="105639" y="68918"/>
                    <a:pt x="105530" y="66846"/>
                  </a:cubicBezTo>
                  <a:cubicBezTo>
                    <a:pt x="105530" y="66666"/>
                    <a:pt x="105530" y="66576"/>
                    <a:pt x="105530" y="66576"/>
                  </a:cubicBezTo>
                  <a:cubicBezTo>
                    <a:pt x="105530" y="66486"/>
                    <a:pt x="105312" y="66216"/>
                    <a:pt x="105095" y="66036"/>
                  </a:cubicBezTo>
                  <a:cubicBezTo>
                    <a:pt x="105095" y="66036"/>
                    <a:pt x="105095" y="66036"/>
                    <a:pt x="105095" y="66036"/>
                  </a:cubicBezTo>
                  <a:cubicBezTo>
                    <a:pt x="105095" y="66036"/>
                    <a:pt x="104660" y="65315"/>
                    <a:pt x="104551" y="65135"/>
                  </a:cubicBezTo>
                  <a:cubicBezTo>
                    <a:pt x="104442" y="65045"/>
                    <a:pt x="104442" y="65045"/>
                    <a:pt x="104442" y="65045"/>
                  </a:cubicBezTo>
                  <a:cubicBezTo>
                    <a:pt x="104333" y="64774"/>
                    <a:pt x="104224" y="64594"/>
                    <a:pt x="104116" y="64414"/>
                  </a:cubicBezTo>
                  <a:cubicBezTo>
                    <a:pt x="103898" y="64234"/>
                    <a:pt x="103898" y="63603"/>
                    <a:pt x="103898" y="63063"/>
                  </a:cubicBezTo>
                  <a:cubicBezTo>
                    <a:pt x="103898" y="62432"/>
                    <a:pt x="104333" y="62432"/>
                    <a:pt x="104442" y="62432"/>
                  </a:cubicBezTo>
                  <a:cubicBezTo>
                    <a:pt x="104551" y="62432"/>
                    <a:pt x="104660" y="62432"/>
                    <a:pt x="104877" y="62432"/>
                  </a:cubicBezTo>
                  <a:cubicBezTo>
                    <a:pt x="105421" y="62342"/>
                    <a:pt x="105856" y="62342"/>
                    <a:pt x="105965" y="62342"/>
                  </a:cubicBezTo>
                  <a:cubicBezTo>
                    <a:pt x="106183" y="62432"/>
                    <a:pt x="106509" y="62612"/>
                    <a:pt x="107053" y="62882"/>
                  </a:cubicBezTo>
                  <a:cubicBezTo>
                    <a:pt x="107379" y="62972"/>
                    <a:pt x="107706" y="63153"/>
                    <a:pt x="107815" y="63243"/>
                  </a:cubicBezTo>
                  <a:cubicBezTo>
                    <a:pt x="107923" y="63243"/>
                    <a:pt x="108141" y="63243"/>
                    <a:pt x="109120" y="62702"/>
                  </a:cubicBezTo>
                  <a:cubicBezTo>
                    <a:pt x="109120" y="62702"/>
                    <a:pt x="109120" y="62702"/>
                    <a:pt x="109120" y="62702"/>
                  </a:cubicBezTo>
                  <a:cubicBezTo>
                    <a:pt x="109338" y="62612"/>
                    <a:pt x="109664" y="62522"/>
                    <a:pt x="110317" y="62432"/>
                  </a:cubicBezTo>
                  <a:cubicBezTo>
                    <a:pt x="110426" y="62342"/>
                    <a:pt x="111187" y="61801"/>
                    <a:pt x="111296" y="61621"/>
                  </a:cubicBezTo>
                  <a:cubicBezTo>
                    <a:pt x="111514" y="61441"/>
                    <a:pt x="112384" y="60360"/>
                    <a:pt x="112601" y="60180"/>
                  </a:cubicBezTo>
                  <a:cubicBezTo>
                    <a:pt x="112819" y="59909"/>
                    <a:pt x="113254" y="60000"/>
                    <a:pt x="113689" y="60090"/>
                  </a:cubicBezTo>
                  <a:cubicBezTo>
                    <a:pt x="113798" y="60090"/>
                    <a:pt x="113907" y="60090"/>
                    <a:pt x="113907" y="60090"/>
                  </a:cubicBezTo>
                  <a:cubicBezTo>
                    <a:pt x="114016" y="60090"/>
                    <a:pt x="114233" y="60000"/>
                    <a:pt x="114451" y="59819"/>
                  </a:cubicBezTo>
                  <a:cubicBezTo>
                    <a:pt x="114451" y="59729"/>
                    <a:pt x="114560" y="59729"/>
                    <a:pt x="114669" y="59729"/>
                  </a:cubicBezTo>
                  <a:cubicBezTo>
                    <a:pt x="114886" y="59729"/>
                    <a:pt x="114995" y="59909"/>
                    <a:pt x="115213" y="60090"/>
                  </a:cubicBezTo>
                  <a:cubicBezTo>
                    <a:pt x="115213" y="60090"/>
                    <a:pt x="115213" y="60180"/>
                    <a:pt x="115321" y="60180"/>
                  </a:cubicBezTo>
                  <a:cubicBezTo>
                    <a:pt x="115321" y="60180"/>
                    <a:pt x="115430" y="60090"/>
                    <a:pt x="115430" y="60090"/>
                  </a:cubicBezTo>
                  <a:cubicBezTo>
                    <a:pt x="115430" y="60090"/>
                    <a:pt x="115539" y="60000"/>
                    <a:pt x="115539" y="60000"/>
                  </a:cubicBezTo>
                  <a:cubicBezTo>
                    <a:pt x="115648" y="59729"/>
                    <a:pt x="115539" y="58558"/>
                    <a:pt x="115430" y="58108"/>
                  </a:cubicBezTo>
                  <a:cubicBezTo>
                    <a:pt x="115430" y="57837"/>
                    <a:pt x="115430" y="57657"/>
                    <a:pt x="115430" y="57567"/>
                  </a:cubicBezTo>
                  <a:cubicBezTo>
                    <a:pt x="115430" y="57567"/>
                    <a:pt x="115430" y="56486"/>
                    <a:pt x="115648" y="56126"/>
                  </a:cubicBezTo>
                  <a:cubicBezTo>
                    <a:pt x="115648" y="55945"/>
                    <a:pt x="115104" y="55495"/>
                    <a:pt x="114560" y="55315"/>
                  </a:cubicBezTo>
                  <a:cubicBezTo>
                    <a:pt x="114451" y="55135"/>
                    <a:pt x="114342" y="54954"/>
                    <a:pt x="114233" y="54594"/>
                  </a:cubicBezTo>
                  <a:cubicBezTo>
                    <a:pt x="114233" y="54414"/>
                    <a:pt x="114233" y="54414"/>
                    <a:pt x="114233" y="54414"/>
                  </a:cubicBezTo>
                  <a:cubicBezTo>
                    <a:pt x="114233" y="54324"/>
                    <a:pt x="113689" y="53963"/>
                    <a:pt x="113472" y="53783"/>
                  </a:cubicBezTo>
                  <a:cubicBezTo>
                    <a:pt x="113363" y="53693"/>
                    <a:pt x="113254" y="53693"/>
                    <a:pt x="113254" y="53603"/>
                  </a:cubicBezTo>
                  <a:cubicBezTo>
                    <a:pt x="113254" y="53603"/>
                    <a:pt x="112819" y="53423"/>
                    <a:pt x="112601" y="53333"/>
                  </a:cubicBezTo>
                  <a:cubicBezTo>
                    <a:pt x="111949" y="53063"/>
                    <a:pt x="111622" y="52972"/>
                    <a:pt x="111514" y="52792"/>
                  </a:cubicBezTo>
                  <a:cubicBezTo>
                    <a:pt x="111405" y="52702"/>
                    <a:pt x="111187" y="52342"/>
                    <a:pt x="111078" y="51981"/>
                  </a:cubicBezTo>
                  <a:cubicBezTo>
                    <a:pt x="110970" y="51891"/>
                    <a:pt x="110970" y="51801"/>
                    <a:pt x="110861" y="51711"/>
                  </a:cubicBezTo>
                  <a:cubicBezTo>
                    <a:pt x="110861" y="51711"/>
                    <a:pt x="110752" y="51531"/>
                    <a:pt x="110534" y="51441"/>
                  </a:cubicBezTo>
                  <a:cubicBezTo>
                    <a:pt x="110317" y="51171"/>
                    <a:pt x="110099" y="50990"/>
                    <a:pt x="110099" y="50810"/>
                  </a:cubicBezTo>
                  <a:cubicBezTo>
                    <a:pt x="109990" y="50720"/>
                    <a:pt x="109990" y="50630"/>
                    <a:pt x="109882" y="50540"/>
                  </a:cubicBezTo>
                  <a:cubicBezTo>
                    <a:pt x="109773" y="50360"/>
                    <a:pt x="109664" y="50180"/>
                    <a:pt x="109664" y="50000"/>
                  </a:cubicBezTo>
                  <a:cubicBezTo>
                    <a:pt x="109664" y="49819"/>
                    <a:pt x="109446" y="49639"/>
                    <a:pt x="109338" y="49639"/>
                  </a:cubicBezTo>
                  <a:cubicBezTo>
                    <a:pt x="109011" y="49459"/>
                    <a:pt x="109120" y="49009"/>
                    <a:pt x="109229" y="48558"/>
                  </a:cubicBezTo>
                  <a:cubicBezTo>
                    <a:pt x="109338" y="48468"/>
                    <a:pt x="109338" y="48468"/>
                    <a:pt x="109338" y="48378"/>
                  </a:cubicBezTo>
                  <a:cubicBezTo>
                    <a:pt x="109446" y="48108"/>
                    <a:pt x="109446" y="48018"/>
                    <a:pt x="109773" y="47657"/>
                  </a:cubicBezTo>
                  <a:cubicBezTo>
                    <a:pt x="109882" y="47657"/>
                    <a:pt x="109882" y="47657"/>
                    <a:pt x="109882" y="47657"/>
                  </a:cubicBezTo>
                  <a:cubicBezTo>
                    <a:pt x="109882" y="47567"/>
                    <a:pt x="109555" y="47477"/>
                    <a:pt x="109446" y="47387"/>
                  </a:cubicBezTo>
                  <a:cubicBezTo>
                    <a:pt x="109446" y="47387"/>
                    <a:pt x="109338" y="47297"/>
                    <a:pt x="109229" y="47297"/>
                  </a:cubicBezTo>
                  <a:cubicBezTo>
                    <a:pt x="109011" y="47117"/>
                    <a:pt x="109120" y="46756"/>
                    <a:pt x="109229" y="46216"/>
                  </a:cubicBezTo>
                  <a:cubicBezTo>
                    <a:pt x="109338" y="46126"/>
                    <a:pt x="109338" y="46126"/>
                    <a:pt x="109338" y="46036"/>
                  </a:cubicBezTo>
                  <a:cubicBezTo>
                    <a:pt x="109338" y="45945"/>
                    <a:pt x="109446" y="45675"/>
                    <a:pt x="110970" y="45225"/>
                  </a:cubicBezTo>
                  <a:cubicBezTo>
                    <a:pt x="111078" y="45135"/>
                    <a:pt x="111187" y="45045"/>
                    <a:pt x="111296" y="44684"/>
                  </a:cubicBezTo>
                  <a:cubicBezTo>
                    <a:pt x="111405" y="44324"/>
                    <a:pt x="111840" y="44414"/>
                    <a:pt x="112384" y="44504"/>
                  </a:cubicBezTo>
                  <a:cubicBezTo>
                    <a:pt x="112493" y="44504"/>
                    <a:pt x="112601" y="44504"/>
                    <a:pt x="112710" y="44504"/>
                  </a:cubicBezTo>
                  <a:cubicBezTo>
                    <a:pt x="112710" y="44324"/>
                    <a:pt x="112710" y="44054"/>
                    <a:pt x="112601" y="43873"/>
                  </a:cubicBezTo>
                  <a:cubicBezTo>
                    <a:pt x="112601" y="43693"/>
                    <a:pt x="112601" y="43513"/>
                    <a:pt x="112601" y="43423"/>
                  </a:cubicBezTo>
                  <a:cubicBezTo>
                    <a:pt x="112601" y="43423"/>
                    <a:pt x="112384" y="43423"/>
                    <a:pt x="112166" y="43333"/>
                  </a:cubicBezTo>
                  <a:cubicBezTo>
                    <a:pt x="112058" y="43333"/>
                    <a:pt x="111949" y="43333"/>
                    <a:pt x="111949" y="43333"/>
                  </a:cubicBezTo>
                  <a:cubicBezTo>
                    <a:pt x="111622" y="43243"/>
                    <a:pt x="111078" y="42612"/>
                    <a:pt x="110970" y="42432"/>
                  </a:cubicBezTo>
                  <a:cubicBezTo>
                    <a:pt x="110752" y="42162"/>
                    <a:pt x="111405" y="41531"/>
                    <a:pt x="111622" y="41441"/>
                  </a:cubicBezTo>
                  <a:cubicBezTo>
                    <a:pt x="111840" y="41351"/>
                    <a:pt x="112275" y="41261"/>
                    <a:pt x="112601" y="41171"/>
                  </a:cubicBezTo>
                  <a:cubicBezTo>
                    <a:pt x="112710" y="41081"/>
                    <a:pt x="112710" y="40720"/>
                    <a:pt x="112710" y="40630"/>
                  </a:cubicBezTo>
                  <a:cubicBezTo>
                    <a:pt x="112710" y="40540"/>
                    <a:pt x="112710" y="40540"/>
                    <a:pt x="112710" y="40450"/>
                  </a:cubicBezTo>
                  <a:cubicBezTo>
                    <a:pt x="112710" y="40180"/>
                    <a:pt x="113363" y="39819"/>
                    <a:pt x="113581" y="39729"/>
                  </a:cubicBezTo>
                  <a:cubicBezTo>
                    <a:pt x="113689" y="39729"/>
                    <a:pt x="113689" y="39459"/>
                    <a:pt x="113689" y="39369"/>
                  </a:cubicBezTo>
                  <a:cubicBezTo>
                    <a:pt x="113689" y="39279"/>
                    <a:pt x="113689" y="39189"/>
                    <a:pt x="113689" y="39099"/>
                  </a:cubicBezTo>
                  <a:cubicBezTo>
                    <a:pt x="113798" y="38828"/>
                    <a:pt x="114233" y="38828"/>
                    <a:pt x="114777" y="38828"/>
                  </a:cubicBezTo>
                  <a:cubicBezTo>
                    <a:pt x="114886" y="38828"/>
                    <a:pt x="114886" y="38828"/>
                    <a:pt x="114995" y="38828"/>
                  </a:cubicBezTo>
                  <a:cubicBezTo>
                    <a:pt x="115321" y="38828"/>
                    <a:pt x="115539" y="39099"/>
                    <a:pt x="115757" y="39279"/>
                  </a:cubicBezTo>
                  <a:cubicBezTo>
                    <a:pt x="115757" y="39279"/>
                    <a:pt x="115865" y="39369"/>
                    <a:pt x="115865" y="39369"/>
                  </a:cubicBezTo>
                  <a:cubicBezTo>
                    <a:pt x="115974" y="39459"/>
                    <a:pt x="116192" y="39369"/>
                    <a:pt x="116409" y="39279"/>
                  </a:cubicBezTo>
                  <a:cubicBezTo>
                    <a:pt x="116627" y="39099"/>
                    <a:pt x="116844" y="38828"/>
                    <a:pt x="116953" y="38738"/>
                  </a:cubicBezTo>
                  <a:cubicBezTo>
                    <a:pt x="116953" y="38648"/>
                    <a:pt x="116844" y="38288"/>
                    <a:pt x="116844" y="38018"/>
                  </a:cubicBezTo>
                  <a:cubicBezTo>
                    <a:pt x="116736" y="37927"/>
                    <a:pt x="116736" y="37927"/>
                    <a:pt x="116736" y="37837"/>
                  </a:cubicBezTo>
                  <a:cubicBezTo>
                    <a:pt x="116627" y="37477"/>
                    <a:pt x="116844" y="37387"/>
                    <a:pt x="117062" y="37207"/>
                  </a:cubicBezTo>
                  <a:cubicBezTo>
                    <a:pt x="117171" y="37117"/>
                    <a:pt x="117171" y="37117"/>
                    <a:pt x="117171" y="37117"/>
                  </a:cubicBezTo>
                  <a:cubicBezTo>
                    <a:pt x="117388" y="37027"/>
                    <a:pt x="118041" y="35855"/>
                    <a:pt x="118150" y="35585"/>
                  </a:cubicBezTo>
                  <a:cubicBezTo>
                    <a:pt x="118150" y="35225"/>
                    <a:pt x="118585" y="35225"/>
                    <a:pt x="118912" y="35225"/>
                  </a:cubicBezTo>
                  <a:cubicBezTo>
                    <a:pt x="119020" y="35225"/>
                    <a:pt x="119129" y="35225"/>
                    <a:pt x="119238" y="35225"/>
                  </a:cubicBezTo>
                  <a:cubicBezTo>
                    <a:pt x="119238" y="35225"/>
                    <a:pt x="119129" y="34954"/>
                    <a:pt x="119129" y="34864"/>
                  </a:cubicBezTo>
                  <a:cubicBezTo>
                    <a:pt x="119129" y="34774"/>
                    <a:pt x="119129" y="34684"/>
                    <a:pt x="119129" y="34684"/>
                  </a:cubicBezTo>
                  <a:cubicBezTo>
                    <a:pt x="119020" y="34414"/>
                    <a:pt x="118694" y="33783"/>
                    <a:pt x="118476" y="33513"/>
                  </a:cubicBezTo>
                  <a:cubicBezTo>
                    <a:pt x="118476" y="33423"/>
                    <a:pt x="118150" y="33243"/>
                    <a:pt x="117932" y="33153"/>
                  </a:cubicBezTo>
                  <a:cubicBezTo>
                    <a:pt x="117715" y="33153"/>
                    <a:pt x="117606" y="33063"/>
                    <a:pt x="117606" y="33063"/>
                  </a:cubicBezTo>
                  <a:cubicBezTo>
                    <a:pt x="117497" y="32972"/>
                    <a:pt x="117280" y="32792"/>
                    <a:pt x="117062" y="32702"/>
                  </a:cubicBezTo>
                  <a:cubicBezTo>
                    <a:pt x="116844" y="32432"/>
                    <a:pt x="116518" y="32162"/>
                    <a:pt x="116300" y="32072"/>
                  </a:cubicBezTo>
                  <a:cubicBezTo>
                    <a:pt x="115974" y="31891"/>
                    <a:pt x="115865" y="31171"/>
                    <a:pt x="115974" y="29639"/>
                  </a:cubicBezTo>
                  <a:cubicBezTo>
                    <a:pt x="115974" y="29549"/>
                    <a:pt x="115974" y="29549"/>
                    <a:pt x="115974" y="29459"/>
                  </a:cubicBezTo>
                  <a:cubicBezTo>
                    <a:pt x="115865" y="29459"/>
                    <a:pt x="115539" y="29369"/>
                    <a:pt x="115430" y="29369"/>
                  </a:cubicBezTo>
                  <a:cubicBezTo>
                    <a:pt x="115213" y="29279"/>
                    <a:pt x="115104" y="29279"/>
                    <a:pt x="114995" y="29279"/>
                  </a:cubicBezTo>
                  <a:cubicBezTo>
                    <a:pt x="114777" y="29189"/>
                    <a:pt x="114560" y="28918"/>
                    <a:pt x="114342" y="28378"/>
                  </a:cubicBezTo>
                  <a:cubicBezTo>
                    <a:pt x="114233" y="28288"/>
                    <a:pt x="114233" y="28198"/>
                    <a:pt x="114233" y="28198"/>
                  </a:cubicBezTo>
                  <a:cubicBezTo>
                    <a:pt x="114125" y="28018"/>
                    <a:pt x="114125" y="27657"/>
                    <a:pt x="114125" y="27207"/>
                  </a:cubicBezTo>
                  <a:cubicBezTo>
                    <a:pt x="114125" y="27117"/>
                    <a:pt x="114125" y="27117"/>
                    <a:pt x="114125" y="27027"/>
                  </a:cubicBezTo>
                  <a:cubicBezTo>
                    <a:pt x="114125" y="26936"/>
                    <a:pt x="114125" y="26846"/>
                    <a:pt x="114233" y="26756"/>
                  </a:cubicBezTo>
                  <a:cubicBezTo>
                    <a:pt x="114451" y="26576"/>
                    <a:pt x="114669" y="26576"/>
                    <a:pt x="114886" y="26576"/>
                  </a:cubicBezTo>
                  <a:cubicBezTo>
                    <a:pt x="114886" y="26576"/>
                    <a:pt x="114886" y="26576"/>
                    <a:pt x="114886" y="26576"/>
                  </a:cubicBezTo>
                  <a:cubicBezTo>
                    <a:pt x="114886" y="26486"/>
                    <a:pt x="114777" y="26216"/>
                    <a:pt x="114669" y="26036"/>
                  </a:cubicBezTo>
                  <a:cubicBezTo>
                    <a:pt x="114669" y="25945"/>
                    <a:pt x="114125" y="25765"/>
                    <a:pt x="113798" y="25675"/>
                  </a:cubicBezTo>
                  <a:cubicBezTo>
                    <a:pt x="113689" y="25675"/>
                    <a:pt x="113472" y="25675"/>
                    <a:pt x="113363" y="25585"/>
                  </a:cubicBezTo>
                  <a:cubicBezTo>
                    <a:pt x="113254" y="25585"/>
                    <a:pt x="113145" y="25495"/>
                    <a:pt x="113145" y="25405"/>
                  </a:cubicBezTo>
                  <a:cubicBezTo>
                    <a:pt x="113037" y="25135"/>
                    <a:pt x="113254" y="24864"/>
                    <a:pt x="113363" y="24684"/>
                  </a:cubicBezTo>
                  <a:cubicBezTo>
                    <a:pt x="113363" y="24594"/>
                    <a:pt x="113472" y="24504"/>
                    <a:pt x="113472" y="24504"/>
                  </a:cubicBezTo>
                  <a:cubicBezTo>
                    <a:pt x="113581" y="24144"/>
                    <a:pt x="114669" y="23963"/>
                    <a:pt x="114886" y="23873"/>
                  </a:cubicBezTo>
                  <a:cubicBezTo>
                    <a:pt x="114886" y="23783"/>
                    <a:pt x="114995" y="23603"/>
                    <a:pt x="114995" y="23063"/>
                  </a:cubicBezTo>
                  <a:cubicBezTo>
                    <a:pt x="114995" y="22882"/>
                    <a:pt x="114995" y="22882"/>
                    <a:pt x="114995" y="22882"/>
                  </a:cubicBezTo>
                  <a:cubicBezTo>
                    <a:pt x="114995" y="22702"/>
                    <a:pt x="115213" y="22522"/>
                    <a:pt x="115430" y="22342"/>
                  </a:cubicBezTo>
                  <a:cubicBezTo>
                    <a:pt x="115430" y="22252"/>
                    <a:pt x="115539" y="22252"/>
                    <a:pt x="115539" y="22162"/>
                  </a:cubicBezTo>
                  <a:cubicBezTo>
                    <a:pt x="115757" y="21981"/>
                    <a:pt x="116083" y="22072"/>
                    <a:pt x="116627" y="22162"/>
                  </a:cubicBezTo>
                  <a:cubicBezTo>
                    <a:pt x="116736" y="22162"/>
                    <a:pt x="116953" y="22252"/>
                    <a:pt x="117171" y="22252"/>
                  </a:cubicBezTo>
                  <a:cubicBezTo>
                    <a:pt x="117171" y="22072"/>
                    <a:pt x="117171" y="21711"/>
                    <a:pt x="117062" y="21531"/>
                  </a:cubicBezTo>
                  <a:cubicBezTo>
                    <a:pt x="117062" y="21351"/>
                    <a:pt x="117062" y="21261"/>
                    <a:pt x="117062" y="21171"/>
                  </a:cubicBezTo>
                  <a:cubicBezTo>
                    <a:pt x="117062" y="20900"/>
                    <a:pt x="117606" y="20900"/>
                    <a:pt x="118694" y="20900"/>
                  </a:cubicBezTo>
                  <a:cubicBezTo>
                    <a:pt x="118912" y="20900"/>
                    <a:pt x="119129" y="20900"/>
                    <a:pt x="119238" y="20810"/>
                  </a:cubicBezTo>
                  <a:cubicBezTo>
                    <a:pt x="119456" y="20810"/>
                    <a:pt x="119673" y="20630"/>
                    <a:pt x="119782" y="20450"/>
                  </a:cubicBezTo>
                  <a:cubicBezTo>
                    <a:pt x="119782" y="20270"/>
                    <a:pt x="119564" y="19819"/>
                    <a:pt x="119456" y="19549"/>
                  </a:cubicBezTo>
                  <a:cubicBezTo>
                    <a:pt x="119347" y="19369"/>
                    <a:pt x="119347" y="19279"/>
                    <a:pt x="119347" y="19189"/>
                  </a:cubicBezTo>
                  <a:cubicBezTo>
                    <a:pt x="119238" y="18918"/>
                    <a:pt x="119456" y="18648"/>
                    <a:pt x="119782" y="18378"/>
                  </a:cubicBezTo>
                  <a:cubicBezTo>
                    <a:pt x="119782" y="18288"/>
                    <a:pt x="119891" y="18198"/>
                    <a:pt x="119891" y="18108"/>
                  </a:cubicBezTo>
                  <a:cubicBezTo>
                    <a:pt x="120000" y="18018"/>
                    <a:pt x="119564" y="17477"/>
                    <a:pt x="119129" y="17027"/>
                  </a:cubicBezTo>
                  <a:cubicBezTo>
                    <a:pt x="118803" y="17117"/>
                    <a:pt x="118585" y="17117"/>
                    <a:pt x="118476" y="17027"/>
                  </a:cubicBezTo>
                  <a:cubicBezTo>
                    <a:pt x="118150" y="16936"/>
                    <a:pt x="117932" y="16396"/>
                    <a:pt x="117824" y="16036"/>
                  </a:cubicBezTo>
                  <a:cubicBezTo>
                    <a:pt x="117715" y="15855"/>
                    <a:pt x="117497" y="15675"/>
                    <a:pt x="117280" y="15495"/>
                  </a:cubicBezTo>
                  <a:cubicBezTo>
                    <a:pt x="117062" y="15315"/>
                    <a:pt x="116844" y="15135"/>
                    <a:pt x="116736" y="14954"/>
                  </a:cubicBezTo>
                  <a:cubicBezTo>
                    <a:pt x="116736" y="14864"/>
                    <a:pt x="116518" y="14864"/>
                    <a:pt x="116300" y="14864"/>
                  </a:cubicBezTo>
                  <a:cubicBezTo>
                    <a:pt x="116192" y="14864"/>
                    <a:pt x="116083" y="14864"/>
                    <a:pt x="115974" y="14864"/>
                  </a:cubicBezTo>
                  <a:cubicBezTo>
                    <a:pt x="115757" y="14864"/>
                    <a:pt x="115104" y="15045"/>
                    <a:pt x="114669" y="15135"/>
                  </a:cubicBezTo>
                  <a:cubicBezTo>
                    <a:pt x="114125" y="15315"/>
                    <a:pt x="113907" y="15315"/>
                    <a:pt x="113798" y="15315"/>
                  </a:cubicBezTo>
                  <a:cubicBezTo>
                    <a:pt x="113363" y="15315"/>
                    <a:pt x="112493" y="15045"/>
                    <a:pt x="112275" y="14774"/>
                  </a:cubicBezTo>
                  <a:cubicBezTo>
                    <a:pt x="112058" y="14684"/>
                    <a:pt x="111405" y="14684"/>
                    <a:pt x="111187" y="14684"/>
                  </a:cubicBezTo>
                  <a:cubicBezTo>
                    <a:pt x="111187" y="14684"/>
                    <a:pt x="111187" y="14684"/>
                    <a:pt x="111187" y="14684"/>
                  </a:cubicBezTo>
                  <a:cubicBezTo>
                    <a:pt x="110752" y="14684"/>
                    <a:pt x="110752" y="14324"/>
                    <a:pt x="110752" y="13153"/>
                  </a:cubicBezTo>
                  <a:cubicBezTo>
                    <a:pt x="110752" y="13063"/>
                    <a:pt x="110208" y="12882"/>
                    <a:pt x="109990" y="12702"/>
                  </a:cubicBezTo>
                  <a:cubicBezTo>
                    <a:pt x="109882" y="12702"/>
                    <a:pt x="109773" y="12612"/>
                    <a:pt x="109664" y="12612"/>
                  </a:cubicBezTo>
                  <a:cubicBezTo>
                    <a:pt x="109338" y="12432"/>
                    <a:pt x="109229" y="11981"/>
                    <a:pt x="109120" y="11531"/>
                  </a:cubicBezTo>
                  <a:cubicBezTo>
                    <a:pt x="109011" y="11351"/>
                    <a:pt x="109011" y="11261"/>
                    <a:pt x="109011" y="11171"/>
                  </a:cubicBezTo>
                  <a:cubicBezTo>
                    <a:pt x="108902" y="10990"/>
                    <a:pt x="109011" y="10810"/>
                    <a:pt x="109446" y="10270"/>
                  </a:cubicBezTo>
                  <a:cubicBezTo>
                    <a:pt x="109555" y="10180"/>
                    <a:pt x="109773" y="9909"/>
                    <a:pt x="109882" y="9819"/>
                  </a:cubicBezTo>
                  <a:cubicBezTo>
                    <a:pt x="109882" y="9549"/>
                    <a:pt x="109882" y="8918"/>
                    <a:pt x="109882" y="8648"/>
                  </a:cubicBezTo>
                  <a:cubicBezTo>
                    <a:pt x="109882" y="8288"/>
                    <a:pt x="110317" y="8108"/>
                    <a:pt x="110643" y="8108"/>
                  </a:cubicBezTo>
                  <a:cubicBezTo>
                    <a:pt x="110752" y="8108"/>
                    <a:pt x="110752" y="8018"/>
                    <a:pt x="110861" y="8018"/>
                  </a:cubicBezTo>
                  <a:cubicBezTo>
                    <a:pt x="110861" y="7927"/>
                    <a:pt x="110861" y="7567"/>
                    <a:pt x="110861" y="6936"/>
                  </a:cubicBezTo>
                  <a:cubicBezTo>
                    <a:pt x="110861" y="6846"/>
                    <a:pt x="110861" y="6756"/>
                    <a:pt x="110861" y="6666"/>
                  </a:cubicBezTo>
                  <a:cubicBezTo>
                    <a:pt x="110861" y="6576"/>
                    <a:pt x="110970" y="6216"/>
                    <a:pt x="111296" y="5585"/>
                  </a:cubicBezTo>
                  <a:cubicBezTo>
                    <a:pt x="111296" y="5495"/>
                    <a:pt x="111405" y="5405"/>
                    <a:pt x="111405" y="5315"/>
                  </a:cubicBezTo>
                  <a:cubicBezTo>
                    <a:pt x="111514" y="5135"/>
                    <a:pt x="112493" y="4504"/>
                    <a:pt x="112928" y="4324"/>
                  </a:cubicBezTo>
                  <a:cubicBezTo>
                    <a:pt x="112819" y="4054"/>
                    <a:pt x="112384" y="3423"/>
                    <a:pt x="112166" y="3153"/>
                  </a:cubicBezTo>
                  <a:cubicBezTo>
                    <a:pt x="111949" y="2882"/>
                    <a:pt x="111840" y="2702"/>
                    <a:pt x="111840" y="2612"/>
                  </a:cubicBezTo>
                  <a:cubicBezTo>
                    <a:pt x="111731" y="2522"/>
                    <a:pt x="111405" y="2432"/>
                    <a:pt x="111187" y="2432"/>
                  </a:cubicBezTo>
                  <a:cubicBezTo>
                    <a:pt x="111078" y="2342"/>
                    <a:pt x="110861" y="2342"/>
                    <a:pt x="110752" y="2252"/>
                  </a:cubicBezTo>
                  <a:cubicBezTo>
                    <a:pt x="110534" y="2072"/>
                    <a:pt x="110317" y="1711"/>
                    <a:pt x="110099" y="1351"/>
                  </a:cubicBezTo>
                  <a:cubicBezTo>
                    <a:pt x="110099" y="1351"/>
                    <a:pt x="109773" y="1351"/>
                    <a:pt x="109555" y="1441"/>
                  </a:cubicBezTo>
                  <a:cubicBezTo>
                    <a:pt x="109338" y="1441"/>
                    <a:pt x="109120" y="1441"/>
                    <a:pt x="109011" y="1441"/>
                  </a:cubicBezTo>
                  <a:cubicBezTo>
                    <a:pt x="108685" y="1351"/>
                    <a:pt x="107706" y="1171"/>
                    <a:pt x="107162" y="1081"/>
                  </a:cubicBezTo>
                  <a:cubicBezTo>
                    <a:pt x="106618" y="900"/>
                    <a:pt x="106291" y="180"/>
                    <a:pt x="106291" y="0"/>
                  </a:cubicBezTo>
                  <a:cubicBezTo>
                    <a:pt x="105856" y="270"/>
                    <a:pt x="104877" y="900"/>
                    <a:pt x="104877" y="1171"/>
                  </a:cubicBezTo>
                  <a:cubicBezTo>
                    <a:pt x="104877" y="1351"/>
                    <a:pt x="104660" y="1711"/>
                    <a:pt x="104877" y="1981"/>
                  </a:cubicBezTo>
                  <a:cubicBezTo>
                    <a:pt x="105095" y="2252"/>
                    <a:pt x="105639" y="2612"/>
                    <a:pt x="105203" y="2702"/>
                  </a:cubicBezTo>
                  <a:cubicBezTo>
                    <a:pt x="104768" y="2792"/>
                    <a:pt x="104224" y="2522"/>
                    <a:pt x="103898" y="2792"/>
                  </a:cubicBezTo>
                  <a:cubicBezTo>
                    <a:pt x="103680" y="3063"/>
                    <a:pt x="102919" y="3603"/>
                    <a:pt x="102592" y="3783"/>
                  </a:cubicBezTo>
                  <a:cubicBezTo>
                    <a:pt x="102375" y="3873"/>
                    <a:pt x="101396" y="4504"/>
                    <a:pt x="100743" y="4144"/>
                  </a:cubicBezTo>
                  <a:cubicBezTo>
                    <a:pt x="100090" y="3783"/>
                    <a:pt x="98023" y="1711"/>
                    <a:pt x="97153" y="1801"/>
                  </a:cubicBezTo>
                  <a:cubicBezTo>
                    <a:pt x="96282" y="1801"/>
                    <a:pt x="93236" y="1981"/>
                    <a:pt x="93019" y="2252"/>
                  </a:cubicBezTo>
                  <a:cubicBezTo>
                    <a:pt x="92801" y="2432"/>
                    <a:pt x="91604" y="3423"/>
                    <a:pt x="91278" y="3693"/>
                  </a:cubicBezTo>
                  <a:cubicBezTo>
                    <a:pt x="91060" y="4054"/>
                    <a:pt x="89972" y="4954"/>
                    <a:pt x="89755" y="5135"/>
                  </a:cubicBezTo>
                  <a:cubicBezTo>
                    <a:pt x="89537" y="5315"/>
                    <a:pt x="87905" y="7207"/>
                    <a:pt x="87905" y="7567"/>
                  </a:cubicBezTo>
                  <a:cubicBezTo>
                    <a:pt x="88014" y="7927"/>
                    <a:pt x="88232" y="8918"/>
                    <a:pt x="88014" y="9099"/>
                  </a:cubicBezTo>
                  <a:cubicBezTo>
                    <a:pt x="87796" y="9279"/>
                    <a:pt x="85838" y="11261"/>
                    <a:pt x="85512" y="11531"/>
                  </a:cubicBezTo>
                  <a:cubicBezTo>
                    <a:pt x="85185" y="11711"/>
                    <a:pt x="84750" y="11981"/>
                    <a:pt x="84315" y="11981"/>
                  </a:cubicBezTo>
                  <a:cubicBezTo>
                    <a:pt x="83880" y="11981"/>
                    <a:pt x="83336" y="11981"/>
                    <a:pt x="83009" y="11801"/>
                  </a:cubicBezTo>
                  <a:cubicBezTo>
                    <a:pt x="82683" y="11621"/>
                    <a:pt x="82030" y="11261"/>
                    <a:pt x="81704" y="11351"/>
                  </a:cubicBezTo>
                  <a:cubicBezTo>
                    <a:pt x="81378" y="11441"/>
                    <a:pt x="79963" y="12162"/>
                    <a:pt x="79963" y="12432"/>
                  </a:cubicBezTo>
                  <a:cubicBezTo>
                    <a:pt x="80072" y="12702"/>
                    <a:pt x="80290" y="13873"/>
                    <a:pt x="79854" y="13603"/>
                  </a:cubicBezTo>
                  <a:cubicBezTo>
                    <a:pt x="79528" y="13333"/>
                    <a:pt x="78875" y="12432"/>
                    <a:pt x="78658" y="12702"/>
                  </a:cubicBezTo>
                  <a:cubicBezTo>
                    <a:pt x="78331" y="12882"/>
                    <a:pt x="77679" y="13513"/>
                    <a:pt x="77243" y="13513"/>
                  </a:cubicBezTo>
                  <a:cubicBezTo>
                    <a:pt x="76917" y="13603"/>
                    <a:pt x="76155" y="13603"/>
                    <a:pt x="75829" y="13513"/>
                  </a:cubicBezTo>
                  <a:cubicBezTo>
                    <a:pt x="75611" y="13423"/>
                    <a:pt x="74959" y="13333"/>
                    <a:pt x="75394" y="12882"/>
                  </a:cubicBezTo>
                  <a:cubicBezTo>
                    <a:pt x="75829" y="12432"/>
                    <a:pt x="76482" y="11711"/>
                    <a:pt x="76264" y="11531"/>
                  </a:cubicBezTo>
                  <a:cubicBezTo>
                    <a:pt x="76155" y="11351"/>
                    <a:pt x="75394" y="10810"/>
                    <a:pt x="74850" y="10900"/>
                  </a:cubicBezTo>
                  <a:cubicBezTo>
                    <a:pt x="74415" y="10990"/>
                    <a:pt x="71804" y="11981"/>
                    <a:pt x="71804" y="11981"/>
                  </a:cubicBezTo>
                  <a:cubicBezTo>
                    <a:pt x="71151" y="12252"/>
                    <a:pt x="70498" y="13873"/>
                    <a:pt x="70281" y="14234"/>
                  </a:cubicBezTo>
                  <a:cubicBezTo>
                    <a:pt x="70172" y="14504"/>
                    <a:pt x="70607" y="16126"/>
                    <a:pt x="70607" y="16576"/>
                  </a:cubicBezTo>
                  <a:cubicBezTo>
                    <a:pt x="70716" y="16936"/>
                    <a:pt x="70716" y="17657"/>
                    <a:pt x="70607" y="18018"/>
                  </a:cubicBezTo>
                  <a:cubicBezTo>
                    <a:pt x="70389" y="18378"/>
                    <a:pt x="69845" y="18738"/>
                    <a:pt x="69410" y="18738"/>
                  </a:cubicBezTo>
                  <a:cubicBezTo>
                    <a:pt x="68975" y="18828"/>
                    <a:pt x="69519" y="17027"/>
                    <a:pt x="69519" y="16666"/>
                  </a:cubicBezTo>
                  <a:cubicBezTo>
                    <a:pt x="69519" y="16396"/>
                    <a:pt x="68866" y="16216"/>
                    <a:pt x="68431" y="16216"/>
                  </a:cubicBezTo>
                  <a:cubicBezTo>
                    <a:pt x="67996" y="16216"/>
                    <a:pt x="67452" y="16846"/>
                    <a:pt x="67234" y="17027"/>
                  </a:cubicBezTo>
                  <a:cubicBezTo>
                    <a:pt x="66908" y="17207"/>
                    <a:pt x="66473" y="17477"/>
                    <a:pt x="66038" y="17477"/>
                  </a:cubicBezTo>
                  <a:cubicBezTo>
                    <a:pt x="65711" y="17477"/>
                    <a:pt x="66146" y="16576"/>
                    <a:pt x="66255" y="16216"/>
                  </a:cubicBezTo>
                  <a:cubicBezTo>
                    <a:pt x="66473" y="15855"/>
                    <a:pt x="66690" y="15855"/>
                    <a:pt x="66908" y="15675"/>
                  </a:cubicBezTo>
                  <a:cubicBezTo>
                    <a:pt x="67126" y="15585"/>
                    <a:pt x="67561" y="15405"/>
                    <a:pt x="67887" y="14864"/>
                  </a:cubicBezTo>
                  <a:cubicBezTo>
                    <a:pt x="68322" y="14414"/>
                    <a:pt x="67017" y="14594"/>
                    <a:pt x="66690" y="14684"/>
                  </a:cubicBezTo>
                  <a:cubicBezTo>
                    <a:pt x="66364" y="14774"/>
                    <a:pt x="63644" y="15945"/>
                    <a:pt x="62883" y="16036"/>
                  </a:cubicBezTo>
                  <a:cubicBezTo>
                    <a:pt x="62121" y="16126"/>
                    <a:pt x="62012" y="17297"/>
                    <a:pt x="61903" y="17567"/>
                  </a:cubicBezTo>
                  <a:cubicBezTo>
                    <a:pt x="61795" y="17837"/>
                    <a:pt x="60489" y="18288"/>
                    <a:pt x="60054" y="18288"/>
                  </a:cubicBezTo>
                  <a:cubicBezTo>
                    <a:pt x="59728" y="18288"/>
                    <a:pt x="58966" y="18468"/>
                    <a:pt x="58313" y="18468"/>
                  </a:cubicBezTo>
                  <a:cubicBezTo>
                    <a:pt x="57769" y="18468"/>
                    <a:pt x="57334" y="19279"/>
                    <a:pt x="57334" y="19279"/>
                  </a:cubicBezTo>
                  <a:cubicBezTo>
                    <a:pt x="57334" y="19279"/>
                    <a:pt x="58531" y="20180"/>
                    <a:pt x="58748" y="20270"/>
                  </a:cubicBezTo>
                  <a:cubicBezTo>
                    <a:pt x="58966" y="20450"/>
                    <a:pt x="59075" y="20540"/>
                    <a:pt x="58857" y="20990"/>
                  </a:cubicBezTo>
                  <a:cubicBezTo>
                    <a:pt x="58640" y="21441"/>
                    <a:pt x="57769" y="22072"/>
                    <a:pt x="57552" y="22252"/>
                  </a:cubicBezTo>
                  <a:cubicBezTo>
                    <a:pt x="57225" y="22432"/>
                    <a:pt x="57225" y="23153"/>
                    <a:pt x="57225" y="23423"/>
                  </a:cubicBezTo>
                  <a:cubicBezTo>
                    <a:pt x="57225" y="23603"/>
                    <a:pt x="57878" y="24054"/>
                    <a:pt x="58096" y="24144"/>
                  </a:cubicBezTo>
                  <a:cubicBezTo>
                    <a:pt x="58422" y="24324"/>
                    <a:pt x="58748" y="23063"/>
                    <a:pt x="58966" y="22792"/>
                  </a:cubicBezTo>
                  <a:cubicBezTo>
                    <a:pt x="59184" y="22432"/>
                    <a:pt x="59619" y="23243"/>
                    <a:pt x="59619" y="23513"/>
                  </a:cubicBezTo>
                  <a:cubicBezTo>
                    <a:pt x="59619" y="23693"/>
                    <a:pt x="59619" y="24144"/>
                    <a:pt x="59728" y="24504"/>
                  </a:cubicBezTo>
                  <a:cubicBezTo>
                    <a:pt x="59728" y="24864"/>
                    <a:pt x="60598" y="24684"/>
                    <a:pt x="60815" y="24864"/>
                  </a:cubicBezTo>
                  <a:cubicBezTo>
                    <a:pt x="60924" y="24954"/>
                    <a:pt x="61468" y="25225"/>
                    <a:pt x="61686" y="25495"/>
                  </a:cubicBezTo>
                  <a:cubicBezTo>
                    <a:pt x="62012" y="25765"/>
                    <a:pt x="62121" y="25765"/>
                    <a:pt x="62230" y="26036"/>
                  </a:cubicBezTo>
                  <a:cubicBezTo>
                    <a:pt x="62447" y="26216"/>
                    <a:pt x="61903" y="26666"/>
                    <a:pt x="61686" y="26846"/>
                  </a:cubicBezTo>
                  <a:cubicBezTo>
                    <a:pt x="61577" y="27027"/>
                    <a:pt x="60707" y="26936"/>
                    <a:pt x="60271" y="26936"/>
                  </a:cubicBezTo>
                  <a:cubicBezTo>
                    <a:pt x="59836" y="26936"/>
                    <a:pt x="59292" y="27567"/>
                    <a:pt x="58857" y="28018"/>
                  </a:cubicBezTo>
                  <a:cubicBezTo>
                    <a:pt x="58313" y="28558"/>
                    <a:pt x="59728" y="28738"/>
                    <a:pt x="60271" y="28918"/>
                  </a:cubicBezTo>
                  <a:cubicBezTo>
                    <a:pt x="60707" y="29189"/>
                    <a:pt x="60380" y="29549"/>
                    <a:pt x="60380" y="29819"/>
                  </a:cubicBezTo>
                  <a:cubicBezTo>
                    <a:pt x="60380" y="30090"/>
                    <a:pt x="58857" y="29549"/>
                    <a:pt x="58422" y="29459"/>
                  </a:cubicBezTo>
                  <a:cubicBezTo>
                    <a:pt x="58096" y="29369"/>
                    <a:pt x="56029" y="29819"/>
                    <a:pt x="55485" y="29909"/>
                  </a:cubicBezTo>
                  <a:cubicBezTo>
                    <a:pt x="54941" y="30000"/>
                    <a:pt x="54505" y="30900"/>
                    <a:pt x="54179" y="31351"/>
                  </a:cubicBezTo>
                  <a:cubicBezTo>
                    <a:pt x="53853" y="31711"/>
                    <a:pt x="54397" y="32882"/>
                    <a:pt x="54397" y="33153"/>
                  </a:cubicBezTo>
                  <a:cubicBezTo>
                    <a:pt x="54397" y="33513"/>
                    <a:pt x="52873" y="33333"/>
                    <a:pt x="52547" y="33333"/>
                  </a:cubicBezTo>
                  <a:cubicBezTo>
                    <a:pt x="52112" y="33423"/>
                    <a:pt x="51568" y="33423"/>
                    <a:pt x="51133" y="33513"/>
                  </a:cubicBezTo>
                  <a:cubicBezTo>
                    <a:pt x="50589" y="33693"/>
                    <a:pt x="50480" y="33243"/>
                    <a:pt x="50045" y="32972"/>
                  </a:cubicBezTo>
                  <a:cubicBezTo>
                    <a:pt x="49610" y="32702"/>
                    <a:pt x="48848" y="32612"/>
                    <a:pt x="48304" y="32612"/>
                  </a:cubicBezTo>
                  <a:cubicBezTo>
                    <a:pt x="47760" y="32612"/>
                    <a:pt x="47869" y="33153"/>
                    <a:pt x="47978" y="33423"/>
                  </a:cubicBezTo>
                  <a:cubicBezTo>
                    <a:pt x="48087" y="33783"/>
                    <a:pt x="48631" y="34324"/>
                    <a:pt x="48848" y="34504"/>
                  </a:cubicBezTo>
                  <a:cubicBezTo>
                    <a:pt x="49066" y="34684"/>
                    <a:pt x="48848" y="35225"/>
                    <a:pt x="48848" y="35495"/>
                  </a:cubicBezTo>
                  <a:cubicBezTo>
                    <a:pt x="48848" y="35765"/>
                    <a:pt x="49392" y="36666"/>
                    <a:pt x="49501" y="36846"/>
                  </a:cubicBezTo>
                  <a:cubicBezTo>
                    <a:pt x="49501" y="37027"/>
                    <a:pt x="50045" y="38288"/>
                    <a:pt x="50045" y="38648"/>
                  </a:cubicBezTo>
                  <a:cubicBezTo>
                    <a:pt x="50045" y="38918"/>
                    <a:pt x="49936" y="39459"/>
                    <a:pt x="49718" y="39549"/>
                  </a:cubicBezTo>
                  <a:cubicBezTo>
                    <a:pt x="49501" y="39729"/>
                    <a:pt x="48631" y="39279"/>
                    <a:pt x="48413" y="39009"/>
                  </a:cubicBezTo>
                  <a:cubicBezTo>
                    <a:pt x="48087" y="38828"/>
                    <a:pt x="47651" y="39369"/>
                    <a:pt x="47434" y="39459"/>
                  </a:cubicBezTo>
                  <a:cubicBezTo>
                    <a:pt x="47216" y="39639"/>
                    <a:pt x="46019" y="39099"/>
                    <a:pt x="45367" y="39009"/>
                  </a:cubicBezTo>
                  <a:cubicBezTo>
                    <a:pt x="44714" y="38918"/>
                    <a:pt x="43735" y="37747"/>
                    <a:pt x="43408" y="37567"/>
                  </a:cubicBezTo>
                  <a:cubicBezTo>
                    <a:pt x="42973" y="37387"/>
                    <a:pt x="42320" y="37387"/>
                    <a:pt x="41885" y="37387"/>
                  </a:cubicBezTo>
                  <a:cubicBezTo>
                    <a:pt x="41450" y="37387"/>
                    <a:pt x="41559" y="36756"/>
                    <a:pt x="41559" y="36486"/>
                  </a:cubicBezTo>
                  <a:cubicBezTo>
                    <a:pt x="41559" y="36216"/>
                    <a:pt x="41341" y="35855"/>
                    <a:pt x="41233" y="35855"/>
                  </a:cubicBezTo>
                  <a:cubicBezTo>
                    <a:pt x="41015" y="35765"/>
                    <a:pt x="40362" y="36216"/>
                    <a:pt x="40036" y="36306"/>
                  </a:cubicBezTo>
                  <a:cubicBezTo>
                    <a:pt x="39709" y="36396"/>
                    <a:pt x="39492" y="36126"/>
                    <a:pt x="39274" y="35765"/>
                  </a:cubicBezTo>
                  <a:cubicBezTo>
                    <a:pt x="38948" y="35405"/>
                    <a:pt x="39383" y="35315"/>
                    <a:pt x="39601" y="35045"/>
                  </a:cubicBezTo>
                  <a:cubicBezTo>
                    <a:pt x="39709" y="34774"/>
                    <a:pt x="40253" y="34774"/>
                    <a:pt x="40580" y="34684"/>
                  </a:cubicBezTo>
                  <a:cubicBezTo>
                    <a:pt x="40906" y="34594"/>
                    <a:pt x="40689" y="33873"/>
                    <a:pt x="40689" y="33603"/>
                  </a:cubicBezTo>
                  <a:cubicBezTo>
                    <a:pt x="40689" y="33243"/>
                    <a:pt x="40253" y="33063"/>
                    <a:pt x="39927" y="32882"/>
                  </a:cubicBezTo>
                  <a:cubicBezTo>
                    <a:pt x="39492" y="32702"/>
                    <a:pt x="39165" y="33243"/>
                    <a:pt x="38621" y="33333"/>
                  </a:cubicBezTo>
                  <a:cubicBezTo>
                    <a:pt x="37969" y="33423"/>
                    <a:pt x="38404" y="32972"/>
                    <a:pt x="38404" y="32612"/>
                  </a:cubicBezTo>
                  <a:cubicBezTo>
                    <a:pt x="38404" y="32252"/>
                    <a:pt x="38186" y="32072"/>
                    <a:pt x="37969" y="31891"/>
                  </a:cubicBezTo>
                  <a:cubicBezTo>
                    <a:pt x="37751" y="31711"/>
                    <a:pt x="37425" y="31531"/>
                    <a:pt x="36772" y="31531"/>
                  </a:cubicBezTo>
                  <a:cubicBezTo>
                    <a:pt x="36228" y="31531"/>
                    <a:pt x="36990" y="30450"/>
                    <a:pt x="37098" y="30090"/>
                  </a:cubicBezTo>
                  <a:cubicBezTo>
                    <a:pt x="37207" y="29819"/>
                    <a:pt x="35793" y="29549"/>
                    <a:pt x="35466" y="29459"/>
                  </a:cubicBezTo>
                  <a:cubicBezTo>
                    <a:pt x="35031" y="29459"/>
                    <a:pt x="35031" y="29729"/>
                    <a:pt x="34814" y="29909"/>
                  </a:cubicBezTo>
                  <a:cubicBezTo>
                    <a:pt x="34487" y="30090"/>
                    <a:pt x="33943" y="29279"/>
                    <a:pt x="33508" y="29009"/>
                  </a:cubicBezTo>
                  <a:cubicBezTo>
                    <a:pt x="33182" y="28738"/>
                    <a:pt x="33073" y="29099"/>
                    <a:pt x="32964" y="29279"/>
                  </a:cubicBezTo>
                  <a:cubicBezTo>
                    <a:pt x="32964" y="29369"/>
                    <a:pt x="32638" y="29549"/>
                    <a:pt x="32311" y="29639"/>
                  </a:cubicBezTo>
                  <a:cubicBezTo>
                    <a:pt x="31985" y="29729"/>
                    <a:pt x="32094" y="30000"/>
                    <a:pt x="32094" y="30270"/>
                  </a:cubicBezTo>
                  <a:cubicBezTo>
                    <a:pt x="32094" y="30630"/>
                    <a:pt x="31767" y="30810"/>
                    <a:pt x="31441" y="30990"/>
                  </a:cubicBezTo>
                  <a:cubicBezTo>
                    <a:pt x="31115" y="31081"/>
                    <a:pt x="30788" y="30720"/>
                    <a:pt x="30571" y="30540"/>
                  </a:cubicBezTo>
                  <a:cubicBezTo>
                    <a:pt x="30462" y="30450"/>
                    <a:pt x="30135" y="30990"/>
                    <a:pt x="29700" y="31351"/>
                  </a:cubicBezTo>
                  <a:cubicBezTo>
                    <a:pt x="29374" y="31711"/>
                    <a:pt x="28177" y="30540"/>
                    <a:pt x="27960" y="30270"/>
                  </a:cubicBezTo>
                  <a:cubicBezTo>
                    <a:pt x="27851" y="30090"/>
                    <a:pt x="27198" y="30270"/>
                    <a:pt x="26872" y="30450"/>
                  </a:cubicBezTo>
                  <a:cubicBezTo>
                    <a:pt x="26654" y="30630"/>
                    <a:pt x="26219" y="30090"/>
                    <a:pt x="26001" y="29909"/>
                  </a:cubicBezTo>
                  <a:cubicBezTo>
                    <a:pt x="25893" y="29729"/>
                    <a:pt x="25457" y="31621"/>
                    <a:pt x="25349" y="31981"/>
                  </a:cubicBezTo>
                  <a:cubicBezTo>
                    <a:pt x="25240" y="32252"/>
                    <a:pt x="26436" y="33333"/>
                    <a:pt x="26654" y="33603"/>
                  </a:cubicBezTo>
                  <a:cubicBezTo>
                    <a:pt x="26872" y="33873"/>
                    <a:pt x="27089" y="35045"/>
                    <a:pt x="26872" y="35585"/>
                  </a:cubicBezTo>
                  <a:cubicBezTo>
                    <a:pt x="26763" y="36216"/>
                    <a:pt x="25240" y="36126"/>
                    <a:pt x="24913" y="36216"/>
                  </a:cubicBezTo>
                  <a:cubicBezTo>
                    <a:pt x="24587" y="36216"/>
                    <a:pt x="23390" y="37027"/>
                    <a:pt x="22955" y="37297"/>
                  </a:cubicBezTo>
                  <a:cubicBezTo>
                    <a:pt x="22520" y="37477"/>
                    <a:pt x="21976" y="37567"/>
                    <a:pt x="21432" y="37657"/>
                  </a:cubicBezTo>
                  <a:cubicBezTo>
                    <a:pt x="20997" y="37657"/>
                    <a:pt x="20888" y="37207"/>
                    <a:pt x="20670" y="36846"/>
                  </a:cubicBezTo>
                  <a:cubicBezTo>
                    <a:pt x="20453" y="36396"/>
                    <a:pt x="20235" y="37567"/>
                    <a:pt x="20018" y="37747"/>
                  </a:cubicBezTo>
                  <a:cubicBezTo>
                    <a:pt x="19800" y="37927"/>
                    <a:pt x="18059" y="37837"/>
                    <a:pt x="18059" y="37837"/>
                  </a:cubicBezTo>
                  <a:cubicBezTo>
                    <a:pt x="17733" y="37837"/>
                    <a:pt x="17189" y="37297"/>
                    <a:pt x="16645" y="36936"/>
                  </a:cubicBezTo>
                  <a:cubicBezTo>
                    <a:pt x="16210" y="36576"/>
                    <a:pt x="16645" y="36576"/>
                    <a:pt x="16971" y="36216"/>
                  </a:cubicBezTo>
                  <a:cubicBezTo>
                    <a:pt x="17189" y="35765"/>
                    <a:pt x="16645" y="35765"/>
                    <a:pt x="16536" y="35765"/>
                  </a:cubicBezTo>
                  <a:cubicBezTo>
                    <a:pt x="16319" y="35675"/>
                    <a:pt x="15122" y="35855"/>
                    <a:pt x="14687" y="36036"/>
                  </a:cubicBezTo>
                  <a:cubicBezTo>
                    <a:pt x="14360" y="36126"/>
                    <a:pt x="12728" y="36396"/>
                    <a:pt x="12293" y="36396"/>
                  </a:cubicBezTo>
                  <a:cubicBezTo>
                    <a:pt x="11858" y="36396"/>
                    <a:pt x="10553" y="36936"/>
                    <a:pt x="10117" y="37207"/>
                  </a:cubicBezTo>
                  <a:cubicBezTo>
                    <a:pt x="9682" y="37567"/>
                    <a:pt x="8159" y="38648"/>
                    <a:pt x="7724" y="38918"/>
                  </a:cubicBezTo>
                  <a:cubicBezTo>
                    <a:pt x="7289" y="39279"/>
                    <a:pt x="8159" y="39639"/>
                    <a:pt x="8485" y="40000"/>
                  </a:cubicBezTo>
                  <a:cubicBezTo>
                    <a:pt x="8812" y="40450"/>
                    <a:pt x="7833" y="40180"/>
                    <a:pt x="7506" y="40180"/>
                  </a:cubicBezTo>
                  <a:cubicBezTo>
                    <a:pt x="7289" y="40180"/>
                    <a:pt x="6854" y="39729"/>
                    <a:pt x="6636" y="39549"/>
                  </a:cubicBezTo>
                  <a:cubicBezTo>
                    <a:pt x="6418" y="39279"/>
                    <a:pt x="6310" y="38738"/>
                    <a:pt x="6310" y="38378"/>
                  </a:cubicBezTo>
                  <a:cubicBezTo>
                    <a:pt x="6418" y="38018"/>
                    <a:pt x="6310" y="37567"/>
                    <a:pt x="6092" y="37297"/>
                  </a:cubicBezTo>
                  <a:cubicBezTo>
                    <a:pt x="5874" y="36936"/>
                    <a:pt x="5548" y="37207"/>
                    <a:pt x="5330" y="37477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1" name="Shape 6935">
              <a:extLst>
                <a:ext uri="{FF2B5EF4-FFF2-40B4-BE49-F238E27FC236}">
                  <a16:creationId xmlns:a16="http://schemas.microsoft.com/office/drawing/2014/main" id="{10ACED44-B304-48B4-B68C-806CD7BC0BFB}"/>
                </a:ext>
              </a:extLst>
            </p:cNvPr>
            <p:cNvSpPr/>
            <p:nvPr/>
          </p:nvSpPr>
          <p:spPr>
            <a:xfrm>
              <a:off x="6978979" y="2862435"/>
              <a:ext cx="1182748" cy="181967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5693" y="101007"/>
                  </a:moveTo>
                  <a:cubicBezTo>
                    <a:pt x="115693" y="101130"/>
                    <a:pt x="116672" y="101623"/>
                    <a:pt x="117650" y="101870"/>
                  </a:cubicBezTo>
                  <a:cubicBezTo>
                    <a:pt x="117846" y="101870"/>
                    <a:pt x="118825" y="101377"/>
                    <a:pt x="119804" y="100883"/>
                  </a:cubicBezTo>
                  <a:cubicBezTo>
                    <a:pt x="119804" y="100760"/>
                    <a:pt x="119804" y="100760"/>
                    <a:pt x="120000" y="100760"/>
                  </a:cubicBezTo>
                  <a:cubicBezTo>
                    <a:pt x="119804" y="99773"/>
                    <a:pt x="118433" y="97923"/>
                    <a:pt x="118433" y="97553"/>
                  </a:cubicBezTo>
                  <a:cubicBezTo>
                    <a:pt x="118433" y="97183"/>
                    <a:pt x="118433" y="96197"/>
                    <a:pt x="118629" y="95457"/>
                  </a:cubicBezTo>
                  <a:cubicBezTo>
                    <a:pt x="118825" y="94717"/>
                    <a:pt x="119021" y="91880"/>
                    <a:pt x="119021" y="91264"/>
                  </a:cubicBezTo>
                  <a:cubicBezTo>
                    <a:pt x="119021" y="90647"/>
                    <a:pt x="114910" y="87564"/>
                    <a:pt x="114323" y="86947"/>
                  </a:cubicBezTo>
                  <a:cubicBezTo>
                    <a:pt x="113735" y="86330"/>
                    <a:pt x="110799" y="83247"/>
                    <a:pt x="109624" y="82754"/>
                  </a:cubicBezTo>
                  <a:cubicBezTo>
                    <a:pt x="108450" y="82261"/>
                    <a:pt x="108058" y="81397"/>
                    <a:pt x="108058" y="80534"/>
                  </a:cubicBezTo>
                  <a:cubicBezTo>
                    <a:pt x="108058" y="79671"/>
                    <a:pt x="102969" y="77204"/>
                    <a:pt x="102185" y="76464"/>
                  </a:cubicBezTo>
                  <a:cubicBezTo>
                    <a:pt x="101402" y="75724"/>
                    <a:pt x="99836" y="74121"/>
                    <a:pt x="99445" y="73381"/>
                  </a:cubicBezTo>
                  <a:cubicBezTo>
                    <a:pt x="99053" y="72641"/>
                    <a:pt x="97879" y="69188"/>
                    <a:pt x="97879" y="68571"/>
                  </a:cubicBezTo>
                  <a:cubicBezTo>
                    <a:pt x="97879" y="67954"/>
                    <a:pt x="96900" y="66844"/>
                    <a:pt x="96313" y="66104"/>
                  </a:cubicBezTo>
                  <a:cubicBezTo>
                    <a:pt x="95725" y="65364"/>
                    <a:pt x="93572" y="65734"/>
                    <a:pt x="92398" y="65734"/>
                  </a:cubicBezTo>
                  <a:cubicBezTo>
                    <a:pt x="91223" y="65734"/>
                    <a:pt x="91027" y="64378"/>
                    <a:pt x="90636" y="63638"/>
                  </a:cubicBezTo>
                  <a:cubicBezTo>
                    <a:pt x="90244" y="62898"/>
                    <a:pt x="88874" y="63638"/>
                    <a:pt x="86721" y="63391"/>
                  </a:cubicBezTo>
                  <a:cubicBezTo>
                    <a:pt x="84567" y="63144"/>
                    <a:pt x="87308" y="62281"/>
                    <a:pt x="88091" y="61541"/>
                  </a:cubicBezTo>
                  <a:cubicBezTo>
                    <a:pt x="88874" y="60801"/>
                    <a:pt x="88091" y="60308"/>
                    <a:pt x="87308" y="59815"/>
                  </a:cubicBezTo>
                  <a:cubicBezTo>
                    <a:pt x="86525" y="59321"/>
                    <a:pt x="83001" y="60308"/>
                    <a:pt x="81827" y="60554"/>
                  </a:cubicBezTo>
                  <a:cubicBezTo>
                    <a:pt x="80652" y="60801"/>
                    <a:pt x="79086" y="60061"/>
                    <a:pt x="77911" y="59691"/>
                  </a:cubicBezTo>
                  <a:cubicBezTo>
                    <a:pt x="76737" y="59321"/>
                    <a:pt x="73409" y="59691"/>
                    <a:pt x="71451" y="59815"/>
                  </a:cubicBezTo>
                  <a:cubicBezTo>
                    <a:pt x="69494" y="59938"/>
                    <a:pt x="67145" y="61418"/>
                    <a:pt x="66166" y="61664"/>
                  </a:cubicBezTo>
                  <a:cubicBezTo>
                    <a:pt x="65187" y="61911"/>
                    <a:pt x="69298" y="65611"/>
                    <a:pt x="69298" y="65611"/>
                  </a:cubicBezTo>
                  <a:cubicBezTo>
                    <a:pt x="69298" y="65611"/>
                    <a:pt x="69885" y="66598"/>
                    <a:pt x="69494" y="67214"/>
                  </a:cubicBezTo>
                  <a:cubicBezTo>
                    <a:pt x="69102" y="67831"/>
                    <a:pt x="68123" y="67461"/>
                    <a:pt x="67145" y="66844"/>
                  </a:cubicBezTo>
                  <a:cubicBezTo>
                    <a:pt x="66166" y="66228"/>
                    <a:pt x="65774" y="67954"/>
                    <a:pt x="65579" y="69064"/>
                  </a:cubicBezTo>
                  <a:cubicBezTo>
                    <a:pt x="65383" y="70174"/>
                    <a:pt x="64013" y="69804"/>
                    <a:pt x="62838" y="69928"/>
                  </a:cubicBezTo>
                  <a:cubicBezTo>
                    <a:pt x="61663" y="70051"/>
                    <a:pt x="62642" y="68818"/>
                    <a:pt x="62642" y="68078"/>
                  </a:cubicBezTo>
                  <a:cubicBezTo>
                    <a:pt x="62642" y="67338"/>
                    <a:pt x="61859" y="66844"/>
                    <a:pt x="60880" y="66844"/>
                  </a:cubicBezTo>
                  <a:cubicBezTo>
                    <a:pt x="59902" y="66844"/>
                    <a:pt x="59706" y="66104"/>
                    <a:pt x="58727" y="65858"/>
                  </a:cubicBezTo>
                  <a:cubicBezTo>
                    <a:pt x="57748" y="65611"/>
                    <a:pt x="58140" y="67091"/>
                    <a:pt x="58531" y="67708"/>
                  </a:cubicBezTo>
                  <a:cubicBezTo>
                    <a:pt x="58923" y="68324"/>
                    <a:pt x="59510" y="68571"/>
                    <a:pt x="59510" y="69188"/>
                  </a:cubicBezTo>
                  <a:cubicBezTo>
                    <a:pt x="59510" y="69804"/>
                    <a:pt x="58727" y="70421"/>
                    <a:pt x="57944" y="70544"/>
                  </a:cubicBezTo>
                  <a:cubicBezTo>
                    <a:pt x="57161" y="70668"/>
                    <a:pt x="55791" y="68324"/>
                    <a:pt x="55399" y="67338"/>
                  </a:cubicBezTo>
                  <a:cubicBezTo>
                    <a:pt x="55008" y="66351"/>
                    <a:pt x="53050" y="66104"/>
                    <a:pt x="52267" y="65858"/>
                  </a:cubicBezTo>
                  <a:cubicBezTo>
                    <a:pt x="51484" y="65611"/>
                    <a:pt x="50309" y="66598"/>
                    <a:pt x="49331" y="67091"/>
                  </a:cubicBezTo>
                  <a:cubicBezTo>
                    <a:pt x="48352" y="67584"/>
                    <a:pt x="46982" y="67708"/>
                    <a:pt x="46394" y="67708"/>
                  </a:cubicBezTo>
                  <a:cubicBezTo>
                    <a:pt x="45807" y="67708"/>
                    <a:pt x="44241" y="68448"/>
                    <a:pt x="43458" y="68941"/>
                  </a:cubicBezTo>
                  <a:cubicBezTo>
                    <a:pt x="42675" y="69434"/>
                    <a:pt x="41500" y="68324"/>
                    <a:pt x="41305" y="67584"/>
                  </a:cubicBezTo>
                  <a:cubicBezTo>
                    <a:pt x="41109" y="66844"/>
                    <a:pt x="41500" y="66351"/>
                    <a:pt x="42088" y="65858"/>
                  </a:cubicBezTo>
                  <a:cubicBezTo>
                    <a:pt x="42675" y="65364"/>
                    <a:pt x="42283" y="64501"/>
                    <a:pt x="42283" y="63638"/>
                  </a:cubicBezTo>
                  <a:cubicBezTo>
                    <a:pt x="42283" y="62774"/>
                    <a:pt x="43458" y="61911"/>
                    <a:pt x="44241" y="61418"/>
                  </a:cubicBezTo>
                  <a:cubicBezTo>
                    <a:pt x="45024" y="60924"/>
                    <a:pt x="44241" y="59445"/>
                    <a:pt x="44241" y="58705"/>
                  </a:cubicBezTo>
                  <a:cubicBezTo>
                    <a:pt x="44241" y="57965"/>
                    <a:pt x="44632" y="56978"/>
                    <a:pt x="45024" y="55868"/>
                  </a:cubicBezTo>
                  <a:cubicBezTo>
                    <a:pt x="45415" y="54758"/>
                    <a:pt x="45415" y="52661"/>
                    <a:pt x="45415" y="52045"/>
                  </a:cubicBezTo>
                  <a:cubicBezTo>
                    <a:pt x="45415" y="51428"/>
                    <a:pt x="44828" y="50688"/>
                    <a:pt x="44241" y="50195"/>
                  </a:cubicBezTo>
                  <a:cubicBezTo>
                    <a:pt x="43654" y="49701"/>
                    <a:pt x="44045" y="47852"/>
                    <a:pt x="44045" y="47112"/>
                  </a:cubicBezTo>
                  <a:cubicBezTo>
                    <a:pt x="44045" y="46372"/>
                    <a:pt x="44241" y="46125"/>
                    <a:pt x="44632" y="45138"/>
                  </a:cubicBezTo>
                  <a:cubicBezTo>
                    <a:pt x="45024" y="44152"/>
                    <a:pt x="44828" y="41932"/>
                    <a:pt x="45024" y="40698"/>
                  </a:cubicBezTo>
                  <a:cubicBezTo>
                    <a:pt x="45220" y="39465"/>
                    <a:pt x="45611" y="38848"/>
                    <a:pt x="46394" y="37985"/>
                  </a:cubicBezTo>
                  <a:cubicBezTo>
                    <a:pt x="47177" y="37122"/>
                    <a:pt x="44828" y="36135"/>
                    <a:pt x="44241" y="35149"/>
                  </a:cubicBezTo>
                  <a:cubicBezTo>
                    <a:pt x="43654" y="34162"/>
                    <a:pt x="43458" y="33052"/>
                    <a:pt x="43849" y="32435"/>
                  </a:cubicBezTo>
                  <a:cubicBezTo>
                    <a:pt x="44241" y="31819"/>
                    <a:pt x="45024" y="30955"/>
                    <a:pt x="45807" y="30462"/>
                  </a:cubicBezTo>
                  <a:cubicBezTo>
                    <a:pt x="46590" y="29969"/>
                    <a:pt x="44437" y="28242"/>
                    <a:pt x="44045" y="27625"/>
                  </a:cubicBezTo>
                  <a:cubicBezTo>
                    <a:pt x="43654" y="27009"/>
                    <a:pt x="44045" y="25652"/>
                    <a:pt x="44241" y="24912"/>
                  </a:cubicBezTo>
                  <a:cubicBezTo>
                    <a:pt x="44437" y="24172"/>
                    <a:pt x="47960" y="21336"/>
                    <a:pt x="48939" y="20842"/>
                  </a:cubicBezTo>
                  <a:cubicBezTo>
                    <a:pt x="49918" y="20349"/>
                    <a:pt x="50701" y="19116"/>
                    <a:pt x="51092" y="18499"/>
                  </a:cubicBezTo>
                  <a:cubicBezTo>
                    <a:pt x="51484" y="17882"/>
                    <a:pt x="54812" y="15786"/>
                    <a:pt x="55595" y="15539"/>
                  </a:cubicBezTo>
                  <a:cubicBezTo>
                    <a:pt x="56378" y="15292"/>
                    <a:pt x="57357" y="14922"/>
                    <a:pt x="58336" y="14922"/>
                  </a:cubicBezTo>
                  <a:cubicBezTo>
                    <a:pt x="59314" y="14922"/>
                    <a:pt x="60685" y="14306"/>
                    <a:pt x="61663" y="13936"/>
                  </a:cubicBezTo>
                  <a:cubicBezTo>
                    <a:pt x="62642" y="13566"/>
                    <a:pt x="61468" y="12826"/>
                    <a:pt x="61076" y="12209"/>
                  </a:cubicBezTo>
                  <a:cubicBezTo>
                    <a:pt x="60685" y="11716"/>
                    <a:pt x="61859" y="11223"/>
                    <a:pt x="63034" y="11223"/>
                  </a:cubicBezTo>
                  <a:cubicBezTo>
                    <a:pt x="63034" y="10853"/>
                    <a:pt x="62838" y="10113"/>
                    <a:pt x="62642" y="9866"/>
                  </a:cubicBezTo>
                  <a:cubicBezTo>
                    <a:pt x="62446" y="9619"/>
                    <a:pt x="60880" y="8879"/>
                    <a:pt x="59510" y="8386"/>
                  </a:cubicBezTo>
                  <a:cubicBezTo>
                    <a:pt x="58923" y="8386"/>
                    <a:pt x="57553" y="8756"/>
                    <a:pt x="57161" y="8756"/>
                  </a:cubicBezTo>
                  <a:cubicBezTo>
                    <a:pt x="56378" y="9003"/>
                    <a:pt x="53833" y="8633"/>
                    <a:pt x="53050" y="8386"/>
                  </a:cubicBezTo>
                  <a:cubicBezTo>
                    <a:pt x="52854" y="8386"/>
                    <a:pt x="51876" y="8756"/>
                    <a:pt x="51288" y="9373"/>
                  </a:cubicBezTo>
                  <a:cubicBezTo>
                    <a:pt x="51092" y="9373"/>
                    <a:pt x="51092" y="9373"/>
                    <a:pt x="51092" y="9373"/>
                  </a:cubicBezTo>
                  <a:cubicBezTo>
                    <a:pt x="51092" y="9373"/>
                    <a:pt x="49722" y="9743"/>
                    <a:pt x="48939" y="9743"/>
                  </a:cubicBezTo>
                  <a:cubicBezTo>
                    <a:pt x="48156" y="9743"/>
                    <a:pt x="47765" y="9249"/>
                    <a:pt x="47373" y="8756"/>
                  </a:cubicBezTo>
                  <a:cubicBezTo>
                    <a:pt x="47177" y="8633"/>
                    <a:pt x="47177" y="8509"/>
                    <a:pt x="46982" y="8509"/>
                  </a:cubicBezTo>
                  <a:cubicBezTo>
                    <a:pt x="46786" y="8139"/>
                    <a:pt x="46786" y="7523"/>
                    <a:pt x="46982" y="7153"/>
                  </a:cubicBezTo>
                  <a:cubicBezTo>
                    <a:pt x="46982" y="6906"/>
                    <a:pt x="46982" y="6783"/>
                    <a:pt x="46982" y="6659"/>
                  </a:cubicBezTo>
                  <a:cubicBezTo>
                    <a:pt x="46982" y="6289"/>
                    <a:pt x="47765" y="5919"/>
                    <a:pt x="49331" y="5549"/>
                  </a:cubicBezTo>
                  <a:cubicBezTo>
                    <a:pt x="49526" y="5426"/>
                    <a:pt x="49526" y="5426"/>
                    <a:pt x="49526" y="5426"/>
                  </a:cubicBezTo>
                  <a:cubicBezTo>
                    <a:pt x="49526" y="5303"/>
                    <a:pt x="48743" y="4809"/>
                    <a:pt x="48548" y="4686"/>
                  </a:cubicBezTo>
                  <a:cubicBezTo>
                    <a:pt x="48352" y="4563"/>
                    <a:pt x="48352" y="4563"/>
                    <a:pt x="48352" y="4563"/>
                  </a:cubicBezTo>
                  <a:cubicBezTo>
                    <a:pt x="47765" y="4193"/>
                    <a:pt x="47373" y="3576"/>
                    <a:pt x="47373" y="2713"/>
                  </a:cubicBezTo>
                  <a:cubicBezTo>
                    <a:pt x="47373" y="2466"/>
                    <a:pt x="46003" y="2343"/>
                    <a:pt x="45415" y="2219"/>
                  </a:cubicBezTo>
                  <a:cubicBezTo>
                    <a:pt x="45220" y="2219"/>
                    <a:pt x="45024" y="2219"/>
                    <a:pt x="44828" y="2096"/>
                  </a:cubicBezTo>
                  <a:cubicBezTo>
                    <a:pt x="44632" y="2096"/>
                    <a:pt x="43849" y="1726"/>
                    <a:pt x="42479" y="1233"/>
                  </a:cubicBezTo>
                  <a:cubicBezTo>
                    <a:pt x="41892" y="986"/>
                    <a:pt x="41109" y="616"/>
                    <a:pt x="40717" y="493"/>
                  </a:cubicBezTo>
                  <a:cubicBezTo>
                    <a:pt x="40326" y="369"/>
                    <a:pt x="39543" y="369"/>
                    <a:pt x="38955" y="246"/>
                  </a:cubicBezTo>
                  <a:cubicBezTo>
                    <a:pt x="38564" y="246"/>
                    <a:pt x="38172" y="246"/>
                    <a:pt x="37977" y="123"/>
                  </a:cubicBezTo>
                  <a:cubicBezTo>
                    <a:pt x="36998" y="0"/>
                    <a:pt x="35432" y="246"/>
                    <a:pt x="35040" y="369"/>
                  </a:cubicBezTo>
                  <a:cubicBezTo>
                    <a:pt x="34845" y="493"/>
                    <a:pt x="34649" y="739"/>
                    <a:pt x="34453" y="986"/>
                  </a:cubicBezTo>
                  <a:cubicBezTo>
                    <a:pt x="33866" y="1479"/>
                    <a:pt x="33278" y="1973"/>
                    <a:pt x="32691" y="2096"/>
                  </a:cubicBezTo>
                  <a:cubicBezTo>
                    <a:pt x="31908" y="2343"/>
                    <a:pt x="31321" y="2589"/>
                    <a:pt x="31125" y="2589"/>
                  </a:cubicBezTo>
                  <a:cubicBezTo>
                    <a:pt x="31125" y="2713"/>
                    <a:pt x="31125" y="2959"/>
                    <a:pt x="31125" y="3206"/>
                  </a:cubicBezTo>
                  <a:cubicBezTo>
                    <a:pt x="31517" y="5549"/>
                    <a:pt x="31321" y="6043"/>
                    <a:pt x="31125" y="6166"/>
                  </a:cubicBezTo>
                  <a:cubicBezTo>
                    <a:pt x="30929" y="6166"/>
                    <a:pt x="30929" y="6289"/>
                    <a:pt x="30929" y="6289"/>
                  </a:cubicBezTo>
                  <a:cubicBezTo>
                    <a:pt x="30538" y="6413"/>
                    <a:pt x="30146" y="6659"/>
                    <a:pt x="29559" y="6413"/>
                  </a:cubicBezTo>
                  <a:cubicBezTo>
                    <a:pt x="29559" y="6289"/>
                    <a:pt x="29363" y="6289"/>
                    <a:pt x="29363" y="6166"/>
                  </a:cubicBezTo>
                  <a:cubicBezTo>
                    <a:pt x="29168" y="6166"/>
                    <a:pt x="28972" y="6043"/>
                    <a:pt x="28972" y="5919"/>
                  </a:cubicBezTo>
                  <a:cubicBezTo>
                    <a:pt x="28580" y="6166"/>
                    <a:pt x="28189" y="6413"/>
                    <a:pt x="27601" y="6413"/>
                  </a:cubicBezTo>
                  <a:cubicBezTo>
                    <a:pt x="27406" y="6413"/>
                    <a:pt x="27210" y="6413"/>
                    <a:pt x="27014" y="6289"/>
                  </a:cubicBezTo>
                  <a:cubicBezTo>
                    <a:pt x="26818" y="6289"/>
                    <a:pt x="26035" y="6166"/>
                    <a:pt x="25840" y="6289"/>
                  </a:cubicBezTo>
                  <a:cubicBezTo>
                    <a:pt x="25644" y="6659"/>
                    <a:pt x="23882" y="8139"/>
                    <a:pt x="23686" y="8386"/>
                  </a:cubicBezTo>
                  <a:cubicBezTo>
                    <a:pt x="23295" y="8633"/>
                    <a:pt x="21729" y="9496"/>
                    <a:pt x="21141" y="9496"/>
                  </a:cubicBezTo>
                  <a:cubicBezTo>
                    <a:pt x="19967" y="9743"/>
                    <a:pt x="19575" y="9866"/>
                    <a:pt x="19575" y="9866"/>
                  </a:cubicBezTo>
                  <a:cubicBezTo>
                    <a:pt x="19380" y="9866"/>
                    <a:pt x="19380" y="9866"/>
                    <a:pt x="19380" y="9866"/>
                  </a:cubicBezTo>
                  <a:cubicBezTo>
                    <a:pt x="17814" y="10606"/>
                    <a:pt x="17030" y="10853"/>
                    <a:pt x="16443" y="10606"/>
                  </a:cubicBezTo>
                  <a:cubicBezTo>
                    <a:pt x="16052" y="10606"/>
                    <a:pt x="15464" y="10359"/>
                    <a:pt x="14877" y="10113"/>
                  </a:cubicBezTo>
                  <a:cubicBezTo>
                    <a:pt x="14290" y="9866"/>
                    <a:pt x="13507" y="9619"/>
                    <a:pt x="13311" y="9496"/>
                  </a:cubicBezTo>
                  <a:cubicBezTo>
                    <a:pt x="12920" y="9496"/>
                    <a:pt x="12137" y="9496"/>
                    <a:pt x="11353" y="9619"/>
                  </a:cubicBezTo>
                  <a:cubicBezTo>
                    <a:pt x="11158" y="9619"/>
                    <a:pt x="10766" y="9619"/>
                    <a:pt x="10570" y="9619"/>
                  </a:cubicBezTo>
                  <a:cubicBezTo>
                    <a:pt x="10570" y="9619"/>
                    <a:pt x="10375" y="9619"/>
                    <a:pt x="10375" y="9989"/>
                  </a:cubicBezTo>
                  <a:cubicBezTo>
                    <a:pt x="10375" y="11099"/>
                    <a:pt x="10375" y="11469"/>
                    <a:pt x="10570" y="11593"/>
                  </a:cubicBezTo>
                  <a:cubicBezTo>
                    <a:pt x="10962" y="11839"/>
                    <a:pt x="11158" y="12209"/>
                    <a:pt x="11353" y="12456"/>
                  </a:cubicBezTo>
                  <a:cubicBezTo>
                    <a:pt x="11353" y="12579"/>
                    <a:pt x="11353" y="12579"/>
                    <a:pt x="11353" y="12579"/>
                  </a:cubicBezTo>
                  <a:cubicBezTo>
                    <a:pt x="11549" y="12826"/>
                    <a:pt x="12137" y="13566"/>
                    <a:pt x="12332" y="13812"/>
                  </a:cubicBezTo>
                  <a:cubicBezTo>
                    <a:pt x="12724" y="13936"/>
                    <a:pt x="13311" y="14429"/>
                    <a:pt x="13311" y="14799"/>
                  </a:cubicBezTo>
                  <a:cubicBezTo>
                    <a:pt x="13311" y="14799"/>
                    <a:pt x="13311" y="14922"/>
                    <a:pt x="13311" y="15169"/>
                  </a:cubicBezTo>
                  <a:cubicBezTo>
                    <a:pt x="13507" y="18129"/>
                    <a:pt x="13311" y="18869"/>
                    <a:pt x="13115" y="19116"/>
                  </a:cubicBezTo>
                  <a:cubicBezTo>
                    <a:pt x="12920" y="19239"/>
                    <a:pt x="12920" y="19239"/>
                    <a:pt x="12724" y="19362"/>
                  </a:cubicBezTo>
                  <a:cubicBezTo>
                    <a:pt x="11158" y="20472"/>
                    <a:pt x="10962" y="20842"/>
                    <a:pt x="10962" y="20966"/>
                  </a:cubicBezTo>
                  <a:cubicBezTo>
                    <a:pt x="11941" y="21459"/>
                    <a:pt x="12724" y="22076"/>
                    <a:pt x="12528" y="22446"/>
                  </a:cubicBezTo>
                  <a:cubicBezTo>
                    <a:pt x="12332" y="22692"/>
                    <a:pt x="12137" y="23802"/>
                    <a:pt x="12137" y="24049"/>
                  </a:cubicBezTo>
                  <a:cubicBezTo>
                    <a:pt x="12137" y="24542"/>
                    <a:pt x="12332" y="25282"/>
                    <a:pt x="12332" y="25405"/>
                  </a:cubicBezTo>
                  <a:cubicBezTo>
                    <a:pt x="12724" y="25529"/>
                    <a:pt x="14094" y="25775"/>
                    <a:pt x="14486" y="26022"/>
                  </a:cubicBezTo>
                  <a:cubicBezTo>
                    <a:pt x="14681" y="26022"/>
                    <a:pt x="14681" y="26145"/>
                    <a:pt x="14877" y="26269"/>
                  </a:cubicBezTo>
                  <a:cubicBezTo>
                    <a:pt x="16639" y="27255"/>
                    <a:pt x="18009" y="27995"/>
                    <a:pt x="18009" y="28489"/>
                  </a:cubicBezTo>
                  <a:cubicBezTo>
                    <a:pt x="18009" y="28612"/>
                    <a:pt x="18009" y="28612"/>
                    <a:pt x="18009" y="28612"/>
                  </a:cubicBezTo>
                  <a:cubicBezTo>
                    <a:pt x="18009" y="29105"/>
                    <a:pt x="18205" y="29229"/>
                    <a:pt x="18401" y="29475"/>
                  </a:cubicBezTo>
                  <a:cubicBezTo>
                    <a:pt x="18597" y="29475"/>
                    <a:pt x="18988" y="29722"/>
                    <a:pt x="19380" y="29845"/>
                  </a:cubicBezTo>
                  <a:cubicBezTo>
                    <a:pt x="20946" y="30585"/>
                    <a:pt x="21533" y="30955"/>
                    <a:pt x="21533" y="31325"/>
                  </a:cubicBezTo>
                  <a:cubicBezTo>
                    <a:pt x="21533" y="31449"/>
                    <a:pt x="21533" y="31449"/>
                    <a:pt x="21533" y="31572"/>
                  </a:cubicBezTo>
                  <a:cubicBezTo>
                    <a:pt x="21729" y="31819"/>
                    <a:pt x="21924" y="32189"/>
                    <a:pt x="21141" y="32435"/>
                  </a:cubicBezTo>
                  <a:cubicBezTo>
                    <a:pt x="20946" y="32559"/>
                    <a:pt x="20358" y="32559"/>
                    <a:pt x="19967" y="32682"/>
                  </a:cubicBezTo>
                  <a:cubicBezTo>
                    <a:pt x="19575" y="32805"/>
                    <a:pt x="18792" y="32929"/>
                    <a:pt x="18597" y="33052"/>
                  </a:cubicBezTo>
                  <a:cubicBezTo>
                    <a:pt x="18597" y="33052"/>
                    <a:pt x="18597" y="33175"/>
                    <a:pt x="18597" y="33422"/>
                  </a:cubicBezTo>
                  <a:cubicBezTo>
                    <a:pt x="18792" y="35642"/>
                    <a:pt x="18597" y="36012"/>
                    <a:pt x="18401" y="36258"/>
                  </a:cubicBezTo>
                  <a:cubicBezTo>
                    <a:pt x="18205" y="36258"/>
                    <a:pt x="17618" y="36628"/>
                    <a:pt x="17226" y="36998"/>
                  </a:cubicBezTo>
                  <a:cubicBezTo>
                    <a:pt x="15464" y="38232"/>
                    <a:pt x="14486" y="38848"/>
                    <a:pt x="14094" y="38848"/>
                  </a:cubicBezTo>
                  <a:cubicBezTo>
                    <a:pt x="13898" y="38972"/>
                    <a:pt x="13507" y="38972"/>
                    <a:pt x="12920" y="38972"/>
                  </a:cubicBezTo>
                  <a:cubicBezTo>
                    <a:pt x="12332" y="39095"/>
                    <a:pt x="11158" y="39218"/>
                    <a:pt x="10962" y="39218"/>
                  </a:cubicBezTo>
                  <a:cubicBezTo>
                    <a:pt x="10962" y="39342"/>
                    <a:pt x="10962" y="39342"/>
                    <a:pt x="10962" y="39342"/>
                  </a:cubicBezTo>
                  <a:cubicBezTo>
                    <a:pt x="10570" y="39588"/>
                    <a:pt x="10179" y="39958"/>
                    <a:pt x="10375" y="40328"/>
                  </a:cubicBezTo>
                  <a:cubicBezTo>
                    <a:pt x="10570" y="40452"/>
                    <a:pt x="10766" y="40698"/>
                    <a:pt x="11158" y="40822"/>
                  </a:cubicBezTo>
                  <a:cubicBezTo>
                    <a:pt x="11353" y="40945"/>
                    <a:pt x="11745" y="41192"/>
                    <a:pt x="11745" y="41562"/>
                  </a:cubicBezTo>
                  <a:cubicBezTo>
                    <a:pt x="11745" y="42055"/>
                    <a:pt x="11745" y="42795"/>
                    <a:pt x="11158" y="43165"/>
                  </a:cubicBezTo>
                  <a:cubicBezTo>
                    <a:pt x="10962" y="43165"/>
                    <a:pt x="10570" y="43288"/>
                    <a:pt x="9983" y="43412"/>
                  </a:cubicBezTo>
                  <a:cubicBezTo>
                    <a:pt x="9592" y="43412"/>
                    <a:pt x="9200" y="43535"/>
                    <a:pt x="9004" y="43658"/>
                  </a:cubicBezTo>
                  <a:cubicBezTo>
                    <a:pt x="8809" y="43658"/>
                    <a:pt x="8613" y="43782"/>
                    <a:pt x="8417" y="44028"/>
                  </a:cubicBezTo>
                  <a:cubicBezTo>
                    <a:pt x="7243" y="44892"/>
                    <a:pt x="6851" y="45015"/>
                    <a:pt x="6655" y="45015"/>
                  </a:cubicBezTo>
                  <a:cubicBezTo>
                    <a:pt x="6460" y="45015"/>
                    <a:pt x="6264" y="45015"/>
                    <a:pt x="5872" y="45015"/>
                  </a:cubicBezTo>
                  <a:cubicBezTo>
                    <a:pt x="5481" y="44892"/>
                    <a:pt x="4893" y="44892"/>
                    <a:pt x="4698" y="44892"/>
                  </a:cubicBezTo>
                  <a:cubicBezTo>
                    <a:pt x="4110" y="44892"/>
                    <a:pt x="783" y="46125"/>
                    <a:pt x="391" y="46495"/>
                  </a:cubicBezTo>
                  <a:cubicBezTo>
                    <a:pt x="391" y="46618"/>
                    <a:pt x="391" y="46618"/>
                    <a:pt x="391" y="46865"/>
                  </a:cubicBezTo>
                  <a:cubicBezTo>
                    <a:pt x="195" y="46988"/>
                    <a:pt x="0" y="47728"/>
                    <a:pt x="195" y="47852"/>
                  </a:cubicBezTo>
                  <a:cubicBezTo>
                    <a:pt x="783" y="48098"/>
                    <a:pt x="1370" y="48345"/>
                    <a:pt x="1566" y="48591"/>
                  </a:cubicBezTo>
                  <a:cubicBezTo>
                    <a:pt x="1566" y="48838"/>
                    <a:pt x="1370" y="48961"/>
                    <a:pt x="1174" y="49085"/>
                  </a:cubicBezTo>
                  <a:cubicBezTo>
                    <a:pt x="391" y="49455"/>
                    <a:pt x="195" y="49701"/>
                    <a:pt x="391" y="49948"/>
                  </a:cubicBezTo>
                  <a:cubicBezTo>
                    <a:pt x="391" y="50071"/>
                    <a:pt x="587" y="50318"/>
                    <a:pt x="783" y="50441"/>
                  </a:cubicBezTo>
                  <a:cubicBezTo>
                    <a:pt x="1370" y="50811"/>
                    <a:pt x="1761" y="51181"/>
                    <a:pt x="1566" y="51551"/>
                  </a:cubicBezTo>
                  <a:cubicBezTo>
                    <a:pt x="1370" y="51921"/>
                    <a:pt x="1370" y="51921"/>
                    <a:pt x="1370" y="52291"/>
                  </a:cubicBezTo>
                  <a:cubicBezTo>
                    <a:pt x="1370" y="52785"/>
                    <a:pt x="1370" y="53031"/>
                    <a:pt x="1566" y="53278"/>
                  </a:cubicBezTo>
                  <a:cubicBezTo>
                    <a:pt x="1761" y="53401"/>
                    <a:pt x="1761" y="53401"/>
                    <a:pt x="1761" y="53525"/>
                  </a:cubicBezTo>
                  <a:cubicBezTo>
                    <a:pt x="2153" y="53648"/>
                    <a:pt x="2544" y="53895"/>
                    <a:pt x="2544" y="54265"/>
                  </a:cubicBezTo>
                  <a:cubicBezTo>
                    <a:pt x="2544" y="54388"/>
                    <a:pt x="2544" y="54635"/>
                    <a:pt x="2544" y="54758"/>
                  </a:cubicBezTo>
                  <a:cubicBezTo>
                    <a:pt x="2740" y="55498"/>
                    <a:pt x="2740" y="56361"/>
                    <a:pt x="1957" y="56485"/>
                  </a:cubicBezTo>
                  <a:cubicBezTo>
                    <a:pt x="1174" y="56485"/>
                    <a:pt x="587" y="56731"/>
                    <a:pt x="391" y="56855"/>
                  </a:cubicBezTo>
                  <a:cubicBezTo>
                    <a:pt x="783" y="57101"/>
                    <a:pt x="2349" y="57965"/>
                    <a:pt x="2544" y="58088"/>
                  </a:cubicBezTo>
                  <a:cubicBezTo>
                    <a:pt x="2544" y="58088"/>
                    <a:pt x="2936" y="58211"/>
                    <a:pt x="3132" y="58211"/>
                  </a:cubicBezTo>
                  <a:cubicBezTo>
                    <a:pt x="3915" y="58211"/>
                    <a:pt x="4698" y="58335"/>
                    <a:pt x="4893" y="58581"/>
                  </a:cubicBezTo>
                  <a:cubicBezTo>
                    <a:pt x="5089" y="58705"/>
                    <a:pt x="5089" y="58828"/>
                    <a:pt x="5089" y="58951"/>
                  </a:cubicBezTo>
                  <a:cubicBezTo>
                    <a:pt x="5089" y="59075"/>
                    <a:pt x="5089" y="59198"/>
                    <a:pt x="4893" y="59321"/>
                  </a:cubicBezTo>
                  <a:cubicBezTo>
                    <a:pt x="4698" y="59815"/>
                    <a:pt x="4306" y="60678"/>
                    <a:pt x="4698" y="61048"/>
                  </a:cubicBezTo>
                  <a:cubicBezTo>
                    <a:pt x="4698" y="61171"/>
                    <a:pt x="4893" y="61418"/>
                    <a:pt x="5089" y="61541"/>
                  </a:cubicBezTo>
                  <a:cubicBezTo>
                    <a:pt x="5481" y="62034"/>
                    <a:pt x="5872" y="62281"/>
                    <a:pt x="5676" y="62528"/>
                  </a:cubicBezTo>
                  <a:cubicBezTo>
                    <a:pt x="5676" y="62651"/>
                    <a:pt x="5481" y="62774"/>
                    <a:pt x="5285" y="62774"/>
                  </a:cubicBezTo>
                  <a:cubicBezTo>
                    <a:pt x="5089" y="62898"/>
                    <a:pt x="4893" y="62898"/>
                    <a:pt x="4698" y="62898"/>
                  </a:cubicBezTo>
                  <a:cubicBezTo>
                    <a:pt x="4306" y="62898"/>
                    <a:pt x="3719" y="63021"/>
                    <a:pt x="3719" y="63144"/>
                  </a:cubicBezTo>
                  <a:cubicBezTo>
                    <a:pt x="3719" y="63638"/>
                    <a:pt x="3915" y="63761"/>
                    <a:pt x="4110" y="63761"/>
                  </a:cubicBezTo>
                  <a:cubicBezTo>
                    <a:pt x="4306" y="63761"/>
                    <a:pt x="4893" y="63761"/>
                    <a:pt x="5285" y="63761"/>
                  </a:cubicBezTo>
                  <a:cubicBezTo>
                    <a:pt x="6068" y="63761"/>
                    <a:pt x="6655" y="63638"/>
                    <a:pt x="7047" y="63884"/>
                  </a:cubicBezTo>
                  <a:cubicBezTo>
                    <a:pt x="7243" y="64008"/>
                    <a:pt x="7830" y="64254"/>
                    <a:pt x="8417" y="64378"/>
                  </a:cubicBezTo>
                  <a:cubicBezTo>
                    <a:pt x="10375" y="64994"/>
                    <a:pt x="10766" y="65118"/>
                    <a:pt x="10766" y="65364"/>
                  </a:cubicBezTo>
                  <a:cubicBezTo>
                    <a:pt x="10766" y="65488"/>
                    <a:pt x="10766" y="67091"/>
                    <a:pt x="10179" y="67584"/>
                  </a:cubicBezTo>
                  <a:cubicBezTo>
                    <a:pt x="9787" y="67831"/>
                    <a:pt x="9592" y="67954"/>
                    <a:pt x="9200" y="68078"/>
                  </a:cubicBezTo>
                  <a:cubicBezTo>
                    <a:pt x="9004" y="68078"/>
                    <a:pt x="8809" y="68201"/>
                    <a:pt x="8613" y="68201"/>
                  </a:cubicBezTo>
                  <a:cubicBezTo>
                    <a:pt x="8809" y="68324"/>
                    <a:pt x="9004" y="68448"/>
                    <a:pt x="9004" y="68448"/>
                  </a:cubicBezTo>
                  <a:cubicBezTo>
                    <a:pt x="9787" y="68818"/>
                    <a:pt x="10766" y="69311"/>
                    <a:pt x="10766" y="69681"/>
                  </a:cubicBezTo>
                  <a:cubicBezTo>
                    <a:pt x="10766" y="69928"/>
                    <a:pt x="10570" y="70051"/>
                    <a:pt x="10570" y="70174"/>
                  </a:cubicBezTo>
                  <a:cubicBezTo>
                    <a:pt x="10570" y="70544"/>
                    <a:pt x="10570" y="70914"/>
                    <a:pt x="10570" y="71161"/>
                  </a:cubicBezTo>
                  <a:cubicBezTo>
                    <a:pt x="10766" y="71408"/>
                    <a:pt x="10962" y="71654"/>
                    <a:pt x="10962" y="72024"/>
                  </a:cubicBezTo>
                  <a:cubicBezTo>
                    <a:pt x="11158" y="72271"/>
                    <a:pt x="11353" y="72641"/>
                    <a:pt x="11353" y="72764"/>
                  </a:cubicBezTo>
                  <a:cubicBezTo>
                    <a:pt x="11549" y="73011"/>
                    <a:pt x="11745" y="73134"/>
                    <a:pt x="11941" y="73257"/>
                  </a:cubicBezTo>
                  <a:cubicBezTo>
                    <a:pt x="11941" y="73257"/>
                    <a:pt x="11941" y="73257"/>
                    <a:pt x="11941" y="73381"/>
                  </a:cubicBezTo>
                  <a:cubicBezTo>
                    <a:pt x="12137" y="73381"/>
                    <a:pt x="12137" y="73381"/>
                    <a:pt x="12137" y="73381"/>
                  </a:cubicBezTo>
                  <a:cubicBezTo>
                    <a:pt x="12137" y="73504"/>
                    <a:pt x="12332" y="73504"/>
                    <a:pt x="12332" y="73504"/>
                  </a:cubicBezTo>
                  <a:cubicBezTo>
                    <a:pt x="12724" y="73504"/>
                    <a:pt x="14094" y="73134"/>
                    <a:pt x="14486" y="72887"/>
                  </a:cubicBezTo>
                  <a:cubicBezTo>
                    <a:pt x="14681" y="72887"/>
                    <a:pt x="14877" y="72764"/>
                    <a:pt x="14877" y="72641"/>
                  </a:cubicBezTo>
                  <a:cubicBezTo>
                    <a:pt x="15269" y="72271"/>
                    <a:pt x="15660" y="71778"/>
                    <a:pt x="16443" y="71778"/>
                  </a:cubicBezTo>
                  <a:cubicBezTo>
                    <a:pt x="17030" y="71778"/>
                    <a:pt x="18009" y="71778"/>
                    <a:pt x="18597" y="71531"/>
                  </a:cubicBezTo>
                  <a:cubicBezTo>
                    <a:pt x="18792" y="71408"/>
                    <a:pt x="18988" y="71284"/>
                    <a:pt x="19184" y="71038"/>
                  </a:cubicBezTo>
                  <a:cubicBezTo>
                    <a:pt x="19771" y="70791"/>
                    <a:pt x="19967" y="70544"/>
                    <a:pt x="20358" y="70544"/>
                  </a:cubicBezTo>
                  <a:cubicBezTo>
                    <a:pt x="20554" y="70421"/>
                    <a:pt x="22316" y="70174"/>
                    <a:pt x="22903" y="70298"/>
                  </a:cubicBezTo>
                  <a:cubicBezTo>
                    <a:pt x="23295" y="70298"/>
                    <a:pt x="24861" y="70668"/>
                    <a:pt x="25448" y="71161"/>
                  </a:cubicBezTo>
                  <a:cubicBezTo>
                    <a:pt x="25448" y="71284"/>
                    <a:pt x="25448" y="71408"/>
                    <a:pt x="25448" y="71531"/>
                  </a:cubicBezTo>
                  <a:cubicBezTo>
                    <a:pt x="25252" y="71654"/>
                    <a:pt x="25252" y="71778"/>
                    <a:pt x="25057" y="71901"/>
                  </a:cubicBezTo>
                  <a:cubicBezTo>
                    <a:pt x="24861" y="72147"/>
                    <a:pt x="24861" y="72271"/>
                    <a:pt x="24861" y="72517"/>
                  </a:cubicBezTo>
                  <a:cubicBezTo>
                    <a:pt x="24861" y="72764"/>
                    <a:pt x="24861" y="72887"/>
                    <a:pt x="24861" y="73011"/>
                  </a:cubicBezTo>
                  <a:cubicBezTo>
                    <a:pt x="24861" y="73381"/>
                    <a:pt x="24861" y="73751"/>
                    <a:pt x="24665" y="74121"/>
                  </a:cubicBezTo>
                  <a:cubicBezTo>
                    <a:pt x="24469" y="74121"/>
                    <a:pt x="24274" y="74244"/>
                    <a:pt x="24274" y="74367"/>
                  </a:cubicBezTo>
                  <a:cubicBezTo>
                    <a:pt x="23882" y="74614"/>
                    <a:pt x="23099" y="75107"/>
                    <a:pt x="23099" y="75354"/>
                  </a:cubicBezTo>
                  <a:cubicBezTo>
                    <a:pt x="23099" y="75477"/>
                    <a:pt x="23099" y="75601"/>
                    <a:pt x="23099" y="75724"/>
                  </a:cubicBezTo>
                  <a:cubicBezTo>
                    <a:pt x="23295" y="77451"/>
                    <a:pt x="23099" y="77944"/>
                    <a:pt x="22903" y="78191"/>
                  </a:cubicBezTo>
                  <a:cubicBezTo>
                    <a:pt x="22707" y="78314"/>
                    <a:pt x="22707" y="78314"/>
                    <a:pt x="22512" y="78314"/>
                  </a:cubicBezTo>
                  <a:cubicBezTo>
                    <a:pt x="22120" y="78314"/>
                    <a:pt x="21924" y="78314"/>
                    <a:pt x="21729" y="78561"/>
                  </a:cubicBezTo>
                  <a:cubicBezTo>
                    <a:pt x="21729" y="78684"/>
                    <a:pt x="21533" y="78684"/>
                    <a:pt x="21533" y="78807"/>
                  </a:cubicBezTo>
                  <a:cubicBezTo>
                    <a:pt x="21141" y="79054"/>
                    <a:pt x="21141" y="79177"/>
                    <a:pt x="21337" y="79301"/>
                  </a:cubicBezTo>
                  <a:cubicBezTo>
                    <a:pt x="21337" y="79424"/>
                    <a:pt x="21533" y="79424"/>
                    <a:pt x="21533" y="79547"/>
                  </a:cubicBezTo>
                  <a:cubicBezTo>
                    <a:pt x="22120" y="80041"/>
                    <a:pt x="22707" y="80411"/>
                    <a:pt x="22707" y="80657"/>
                  </a:cubicBezTo>
                  <a:cubicBezTo>
                    <a:pt x="22707" y="80781"/>
                    <a:pt x="22707" y="80904"/>
                    <a:pt x="22707" y="81027"/>
                  </a:cubicBezTo>
                  <a:cubicBezTo>
                    <a:pt x="22707" y="82014"/>
                    <a:pt x="22707" y="82384"/>
                    <a:pt x="22316" y="82507"/>
                  </a:cubicBezTo>
                  <a:cubicBezTo>
                    <a:pt x="22120" y="82507"/>
                    <a:pt x="21924" y="82507"/>
                    <a:pt x="21924" y="82507"/>
                  </a:cubicBezTo>
                  <a:cubicBezTo>
                    <a:pt x="21533" y="82507"/>
                    <a:pt x="21337" y="82631"/>
                    <a:pt x="21141" y="82754"/>
                  </a:cubicBezTo>
                  <a:cubicBezTo>
                    <a:pt x="21141" y="82877"/>
                    <a:pt x="20946" y="83001"/>
                    <a:pt x="20750" y="83247"/>
                  </a:cubicBezTo>
                  <a:cubicBezTo>
                    <a:pt x="20750" y="83494"/>
                    <a:pt x="20358" y="83864"/>
                    <a:pt x="20358" y="84110"/>
                  </a:cubicBezTo>
                  <a:cubicBezTo>
                    <a:pt x="20358" y="84110"/>
                    <a:pt x="20554" y="84234"/>
                    <a:pt x="20750" y="84357"/>
                  </a:cubicBezTo>
                  <a:cubicBezTo>
                    <a:pt x="21337" y="84727"/>
                    <a:pt x="21924" y="85220"/>
                    <a:pt x="22512" y="85344"/>
                  </a:cubicBezTo>
                  <a:cubicBezTo>
                    <a:pt x="23295" y="85467"/>
                    <a:pt x="24469" y="85590"/>
                    <a:pt x="24665" y="85467"/>
                  </a:cubicBezTo>
                  <a:cubicBezTo>
                    <a:pt x="24665" y="85344"/>
                    <a:pt x="24861" y="85344"/>
                    <a:pt x="25057" y="85220"/>
                  </a:cubicBezTo>
                  <a:cubicBezTo>
                    <a:pt x="25252" y="84974"/>
                    <a:pt x="25644" y="84727"/>
                    <a:pt x="26231" y="84727"/>
                  </a:cubicBezTo>
                  <a:cubicBezTo>
                    <a:pt x="27014" y="84480"/>
                    <a:pt x="28189" y="84357"/>
                    <a:pt x="28776" y="84727"/>
                  </a:cubicBezTo>
                  <a:cubicBezTo>
                    <a:pt x="29168" y="85097"/>
                    <a:pt x="31712" y="87194"/>
                    <a:pt x="31712" y="87194"/>
                  </a:cubicBezTo>
                  <a:cubicBezTo>
                    <a:pt x="31908" y="87317"/>
                    <a:pt x="32104" y="87440"/>
                    <a:pt x="32300" y="87564"/>
                  </a:cubicBezTo>
                  <a:cubicBezTo>
                    <a:pt x="32300" y="87440"/>
                    <a:pt x="32300" y="87440"/>
                    <a:pt x="32495" y="87317"/>
                  </a:cubicBezTo>
                  <a:cubicBezTo>
                    <a:pt x="32691" y="87070"/>
                    <a:pt x="33083" y="86700"/>
                    <a:pt x="33670" y="86700"/>
                  </a:cubicBezTo>
                  <a:cubicBezTo>
                    <a:pt x="33866" y="86700"/>
                    <a:pt x="33866" y="86700"/>
                    <a:pt x="34061" y="86824"/>
                  </a:cubicBezTo>
                  <a:cubicBezTo>
                    <a:pt x="34453" y="86824"/>
                    <a:pt x="35432" y="86824"/>
                    <a:pt x="35432" y="86700"/>
                  </a:cubicBezTo>
                  <a:cubicBezTo>
                    <a:pt x="35628" y="86700"/>
                    <a:pt x="35628" y="86577"/>
                    <a:pt x="35823" y="86330"/>
                  </a:cubicBezTo>
                  <a:cubicBezTo>
                    <a:pt x="37194" y="85220"/>
                    <a:pt x="37977" y="84604"/>
                    <a:pt x="38172" y="84480"/>
                  </a:cubicBezTo>
                  <a:cubicBezTo>
                    <a:pt x="38564" y="84357"/>
                    <a:pt x="38955" y="84234"/>
                    <a:pt x="39151" y="84110"/>
                  </a:cubicBezTo>
                  <a:cubicBezTo>
                    <a:pt x="39347" y="84110"/>
                    <a:pt x="39738" y="83987"/>
                    <a:pt x="39738" y="83987"/>
                  </a:cubicBezTo>
                  <a:cubicBezTo>
                    <a:pt x="40326" y="83741"/>
                    <a:pt x="40913" y="83371"/>
                    <a:pt x="40913" y="83247"/>
                  </a:cubicBezTo>
                  <a:cubicBezTo>
                    <a:pt x="40913" y="83247"/>
                    <a:pt x="40717" y="82877"/>
                    <a:pt x="40717" y="82631"/>
                  </a:cubicBezTo>
                  <a:cubicBezTo>
                    <a:pt x="40522" y="82014"/>
                    <a:pt x="40326" y="81644"/>
                    <a:pt x="40522" y="81397"/>
                  </a:cubicBezTo>
                  <a:cubicBezTo>
                    <a:pt x="40522" y="81274"/>
                    <a:pt x="41109" y="80287"/>
                    <a:pt x="42088" y="80287"/>
                  </a:cubicBezTo>
                  <a:cubicBezTo>
                    <a:pt x="42675" y="80287"/>
                    <a:pt x="44045" y="80164"/>
                    <a:pt x="44241" y="80041"/>
                  </a:cubicBezTo>
                  <a:cubicBezTo>
                    <a:pt x="44241" y="79917"/>
                    <a:pt x="44632" y="79671"/>
                    <a:pt x="44828" y="79424"/>
                  </a:cubicBezTo>
                  <a:cubicBezTo>
                    <a:pt x="45415" y="78931"/>
                    <a:pt x="46199" y="78314"/>
                    <a:pt x="46394" y="78191"/>
                  </a:cubicBezTo>
                  <a:cubicBezTo>
                    <a:pt x="46394" y="78067"/>
                    <a:pt x="46590" y="77944"/>
                    <a:pt x="46590" y="77944"/>
                  </a:cubicBezTo>
                  <a:cubicBezTo>
                    <a:pt x="46982" y="77574"/>
                    <a:pt x="47177" y="77327"/>
                    <a:pt x="47765" y="77204"/>
                  </a:cubicBezTo>
                  <a:cubicBezTo>
                    <a:pt x="47960" y="77204"/>
                    <a:pt x="47960" y="77204"/>
                    <a:pt x="47960" y="77204"/>
                  </a:cubicBezTo>
                  <a:cubicBezTo>
                    <a:pt x="48548" y="77204"/>
                    <a:pt x="49331" y="77081"/>
                    <a:pt x="49918" y="77327"/>
                  </a:cubicBezTo>
                  <a:cubicBezTo>
                    <a:pt x="49918" y="77327"/>
                    <a:pt x="50114" y="77451"/>
                    <a:pt x="50309" y="77574"/>
                  </a:cubicBezTo>
                  <a:cubicBezTo>
                    <a:pt x="51484" y="77944"/>
                    <a:pt x="52659" y="78437"/>
                    <a:pt x="52659" y="78931"/>
                  </a:cubicBezTo>
                  <a:cubicBezTo>
                    <a:pt x="52659" y="79054"/>
                    <a:pt x="52659" y="79301"/>
                    <a:pt x="52659" y="79547"/>
                  </a:cubicBezTo>
                  <a:cubicBezTo>
                    <a:pt x="52854" y="80041"/>
                    <a:pt x="52854" y="81151"/>
                    <a:pt x="53050" y="81397"/>
                  </a:cubicBezTo>
                  <a:cubicBezTo>
                    <a:pt x="53246" y="81397"/>
                    <a:pt x="53246" y="81397"/>
                    <a:pt x="53442" y="81521"/>
                  </a:cubicBezTo>
                  <a:cubicBezTo>
                    <a:pt x="54420" y="81767"/>
                    <a:pt x="55791" y="82261"/>
                    <a:pt x="55791" y="82754"/>
                  </a:cubicBezTo>
                  <a:cubicBezTo>
                    <a:pt x="55791" y="83494"/>
                    <a:pt x="54812" y="84850"/>
                    <a:pt x="54029" y="85097"/>
                  </a:cubicBezTo>
                  <a:cubicBezTo>
                    <a:pt x="53442" y="85467"/>
                    <a:pt x="50701" y="86084"/>
                    <a:pt x="50114" y="86084"/>
                  </a:cubicBezTo>
                  <a:cubicBezTo>
                    <a:pt x="49918" y="86084"/>
                    <a:pt x="49722" y="86084"/>
                    <a:pt x="49526" y="86084"/>
                  </a:cubicBezTo>
                  <a:cubicBezTo>
                    <a:pt x="49135" y="86084"/>
                    <a:pt x="48156" y="86084"/>
                    <a:pt x="47960" y="86084"/>
                  </a:cubicBezTo>
                  <a:cubicBezTo>
                    <a:pt x="47960" y="86207"/>
                    <a:pt x="47960" y="86207"/>
                    <a:pt x="47960" y="86207"/>
                  </a:cubicBezTo>
                  <a:cubicBezTo>
                    <a:pt x="47177" y="86577"/>
                    <a:pt x="47177" y="86700"/>
                    <a:pt x="47177" y="86824"/>
                  </a:cubicBezTo>
                  <a:cubicBezTo>
                    <a:pt x="47373" y="86824"/>
                    <a:pt x="47569" y="87070"/>
                    <a:pt x="47960" y="87194"/>
                  </a:cubicBezTo>
                  <a:cubicBezTo>
                    <a:pt x="48939" y="87810"/>
                    <a:pt x="49722" y="88180"/>
                    <a:pt x="49722" y="88550"/>
                  </a:cubicBezTo>
                  <a:cubicBezTo>
                    <a:pt x="49722" y="88674"/>
                    <a:pt x="49722" y="88797"/>
                    <a:pt x="49722" y="88920"/>
                  </a:cubicBezTo>
                  <a:cubicBezTo>
                    <a:pt x="49918" y="89167"/>
                    <a:pt x="49918" y="89537"/>
                    <a:pt x="49722" y="89907"/>
                  </a:cubicBezTo>
                  <a:cubicBezTo>
                    <a:pt x="49331" y="90154"/>
                    <a:pt x="49331" y="90154"/>
                    <a:pt x="49331" y="90154"/>
                  </a:cubicBezTo>
                  <a:cubicBezTo>
                    <a:pt x="48743" y="90524"/>
                    <a:pt x="47960" y="91264"/>
                    <a:pt x="47373" y="91510"/>
                  </a:cubicBezTo>
                  <a:cubicBezTo>
                    <a:pt x="47373" y="91510"/>
                    <a:pt x="46982" y="91757"/>
                    <a:pt x="46982" y="92620"/>
                  </a:cubicBezTo>
                  <a:cubicBezTo>
                    <a:pt x="46982" y="92744"/>
                    <a:pt x="46786" y="93977"/>
                    <a:pt x="46394" y="94347"/>
                  </a:cubicBezTo>
                  <a:cubicBezTo>
                    <a:pt x="46394" y="94347"/>
                    <a:pt x="46394" y="94470"/>
                    <a:pt x="46394" y="94470"/>
                  </a:cubicBezTo>
                  <a:cubicBezTo>
                    <a:pt x="45611" y="94717"/>
                    <a:pt x="44828" y="95087"/>
                    <a:pt x="44632" y="95210"/>
                  </a:cubicBezTo>
                  <a:cubicBezTo>
                    <a:pt x="44632" y="95210"/>
                    <a:pt x="44632" y="96320"/>
                    <a:pt x="44437" y="96690"/>
                  </a:cubicBezTo>
                  <a:cubicBezTo>
                    <a:pt x="44241" y="96690"/>
                    <a:pt x="44241" y="96813"/>
                    <a:pt x="44045" y="96937"/>
                  </a:cubicBezTo>
                  <a:cubicBezTo>
                    <a:pt x="43654" y="97183"/>
                    <a:pt x="42871" y="97800"/>
                    <a:pt x="42871" y="97923"/>
                  </a:cubicBezTo>
                  <a:cubicBezTo>
                    <a:pt x="42871" y="98047"/>
                    <a:pt x="43066" y="98170"/>
                    <a:pt x="43066" y="98417"/>
                  </a:cubicBezTo>
                  <a:cubicBezTo>
                    <a:pt x="43849" y="99157"/>
                    <a:pt x="44045" y="99527"/>
                    <a:pt x="43849" y="99773"/>
                  </a:cubicBezTo>
                  <a:cubicBezTo>
                    <a:pt x="43849" y="99897"/>
                    <a:pt x="43654" y="100020"/>
                    <a:pt x="43654" y="100143"/>
                  </a:cubicBezTo>
                  <a:cubicBezTo>
                    <a:pt x="43458" y="100390"/>
                    <a:pt x="43066" y="100760"/>
                    <a:pt x="43066" y="100883"/>
                  </a:cubicBezTo>
                  <a:cubicBezTo>
                    <a:pt x="43066" y="101253"/>
                    <a:pt x="43458" y="103967"/>
                    <a:pt x="43654" y="104337"/>
                  </a:cubicBezTo>
                  <a:cubicBezTo>
                    <a:pt x="43654" y="104337"/>
                    <a:pt x="43654" y="104337"/>
                    <a:pt x="43654" y="104337"/>
                  </a:cubicBezTo>
                  <a:cubicBezTo>
                    <a:pt x="43849" y="104460"/>
                    <a:pt x="44241" y="104953"/>
                    <a:pt x="44437" y="104953"/>
                  </a:cubicBezTo>
                  <a:cubicBezTo>
                    <a:pt x="44632" y="104953"/>
                    <a:pt x="44632" y="104953"/>
                    <a:pt x="44828" y="104953"/>
                  </a:cubicBezTo>
                  <a:cubicBezTo>
                    <a:pt x="45220" y="104953"/>
                    <a:pt x="45807" y="105077"/>
                    <a:pt x="46199" y="105323"/>
                  </a:cubicBezTo>
                  <a:cubicBezTo>
                    <a:pt x="46199" y="105447"/>
                    <a:pt x="46199" y="105570"/>
                    <a:pt x="46394" y="105693"/>
                  </a:cubicBezTo>
                  <a:cubicBezTo>
                    <a:pt x="46590" y="105817"/>
                    <a:pt x="46982" y="106433"/>
                    <a:pt x="47373" y="106557"/>
                  </a:cubicBezTo>
                  <a:cubicBezTo>
                    <a:pt x="47373" y="106557"/>
                    <a:pt x="47373" y="106557"/>
                    <a:pt x="47569" y="106433"/>
                  </a:cubicBezTo>
                  <a:cubicBezTo>
                    <a:pt x="47765" y="106310"/>
                    <a:pt x="47960" y="105940"/>
                    <a:pt x="48548" y="105940"/>
                  </a:cubicBezTo>
                  <a:cubicBezTo>
                    <a:pt x="48939" y="105940"/>
                    <a:pt x="51876" y="106063"/>
                    <a:pt x="52267" y="106310"/>
                  </a:cubicBezTo>
                  <a:cubicBezTo>
                    <a:pt x="52267" y="106433"/>
                    <a:pt x="52463" y="106557"/>
                    <a:pt x="52267" y="106557"/>
                  </a:cubicBezTo>
                  <a:cubicBezTo>
                    <a:pt x="52267" y="106803"/>
                    <a:pt x="52659" y="107543"/>
                    <a:pt x="52854" y="107790"/>
                  </a:cubicBezTo>
                  <a:cubicBezTo>
                    <a:pt x="53442" y="107913"/>
                    <a:pt x="55203" y="108776"/>
                    <a:pt x="55203" y="109146"/>
                  </a:cubicBezTo>
                  <a:cubicBezTo>
                    <a:pt x="55399" y="109270"/>
                    <a:pt x="55399" y="109270"/>
                    <a:pt x="55399" y="109393"/>
                  </a:cubicBezTo>
                  <a:cubicBezTo>
                    <a:pt x="55399" y="109640"/>
                    <a:pt x="55399" y="110010"/>
                    <a:pt x="55595" y="110133"/>
                  </a:cubicBezTo>
                  <a:cubicBezTo>
                    <a:pt x="55791" y="110133"/>
                    <a:pt x="58727" y="110750"/>
                    <a:pt x="58531" y="111490"/>
                  </a:cubicBezTo>
                  <a:cubicBezTo>
                    <a:pt x="58531" y="111613"/>
                    <a:pt x="58531" y="111860"/>
                    <a:pt x="58531" y="112106"/>
                  </a:cubicBezTo>
                  <a:cubicBezTo>
                    <a:pt x="58531" y="112476"/>
                    <a:pt x="58531" y="112846"/>
                    <a:pt x="58336" y="113093"/>
                  </a:cubicBezTo>
                  <a:cubicBezTo>
                    <a:pt x="59119" y="113216"/>
                    <a:pt x="59119" y="113216"/>
                    <a:pt x="59119" y="113216"/>
                  </a:cubicBezTo>
                  <a:cubicBezTo>
                    <a:pt x="59314" y="112723"/>
                    <a:pt x="59706" y="111983"/>
                    <a:pt x="60293" y="111860"/>
                  </a:cubicBezTo>
                  <a:cubicBezTo>
                    <a:pt x="60685" y="111736"/>
                    <a:pt x="61663" y="111490"/>
                    <a:pt x="61663" y="111366"/>
                  </a:cubicBezTo>
                  <a:cubicBezTo>
                    <a:pt x="61663" y="111243"/>
                    <a:pt x="61663" y="111243"/>
                    <a:pt x="61663" y="111120"/>
                  </a:cubicBezTo>
                  <a:cubicBezTo>
                    <a:pt x="61468" y="110133"/>
                    <a:pt x="61468" y="109516"/>
                    <a:pt x="61859" y="109270"/>
                  </a:cubicBezTo>
                  <a:cubicBezTo>
                    <a:pt x="62055" y="109146"/>
                    <a:pt x="62251" y="109146"/>
                    <a:pt x="62446" y="109146"/>
                  </a:cubicBezTo>
                  <a:cubicBezTo>
                    <a:pt x="62446" y="109146"/>
                    <a:pt x="62838" y="109146"/>
                    <a:pt x="63230" y="109146"/>
                  </a:cubicBezTo>
                  <a:cubicBezTo>
                    <a:pt x="64404" y="109146"/>
                    <a:pt x="65579" y="109146"/>
                    <a:pt x="65774" y="109146"/>
                  </a:cubicBezTo>
                  <a:cubicBezTo>
                    <a:pt x="66166" y="109146"/>
                    <a:pt x="66557" y="109023"/>
                    <a:pt x="66949" y="108900"/>
                  </a:cubicBezTo>
                  <a:cubicBezTo>
                    <a:pt x="67145" y="108900"/>
                    <a:pt x="67145" y="108900"/>
                    <a:pt x="67340" y="108900"/>
                  </a:cubicBezTo>
                  <a:cubicBezTo>
                    <a:pt x="67340" y="108776"/>
                    <a:pt x="67536" y="108776"/>
                    <a:pt x="67732" y="108776"/>
                  </a:cubicBezTo>
                  <a:cubicBezTo>
                    <a:pt x="69102" y="108283"/>
                    <a:pt x="69690" y="108160"/>
                    <a:pt x="70081" y="108283"/>
                  </a:cubicBezTo>
                  <a:cubicBezTo>
                    <a:pt x="70277" y="108283"/>
                    <a:pt x="70473" y="108406"/>
                    <a:pt x="70473" y="108406"/>
                  </a:cubicBezTo>
                  <a:cubicBezTo>
                    <a:pt x="71256" y="108653"/>
                    <a:pt x="72039" y="108900"/>
                    <a:pt x="72430" y="109146"/>
                  </a:cubicBezTo>
                  <a:cubicBezTo>
                    <a:pt x="72626" y="109146"/>
                    <a:pt x="72626" y="109270"/>
                    <a:pt x="72822" y="109516"/>
                  </a:cubicBezTo>
                  <a:cubicBezTo>
                    <a:pt x="73213" y="109886"/>
                    <a:pt x="73996" y="110626"/>
                    <a:pt x="74584" y="110873"/>
                  </a:cubicBezTo>
                  <a:cubicBezTo>
                    <a:pt x="74975" y="110503"/>
                    <a:pt x="76150" y="109516"/>
                    <a:pt x="76933" y="109516"/>
                  </a:cubicBezTo>
                  <a:cubicBezTo>
                    <a:pt x="77324" y="109516"/>
                    <a:pt x="79869" y="109146"/>
                    <a:pt x="80065" y="108900"/>
                  </a:cubicBezTo>
                  <a:cubicBezTo>
                    <a:pt x="80065" y="108900"/>
                    <a:pt x="80261" y="108653"/>
                    <a:pt x="80456" y="108530"/>
                  </a:cubicBezTo>
                  <a:cubicBezTo>
                    <a:pt x="81044" y="107667"/>
                    <a:pt x="81631" y="107050"/>
                    <a:pt x="82414" y="107050"/>
                  </a:cubicBezTo>
                  <a:cubicBezTo>
                    <a:pt x="82805" y="107050"/>
                    <a:pt x="83588" y="106927"/>
                    <a:pt x="84176" y="106927"/>
                  </a:cubicBezTo>
                  <a:cubicBezTo>
                    <a:pt x="84567" y="106803"/>
                    <a:pt x="84959" y="106803"/>
                    <a:pt x="85154" y="106680"/>
                  </a:cubicBezTo>
                  <a:cubicBezTo>
                    <a:pt x="85350" y="106680"/>
                    <a:pt x="85546" y="106680"/>
                    <a:pt x="85742" y="106557"/>
                  </a:cubicBezTo>
                  <a:cubicBezTo>
                    <a:pt x="86133" y="106433"/>
                    <a:pt x="86525" y="106310"/>
                    <a:pt x="86721" y="106433"/>
                  </a:cubicBezTo>
                  <a:cubicBezTo>
                    <a:pt x="86916" y="106433"/>
                    <a:pt x="87112" y="106557"/>
                    <a:pt x="87112" y="106803"/>
                  </a:cubicBezTo>
                  <a:cubicBezTo>
                    <a:pt x="87112" y="107050"/>
                    <a:pt x="86916" y="107173"/>
                    <a:pt x="86916" y="107297"/>
                  </a:cubicBezTo>
                  <a:cubicBezTo>
                    <a:pt x="86721" y="107543"/>
                    <a:pt x="86721" y="107667"/>
                    <a:pt x="86916" y="107913"/>
                  </a:cubicBezTo>
                  <a:cubicBezTo>
                    <a:pt x="87112" y="108036"/>
                    <a:pt x="87308" y="108160"/>
                    <a:pt x="87504" y="108283"/>
                  </a:cubicBezTo>
                  <a:cubicBezTo>
                    <a:pt x="87699" y="108406"/>
                    <a:pt x="87895" y="108530"/>
                    <a:pt x="87699" y="108776"/>
                  </a:cubicBezTo>
                  <a:cubicBezTo>
                    <a:pt x="87699" y="109146"/>
                    <a:pt x="87308" y="110010"/>
                    <a:pt x="87308" y="110010"/>
                  </a:cubicBezTo>
                  <a:cubicBezTo>
                    <a:pt x="87308" y="110133"/>
                    <a:pt x="87308" y="110133"/>
                    <a:pt x="87308" y="110133"/>
                  </a:cubicBezTo>
                  <a:cubicBezTo>
                    <a:pt x="87504" y="110503"/>
                    <a:pt x="88091" y="110996"/>
                    <a:pt x="88678" y="111366"/>
                  </a:cubicBezTo>
                  <a:cubicBezTo>
                    <a:pt x="89265" y="111860"/>
                    <a:pt x="91027" y="112353"/>
                    <a:pt x="91223" y="113093"/>
                  </a:cubicBezTo>
                  <a:cubicBezTo>
                    <a:pt x="91419" y="113956"/>
                    <a:pt x="92006" y="114573"/>
                    <a:pt x="91223" y="114943"/>
                  </a:cubicBezTo>
                  <a:cubicBezTo>
                    <a:pt x="90636" y="115436"/>
                    <a:pt x="89265" y="116053"/>
                    <a:pt x="89853" y="116546"/>
                  </a:cubicBezTo>
                  <a:cubicBezTo>
                    <a:pt x="90440" y="116916"/>
                    <a:pt x="92006" y="117533"/>
                    <a:pt x="92006" y="118026"/>
                  </a:cubicBezTo>
                  <a:cubicBezTo>
                    <a:pt x="92006" y="118396"/>
                    <a:pt x="92006" y="119383"/>
                    <a:pt x="92593" y="119753"/>
                  </a:cubicBezTo>
                  <a:cubicBezTo>
                    <a:pt x="92593" y="119753"/>
                    <a:pt x="92789" y="119876"/>
                    <a:pt x="92985" y="120000"/>
                  </a:cubicBezTo>
                  <a:cubicBezTo>
                    <a:pt x="92985" y="120000"/>
                    <a:pt x="93181" y="119876"/>
                    <a:pt x="93181" y="119876"/>
                  </a:cubicBezTo>
                  <a:cubicBezTo>
                    <a:pt x="93181" y="119876"/>
                    <a:pt x="94551" y="119876"/>
                    <a:pt x="95138" y="119753"/>
                  </a:cubicBezTo>
                  <a:cubicBezTo>
                    <a:pt x="95138" y="119753"/>
                    <a:pt x="95138" y="119753"/>
                    <a:pt x="95138" y="119753"/>
                  </a:cubicBezTo>
                  <a:cubicBezTo>
                    <a:pt x="95138" y="119753"/>
                    <a:pt x="95138" y="119753"/>
                    <a:pt x="95138" y="119753"/>
                  </a:cubicBezTo>
                  <a:cubicBezTo>
                    <a:pt x="95138" y="119630"/>
                    <a:pt x="95138" y="119506"/>
                    <a:pt x="95138" y="119383"/>
                  </a:cubicBezTo>
                  <a:cubicBezTo>
                    <a:pt x="95138" y="119136"/>
                    <a:pt x="94551" y="118766"/>
                    <a:pt x="94159" y="118396"/>
                  </a:cubicBezTo>
                  <a:cubicBezTo>
                    <a:pt x="93964" y="118273"/>
                    <a:pt x="93964" y="118273"/>
                    <a:pt x="93964" y="118273"/>
                  </a:cubicBezTo>
                  <a:cubicBezTo>
                    <a:pt x="93376" y="117780"/>
                    <a:pt x="93768" y="116916"/>
                    <a:pt x="93964" y="116546"/>
                  </a:cubicBezTo>
                  <a:cubicBezTo>
                    <a:pt x="93964" y="116300"/>
                    <a:pt x="94355" y="115930"/>
                    <a:pt x="95921" y="114820"/>
                  </a:cubicBezTo>
                  <a:cubicBezTo>
                    <a:pt x="96117" y="114696"/>
                    <a:pt x="96313" y="114450"/>
                    <a:pt x="96508" y="114450"/>
                  </a:cubicBezTo>
                  <a:cubicBezTo>
                    <a:pt x="96900" y="114080"/>
                    <a:pt x="97879" y="114326"/>
                    <a:pt x="98858" y="114573"/>
                  </a:cubicBezTo>
                  <a:cubicBezTo>
                    <a:pt x="99053" y="114696"/>
                    <a:pt x="99053" y="114696"/>
                    <a:pt x="99249" y="114696"/>
                  </a:cubicBezTo>
                  <a:cubicBezTo>
                    <a:pt x="99641" y="114820"/>
                    <a:pt x="100228" y="114943"/>
                    <a:pt x="100619" y="114943"/>
                  </a:cubicBezTo>
                  <a:cubicBezTo>
                    <a:pt x="101598" y="114450"/>
                    <a:pt x="101598" y="114450"/>
                    <a:pt x="101598" y="114450"/>
                  </a:cubicBezTo>
                  <a:cubicBezTo>
                    <a:pt x="101794" y="114326"/>
                    <a:pt x="101794" y="114326"/>
                    <a:pt x="101990" y="114450"/>
                  </a:cubicBezTo>
                  <a:cubicBezTo>
                    <a:pt x="102773" y="114450"/>
                    <a:pt x="103947" y="114696"/>
                    <a:pt x="104339" y="114696"/>
                  </a:cubicBezTo>
                  <a:cubicBezTo>
                    <a:pt x="104339" y="114696"/>
                    <a:pt x="104339" y="114450"/>
                    <a:pt x="104339" y="114326"/>
                  </a:cubicBezTo>
                  <a:cubicBezTo>
                    <a:pt x="104339" y="114203"/>
                    <a:pt x="104339" y="114080"/>
                    <a:pt x="104535" y="114080"/>
                  </a:cubicBezTo>
                  <a:cubicBezTo>
                    <a:pt x="104535" y="113586"/>
                    <a:pt x="105709" y="113586"/>
                    <a:pt x="106688" y="113710"/>
                  </a:cubicBezTo>
                  <a:cubicBezTo>
                    <a:pt x="106884" y="113710"/>
                    <a:pt x="107275" y="113710"/>
                    <a:pt x="107471" y="113710"/>
                  </a:cubicBezTo>
                  <a:cubicBezTo>
                    <a:pt x="107862" y="113586"/>
                    <a:pt x="108450" y="112970"/>
                    <a:pt x="108841" y="112600"/>
                  </a:cubicBezTo>
                  <a:cubicBezTo>
                    <a:pt x="109037" y="112353"/>
                    <a:pt x="109233" y="112230"/>
                    <a:pt x="109233" y="112106"/>
                  </a:cubicBezTo>
                  <a:cubicBezTo>
                    <a:pt x="109429" y="112106"/>
                    <a:pt x="109624" y="111613"/>
                    <a:pt x="109624" y="110133"/>
                  </a:cubicBezTo>
                  <a:cubicBezTo>
                    <a:pt x="109624" y="109886"/>
                    <a:pt x="109624" y="109886"/>
                    <a:pt x="109624" y="109886"/>
                  </a:cubicBezTo>
                  <a:cubicBezTo>
                    <a:pt x="109429" y="109886"/>
                    <a:pt x="109037" y="109763"/>
                    <a:pt x="108841" y="109640"/>
                  </a:cubicBezTo>
                  <a:cubicBezTo>
                    <a:pt x="108450" y="109640"/>
                    <a:pt x="108254" y="109640"/>
                    <a:pt x="108254" y="109516"/>
                  </a:cubicBezTo>
                  <a:cubicBezTo>
                    <a:pt x="107471" y="109270"/>
                    <a:pt x="107862" y="108776"/>
                    <a:pt x="108058" y="108530"/>
                  </a:cubicBezTo>
                  <a:cubicBezTo>
                    <a:pt x="108058" y="108406"/>
                    <a:pt x="108254" y="108160"/>
                    <a:pt x="108254" y="108160"/>
                  </a:cubicBezTo>
                  <a:cubicBezTo>
                    <a:pt x="108254" y="107790"/>
                    <a:pt x="109037" y="107543"/>
                    <a:pt x="110799" y="107297"/>
                  </a:cubicBezTo>
                  <a:cubicBezTo>
                    <a:pt x="110995" y="107173"/>
                    <a:pt x="111582" y="107050"/>
                    <a:pt x="111582" y="107050"/>
                  </a:cubicBezTo>
                  <a:cubicBezTo>
                    <a:pt x="111778" y="106927"/>
                    <a:pt x="112561" y="105447"/>
                    <a:pt x="112561" y="105077"/>
                  </a:cubicBezTo>
                  <a:cubicBezTo>
                    <a:pt x="112561" y="104583"/>
                    <a:pt x="112365" y="103597"/>
                    <a:pt x="112169" y="103350"/>
                  </a:cubicBezTo>
                  <a:cubicBezTo>
                    <a:pt x="111973" y="103103"/>
                    <a:pt x="111386" y="102857"/>
                    <a:pt x="111190" y="102857"/>
                  </a:cubicBezTo>
                  <a:cubicBezTo>
                    <a:pt x="110995" y="102857"/>
                    <a:pt x="110799" y="103227"/>
                    <a:pt x="110603" y="103350"/>
                  </a:cubicBezTo>
                  <a:cubicBezTo>
                    <a:pt x="110407" y="103473"/>
                    <a:pt x="110212" y="103473"/>
                    <a:pt x="110212" y="103597"/>
                  </a:cubicBezTo>
                  <a:cubicBezTo>
                    <a:pt x="109624" y="103843"/>
                    <a:pt x="108450" y="103843"/>
                    <a:pt x="108058" y="103720"/>
                  </a:cubicBezTo>
                  <a:cubicBezTo>
                    <a:pt x="107275" y="103720"/>
                    <a:pt x="107079" y="103103"/>
                    <a:pt x="106884" y="102610"/>
                  </a:cubicBezTo>
                  <a:cubicBezTo>
                    <a:pt x="106688" y="102610"/>
                    <a:pt x="105905" y="102610"/>
                    <a:pt x="105513" y="102610"/>
                  </a:cubicBezTo>
                  <a:cubicBezTo>
                    <a:pt x="105122" y="102610"/>
                    <a:pt x="104730" y="102610"/>
                    <a:pt x="104339" y="102487"/>
                  </a:cubicBezTo>
                  <a:cubicBezTo>
                    <a:pt x="103556" y="102363"/>
                    <a:pt x="103752" y="101747"/>
                    <a:pt x="103947" y="101253"/>
                  </a:cubicBezTo>
                  <a:cubicBezTo>
                    <a:pt x="103947" y="101130"/>
                    <a:pt x="103947" y="101130"/>
                    <a:pt x="103947" y="101007"/>
                  </a:cubicBezTo>
                  <a:cubicBezTo>
                    <a:pt x="103947" y="100883"/>
                    <a:pt x="103947" y="100637"/>
                    <a:pt x="106492" y="99403"/>
                  </a:cubicBezTo>
                  <a:cubicBezTo>
                    <a:pt x="106884" y="99280"/>
                    <a:pt x="107275" y="97923"/>
                    <a:pt x="107471" y="97430"/>
                  </a:cubicBezTo>
                  <a:cubicBezTo>
                    <a:pt x="107667" y="96813"/>
                    <a:pt x="108646" y="96813"/>
                    <a:pt x="109037" y="96813"/>
                  </a:cubicBezTo>
                  <a:cubicBezTo>
                    <a:pt x="109233" y="96813"/>
                    <a:pt x="109233" y="96813"/>
                    <a:pt x="109429" y="96813"/>
                  </a:cubicBezTo>
                  <a:cubicBezTo>
                    <a:pt x="110407" y="96813"/>
                    <a:pt x="112952" y="98787"/>
                    <a:pt x="112952" y="98787"/>
                  </a:cubicBezTo>
                  <a:cubicBezTo>
                    <a:pt x="112952" y="98787"/>
                    <a:pt x="113344" y="98910"/>
                    <a:pt x="114518" y="98910"/>
                  </a:cubicBezTo>
                  <a:cubicBezTo>
                    <a:pt x="114714" y="98910"/>
                    <a:pt x="114714" y="98910"/>
                    <a:pt x="114714" y="98910"/>
                  </a:cubicBezTo>
                  <a:cubicBezTo>
                    <a:pt x="115301" y="98910"/>
                    <a:pt x="115889" y="99650"/>
                    <a:pt x="116084" y="100020"/>
                  </a:cubicBezTo>
                  <a:cubicBezTo>
                    <a:pt x="116280" y="100390"/>
                    <a:pt x="116084" y="100637"/>
                    <a:pt x="115693" y="100883"/>
                  </a:cubicBezTo>
                  <a:lnTo>
                    <a:pt x="115693" y="101007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2" name="Shape 6936">
              <a:extLst>
                <a:ext uri="{FF2B5EF4-FFF2-40B4-BE49-F238E27FC236}">
                  <a16:creationId xmlns:a16="http://schemas.microsoft.com/office/drawing/2014/main" id="{6131B3CB-FDA9-4859-A2A1-3EBE8389D84C}"/>
                </a:ext>
              </a:extLst>
            </p:cNvPr>
            <p:cNvSpPr/>
            <p:nvPr/>
          </p:nvSpPr>
          <p:spPr>
            <a:xfrm>
              <a:off x="7538517" y="4484281"/>
              <a:ext cx="299063" cy="25941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7677" y="20719"/>
                  </a:moveTo>
                  <a:cubicBezTo>
                    <a:pt x="117677" y="20719"/>
                    <a:pt x="119225" y="14676"/>
                    <a:pt x="120000" y="12949"/>
                  </a:cubicBezTo>
                  <a:cubicBezTo>
                    <a:pt x="120000" y="12086"/>
                    <a:pt x="119225" y="12086"/>
                    <a:pt x="119225" y="12086"/>
                  </a:cubicBezTo>
                  <a:cubicBezTo>
                    <a:pt x="118451" y="11223"/>
                    <a:pt x="117677" y="10359"/>
                    <a:pt x="116903" y="8633"/>
                  </a:cubicBezTo>
                  <a:cubicBezTo>
                    <a:pt x="115354" y="6043"/>
                    <a:pt x="116129" y="3453"/>
                    <a:pt x="116129" y="1726"/>
                  </a:cubicBezTo>
                  <a:cubicBezTo>
                    <a:pt x="116903" y="863"/>
                    <a:pt x="116903" y="863"/>
                    <a:pt x="116903" y="0"/>
                  </a:cubicBezTo>
                  <a:cubicBezTo>
                    <a:pt x="116903" y="0"/>
                    <a:pt x="116129" y="0"/>
                    <a:pt x="116129" y="0"/>
                  </a:cubicBezTo>
                  <a:cubicBezTo>
                    <a:pt x="115354" y="863"/>
                    <a:pt x="113806" y="1726"/>
                    <a:pt x="113032" y="1726"/>
                  </a:cubicBezTo>
                  <a:cubicBezTo>
                    <a:pt x="112258" y="2589"/>
                    <a:pt x="110709" y="2589"/>
                    <a:pt x="109161" y="2589"/>
                  </a:cubicBezTo>
                  <a:cubicBezTo>
                    <a:pt x="106064" y="3453"/>
                    <a:pt x="102967" y="4316"/>
                    <a:pt x="101419" y="4316"/>
                  </a:cubicBezTo>
                  <a:cubicBezTo>
                    <a:pt x="99870" y="5179"/>
                    <a:pt x="97548" y="10359"/>
                    <a:pt x="96000" y="12949"/>
                  </a:cubicBezTo>
                  <a:cubicBezTo>
                    <a:pt x="95225" y="13812"/>
                    <a:pt x="95225" y="15539"/>
                    <a:pt x="94451" y="16402"/>
                  </a:cubicBezTo>
                  <a:cubicBezTo>
                    <a:pt x="92903" y="19856"/>
                    <a:pt x="81290" y="21582"/>
                    <a:pt x="79741" y="21582"/>
                  </a:cubicBezTo>
                  <a:cubicBezTo>
                    <a:pt x="78193" y="22446"/>
                    <a:pt x="73548" y="27625"/>
                    <a:pt x="72000" y="30215"/>
                  </a:cubicBezTo>
                  <a:cubicBezTo>
                    <a:pt x="72000" y="31079"/>
                    <a:pt x="71225" y="31079"/>
                    <a:pt x="70451" y="31079"/>
                  </a:cubicBezTo>
                  <a:cubicBezTo>
                    <a:pt x="68903" y="31079"/>
                    <a:pt x="66580" y="29352"/>
                    <a:pt x="61161" y="19856"/>
                  </a:cubicBezTo>
                  <a:cubicBezTo>
                    <a:pt x="60387" y="18992"/>
                    <a:pt x="59612" y="18129"/>
                    <a:pt x="59612" y="17266"/>
                  </a:cubicBezTo>
                  <a:cubicBezTo>
                    <a:pt x="58838" y="16402"/>
                    <a:pt x="54967" y="14676"/>
                    <a:pt x="53419" y="13812"/>
                  </a:cubicBezTo>
                  <a:cubicBezTo>
                    <a:pt x="52645" y="12949"/>
                    <a:pt x="51870" y="12949"/>
                    <a:pt x="51870" y="12949"/>
                  </a:cubicBezTo>
                  <a:cubicBezTo>
                    <a:pt x="50322" y="12949"/>
                    <a:pt x="46451" y="14676"/>
                    <a:pt x="44903" y="15539"/>
                  </a:cubicBezTo>
                  <a:cubicBezTo>
                    <a:pt x="44129" y="16402"/>
                    <a:pt x="43354" y="16402"/>
                    <a:pt x="42580" y="16402"/>
                  </a:cubicBezTo>
                  <a:cubicBezTo>
                    <a:pt x="42580" y="17266"/>
                    <a:pt x="41806" y="17266"/>
                    <a:pt x="41806" y="17266"/>
                  </a:cubicBezTo>
                  <a:cubicBezTo>
                    <a:pt x="39483" y="18129"/>
                    <a:pt x="37161" y="18992"/>
                    <a:pt x="35612" y="18992"/>
                  </a:cubicBezTo>
                  <a:cubicBezTo>
                    <a:pt x="34064" y="18992"/>
                    <a:pt x="28645" y="18992"/>
                    <a:pt x="25548" y="18992"/>
                  </a:cubicBezTo>
                  <a:cubicBezTo>
                    <a:pt x="24000" y="18992"/>
                    <a:pt x="23225" y="18992"/>
                    <a:pt x="22451" y="18992"/>
                  </a:cubicBezTo>
                  <a:cubicBezTo>
                    <a:pt x="21677" y="19856"/>
                    <a:pt x="21677" y="23309"/>
                    <a:pt x="22451" y="28489"/>
                  </a:cubicBezTo>
                  <a:cubicBezTo>
                    <a:pt x="22451" y="29352"/>
                    <a:pt x="22451" y="30215"/>
                    <a:pt x="22451" y="31079"/>
                  </a:cubicBezTo>
                  <a:cubicBezTo>
                    <a:pt x="22451" y="34532"/>
                    <a:pt x="18580" y="36258"/>
                    <a:pt x="15483" y="37122"/>
                  </a:cubicBezTo>
                  <a:cubicBezTo>
                    <a:pt x="13935" y="37985"/>
                    <a:pt x="12387" y="42302"/>
                    <a:pt x="12387" y="46618"/>
                  </a:cubicBezTo>
                  <a:cubicBezTo>
                    <a:pt x="12387" y="46618"/>
                    <a:pt x="12387" y="47482"/>
                    <a:pt x="11612" y="47482"/>
                  </a:cubicBezTo>
                  <a:cubicBezTo>
                    <a:pt x="11612" y="47482"/>
                    <a:pt x="10838" y="47482"/>
                    <a:pt x="10838" y="47482"/>
                  </a:cubicBezTo>
                  <a:cubicBezTo>
                    <a:pt x="10838" y="47482"/>
                    <a:pt x="10838" y="47482"/>
                    <a:pt x="10064" y="47482"/>
                  </a:cubicBezTo>
                  <a:cubicBezTo>
                    <a:pt x="3870" y="45755"/>
                    <a:pt x="3870" y="45755"/>
                    <a:pt x="3870" y="45755"/>
                  </a:cubicBezTo>
                  <a:cubicBezTo>
                    <a:pt x="3870" y="45755"/>
                    <a:pt x="3870" y="45755"/>
                    <a:pt x="3096" y="45755"/>
                  </a:cubicBezTo>
                  <a:cubicBezTo>
                    <a:pt x="3096" y="45755"/>
                    <a:pt x="1548" y="46618"/>
                    <a:pt x="774" y="46618"/>
                  </a:cubicBezTo>
                  <a:cubicBezTo>
                    <a:pt x="1548" y="47482"/>
                    <a:pt x="1548" y="48345"/>
                    <a:pt x="2322" y="50071"/>
                  </a:cubicBezTo>
                  <a:cubicBezTo>
                    <a:pt x="2322" y="51798"/>
                    <a:pt x="3096" y="53525"/>
                    <a:pt x="3096" y="55251"/>
                  </a:cubicBezTo>
                  <a:cubicBezTo>
                    <a:pt x="3096" y="56978"/>
                    <a:pt x="2322" y="57841"/>
                    <a:pt x="1548" y="59568"/>
                  </a:cubicBezTo>
                  <a:cubicBezTo>
                    <a:pt x="1548" y="60431"/>
                    <a:pt x="774" y="62158"/>
                    <a:pt x="774" y="62158"/>
                  </a:cubicBezTo>
                  <a:cubicBezTo>
                    <a:pt x="774" y="74244"/>
                    <a:pt x="774" y="74244"/>
                    <a:pt x="774" y="74244"/>
                  </a:cubicBezTo>
                  <a:cubicBezTo>
                    <a:pt x="774" y="75107"/>
                    <a:pt x="774" y="75971"/>
                    <a:pt x="0" y="75971"/>
                  </a:cubicBezTo>
                  <a:cubicBezTo>
                    <a:pt x="3870" y="79424"/>
                    <a:pt x="16258" y="88920"/>
                    <a:pt x="16258" y="91510"/>
                  </a:cubicBezTo>
                  <a:cubicBezTo>
                    <a:pt x="16258" y="94964"/>
                    <a:pt x="13935" y="106187"/>
                    <a:pt x="17032" y="107050"/>
                  </a:cubicBezTo>
                  <a:cubicBezTo>
                    <a:pt x="20129" y="108776"/>
                    <a:pt x="28645" y="116546"/>
                    <a:pt x="34838" y="117410"/>
                  </a:cubicBezTo>
                  <a:cubicBezTo>
                    <a:pt x="40258" y="118273"/>
                    <a:pt x="44129" y="120000"/>
                    <a:pt x="44129" y="117410"/>
                  </a:cubicBezTo>
                  <a:cubicBezTo>
                    <a:pt x="44903" y="115683"/>
                    <a:pt x="46451" y="106187"/>
                    <a:pt x="49548" y="106187"/>
                  </a:cubicBezTo>
                  <a:cubicBezTo>
                    <a:pt x="52645" y="106187"/>
                    <a:pt x="69677" y="94100"/>
                    <a:pt x="73548" y="90647"/>
                  </a:cubicBezTo>
                  <a:cubicBezTo>
                    <a:pt x="77419" y="88057"/>
                    <a:pt x="78967" y="85467"/>
                    <a:pt x="78967" y="82014"/>
                  </a:cubicBezTo>
                  <a:cubicBezTo>
                    <a:pt x="78967" y="78561"/>
                    <a:pt x="77419" y="74244"/>
                    <a:pt x="77419" y="74244"/>
                  </a:cubicBezTo>
                  <a:cubicBezTo>
                    <a:pt x="77419" y="71654"/>
                    <a:pt x="75870" y="68201"/>
                    <a:pt x="78967" y="63884"/>
                  </a:cubicBezTo>
                  <a:cubicBezTo>
                    <a:pt x="81290" y="60431"/>
                    <a:pt x="88258" y="49208"/>
                    <a:pt x="90580" y="45755"/>
                  </a:cubicBezTo>
                  <a:cubicBezTo>
                    <a:pt x="92129" y="41438"/>
                    <a:pt x="96774" y="26762"/>
                    <a:pt x="99870" y="25035"/>
                  </a:cubicBezTo>
                  <a:cubicBezTo>
                    <a:pt x="102967" y="23309"/>
                    <a:pt x="109935" y="20719"/>
                    <a:pt x="113806" y="20719"/>
                  </a:cubicBezTo>
                  <a:cubicBezTo>
                    <a:pt x="115354" y="20719"/>
                    <a:pt x="116903" y="20719"/>
                    <a:pt x="117677" y="20719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3" name="Shape 6937">
              <a:extLst>
                <a:ext uri="{FF2B5EF4-FFF2-40B4-BE49-F238E27FC236}">
                  <a16:creationId xmlns:a16="http://schemas.microsoft.com/office/drawing/2014/main" id="{EB4CA4FF-F0DE-491B-8814-D489673B8163}"/>
                </a:ext>
              </a:extLst>
            </p:cNvPr>
            <p:cNvSpPr/>
            <p:nvPr/>
          </p:nvSpPr>
          <p:spPr>
            <a:xfrm>
              <a:off x="7818285" y="4337773"/>
              <a:ext cx="387817" cy="92196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5671" y="13874"/>
                  </a:moveTo>
                  <a:cubicBezTo>
                    <a:pt x="103283" y="12170"/>
                    <a:pt x="105074" y="9979"/>
                    <a:pt x="105671" y="8032"/>
                  </a:cubicBezTo>
                  <a:cubicBezTo>
                    <a:pt x="103880" y="9006"/>
                    <a:pt x="100298" y="10223"/>
                    <a:pt x="97910" y="9736"/>
                  </a:cubicBezTo>
                  <a:cubicBezTo>
                    <a:pt x="97910" y="9736"/>
                    <a:pt x="91940" y="8762"/>
                    <a:pt x="90746" y="7789"/>
                  </a:cubicBezTo>
                  <a:cubicBezTo>
                    <a:pt x="90746" y="7302"/>
                    <a:pt x="90746" y="7058"/>
                    <a:pt x="90746" y="7058"/>
                  </a:cubicBezTo>
                  <a:cubicBezTo>
                    <a:pt x="91343" y="6815"/>
                    <a:pt x="91343" y="6815"/>
                    <a:pt x="91343" y="6815"/>
                  </a:cubicBezTo>
                  <a:cubicBezTo>
                    <a:pt x="91940" y="6085"/>
                    <a:pt x="91940" y="5841"/>
                    <a:pt x="91940" y="5598"/>
                  </a:cubicBezTo>
                  <a:cubicBezTo>
                    <a:pt x="91940" y="5111"/>
                    <a:pt x="90149" y="4137"/>
                    <a:pt x="89552" y="4137"/>
                  </a:cubicBezTo>
                  <a:cubicBezTo>
                    <a:pt x="89552" y="4137"/>
                    <a:pt x="89552" y="4137"/>
                    <a:pt x="89552" y="4137"/>
                  </a:cubicBezTo>
                  <a:cubicBezTo>
                    <a:pt x="85970" y="4137"/>
                    <a:pt x="84179" y="4137"/>
                    <a:pt x="82985" y="3651"/>
                  </a:cubicBezTo>
                  <a:cubicBezTo>
                    <a:pt x="81791" y="2920"/>
                    <a:pt x="75223" y="243"/>
                    <a:pt x="74029" y="0"/>
                  </a:cubicBezTo>
                  <a:cubicBezTo>
                    <a:pt x="73432" y="0"/>
                    <a:pt x="73432" y="0"/>
                    <a:pt x="72835" y="0"/>
                  </a:cubicBezTo>
                  <a:cubicBezTo>
                    <a:pt x="70447" y="0"/>
                    <a:pt x="70447" y="0"/>
                    <a:pt x="70447" y="243"/>
                  </a:cubicBezTo>
                  <a:cubicBezTo>
                    <a:pt x="70447" y="730"/>
                    <a:pt x="68656" y="4381"/>
                    <a:pt x="66865" y="5111"/>
                  </a:cubicBezTo>
                  <a:cubicBezTo>
                    <a:pt x="63283" y="6085"/>
                    <a:pt x="59701" y="7302"/>
                    <a:pt x="59701" y="7545"/>
                  </a:cubicBezTo>
                  <a:cubicBezTo>
                    <a:pt x="59701" y="7545"/>
                    <a:pt x="59701" y="7789"/>
                    <a:pt x="59701" y="8032"/>
                  </a:cubicBezTo>
                  <a:cubicBezTo>
                    <a:pt x="59701" y="8275"/>
                    <a:pt x="59104" y="9249"/>
                    <a:pt x="59701" y="9492"/>
                  </a:cubicBezTo>
                  <a:cubicBezTo>
                    <a:pt x="59701" y="9492"/>
                    <a:pt x="60895" y="9492"/>
                    <a:pt x="62089" y="9492"/>
                  </a:cubicBezTo>
                  <a:cubicBezTo>
                    <a:pt x="64477" y="9492"/>
                    <a:pt x="67462" y="9492"/>
                    <a:pt x="68059" y="10223"/>
                  </a:cubicBezTo>
                  <a:cubicBezTo>
                    <a:pt x="69253" y="11683"/>
                    <a:pt x="69850" y="11683"/>
                    <a:pt x="70447" y="11683"/>
                  </a:cubicBezTo>
                  <a:cubicBezTo>
                    <a:pt x="72238" y="11926"/>
                    <a:pt x="74029" y="11926"/>
                    <a:pt x="74626" y="11683"/>
                  </a:cubicBezTo>
                  <a:cubicBezTo>
                    <a:pt x="74626" y="11683"/>
                    <a:pt x="75223" y="11440"/>
                    <a:pt x="75820" y="11196"/>
                  </a:cubicBezTo>
                  <a:cubicBezTo>
                    <a:pt x="77014" y="10709"/>
                    <a:pt x="78208" y="9979"/>
                    <a:pt x="79402" y="9979"/>
                  </a:cubicBezTo>
                  <a:cubicBezTo>
                    <a:pt x="81194" y="9979"/>
                    <a:pt x="83582" y="10953"/>
                    <a:pt x="84776" y="11440"/>
                  </a:cubicBezTo>
                  <a:cubicBezTo>
                    <a:pt x="85970" y="12413"/>
                    <a:pt x="85970" y="15334"/>
                    <a:pt x="85970" y="15334"/>
                  </a:cubicBezTo>
                  <a:cubicBezTo>
                    <a:pt x="85970" y="16064"/>
                    <a:pt x="83582" y="19716"/>
                    <a:pt x="81791" y="20202"/>
                  </a:cubicBezTo>
                  <a:cubicBezTo>
                    <a:pt x="81194" y="20202"/>
                    <a:pt x="80597" y="20202"/>
                    <a:pt x="78805" y="20446"/>
                  </a:cubicBezTo>
                  <a:cubicBezTo>
                    <a:pt x="77014" y="20689"/>
                    <a:pt x="73432" y="21176"/>
                    <a:pt x="72238" y="21419"/>
                  </a:cubicBezTo>
                  <a:cubicBezTo>
                    <a:pt x="72238" y="21906"/>
                    <a:pt x="72238" y="22150"/>
                    <a:pt x="71641" y="22393"/>
                  </a:cubicBezTo>
                  <a:cubicBezTo>
                    <a:pt x="71641" y="22636"/>
                    <a:pt x="71044" y="23123"/>
                    <a:pt x="71044" y="23367"/>
                  </a:cubicBezTo>
                  <a:cubicBezTo>
                    <a:pt x="71641" y="23367"/>
                    <a:pt x="72238" y="23367"/>
                    <a:pt x="72835" y="23610"/>
                  </a:cubicBezTo>
                  <a:cubicBezTo>
                    <a:pt x="74626" y="23853"/>
                    <a:pt x="77014" y="24097"/>
                    <a:pt x="77014" y="24827"/>
                  </a:cubicBezTo>
                  <a:cubicBezTo>
                    <a:pt x="77014" y="25314"/>
                    <a:pt x="77014" y="25314"/>
                    <a:pt x="77014" y="25314"/>
                  </a:cubicBezTo>
                  <a:cubicBezTo>
                    <a:pt x="77014" y="27991"/>
                    <a:pt x="76417" y="29452"/>
                    <a:pt x="75820" y="29939"/>
                  </a:cubicBezTo>
                  <a:cubicBezTo>
                    <a:pt x="75223" y="29939"/>
                    <a:pt x="74626" y="30425"/>
                    <a:pt x="74029" y="30669"/>
                  </a:cubicBezTo>
                  <a:cubicBezTo>
                    <a:pt x="72238" y="32129"/>
                    <a:pt x="70447" y="33103"/>
                    <a:pt x="68656" y="33346"/>
                  </a:cubicBezTo>
                  <a:cubicBezTo>
                    <a:pt x="68059" y="33346"/>
                    <a:pt x="66865" y="33346"/>
                    <a:pt x="65074" y="33346"/>
                  </a:cubicBezTo>
                  <a:cubicBezTo>
                    <a:pt x="64477" y="33346"/>
                    <a:pt x="62089" y="33103"/>
                    <a:pt x="60895" y="33346"/>
                  </a:cubicBezTo>
                  <a:cubicBezTo>
                    <a:pt x="60895" y="33346"/>
                    <a:pt x="60895" y="33590"/>
                    <a:pt x="60895" y="33590"/>
                  </a:cubicBezTo>
                  <a:cubicBezTo>
                    <a:pt x="60895" y="34320"/>
                    <a:pt x="60895" y="35294"/>
                    <a:pt x="58507" y="35294"/>
                  </a:cubicBezTo>
                  <a:cubicBezTo>
                    <a:pt x="56716" y="35294"/>
                    <a:pt x="52537" y="34807"/>
                    <a:pt x="51343" y="34807"/>
                  </a:cubicBezTo>
                  <a:cubicBezTo>
                    <a:pt x="48358" y="35780"/>
                    <a:pt x="48358" y="35780"/>
                    <a:pt x="48358" y="35780"/>
                  </a:cubicBezTo>
                  <a:cubicBezTo>
                    <a:pt x="47761" y="35780"/>
                    <a:pt x="47761" y="35780"/>
                    <a:pt x="47164" y="35780"/>
                  </a:cubicBezTo>
                  <a:cubicBezTo>
                    <a:pt x="47164" y="35780"/>
                    <a:pt x="44179" y="35537"/>
                    <a:pt x="41791" y="35294"/>
                  </a:cubicBezTo>
                  <a:cubicBezTo>
                    <a:pt x="41791" y="35294"/>
                    <a:pt x="41194" y="35050"/>
                    <a:pt x="40597" y="35050"/>
                  </a:cubicBezTo>
                  <a:cubicBezTo>
                    <a:pt x="39402" y="34807"/>
                    <a:pt x="37014" y="34320"/>
                    <a:pt x="36417" y="34320"/>
                  </a:cubicBezTo>
                  <a:cubicBezTo>
                    <a:pt x="36417" y="34563"/>
                    <a:pt x="35223" y="34807"/>
                    <a:pt x="34626" y="35294"/>
                  </a:cubicBezTo>
                  <a:cubicBezTo>
                    <a:pt x="32835" y="36024"/>
                    <a:pt x="29253" y="37971"/>
                    <a:pt x="28656" y="38215"/>
                  </a:cubicBezTo>
                  <a:cubicBezTo>
                    <a:pt x="28656" y="39188"/>
                    <a:pt x="28059" y="40405"/>
                    <a:pt x="29253" y="40892"/>
                  </a:cubicBezTo>
                  <a:cubicBezTo>
                    <a:pt x="29253" y="40892"/>
                    <a:pt x="29253" y="40892"/>
                    <a:pt x="29253" y="40892"/>
                  </a:cubicBezTo>
                  <a:cubicBezTo>
                    <a:pt x="31044" y="41866"/>
                    <a:pt x="32835" y="42839"/>
                    <a:pt x="32835" y="43569"/>
                  </a:cubicBezTo>
                  <a:cubicBezTo>
                    <a:pt x="32835" y="43813"/>
                    <a:pt x="32835" y="44056"/>
                    <a:pt x="32835" y="44056"/>
                  </a:cubicBezTo>
                  <a:cubicBezTo>
                    <a:pt x="32835" y="44543"/>
                    <a:pt x="32835" y="45273"/>
                    <a:pt x="30447" y="45273"/>
                  </a:cubicBezTo>
                  <a:cubicBezTo>
                    <a:pt x="29253" y="45517"/>
                    <a:pt x="26865" y="45517"/>
                    <a:pt x="25671" y="45517"/>
                  </a:cubicBezTo>
                  <a:cubicBezTo>
                    <a:pt x="27462" y="46734"/>
                    <a:pt x="28656" y="47951"/>
                    <a:pt x="28059" y="48438"/>
                  </a:cubicBezTo>
                  <a:cubicBezTo>
                    <a:pt x="26865" y="49168"/>
                    <a:pt x="25074" y="50141"/>
                    <a:pt x="26865" y="51359"/>
                  </a:cubicBezTo>
                  <a:cubicBezTo>
                    <a:pt x="29253" y="52332"/>
                    <a:pt x="31641" y="53549"/>
                    <a:pt x="31641" y="54279"/>
                  </a:cubicBezTo>
                  <a:cubicBezTo>
                    <a:pt x="31641" y="55253"/>
                    <a:pt x="33432" y="58417"/>
                    <a:pt x="34626" y="59391"/>
                  </a:cubicBezTo>
                  <a:cubicBezTo>
                    <a:pt x="35820" y="60365"/>
                    <a:pt x="37014" y="61582"/>
                    <a:pt x="36417" y="62555"/>
                  </a:cubicBezTo>
                  <a:cubicBezTo>
                    <a:pt x="35820" y="63529"/>
                    <a:pt x="34029" y="65233"/>
                    <a:pt x="35223" y="65963"/>
                  </a:cubicBezTo>
                  <a:cubicBezTo>
                    <a:pt x="36417" y="66693"/>
                    <a:pt x="41194" y="69371"/>
                    <a:pt x="40000" y="70344"/>
                  </a:cubicBezTo>
                  <a:cubicBezTo>
                    <a:pt x="38208" y="71318"/>
                    <a:pt x="34626" y="75699"/>
                    <a:pt x="31044" y="75456"/>
                  </a:cubicBezTo>
                  <a:cubicBezTo>
                    <a:pt x="28059" y="74969"/>
                    <a:pt x="21492" y="74482"/>
                    <a:pt x="19701" y="74969"/>
                  </a:cubicBezTo>
                  <a:cubicBezTo>
                    <a:pt x="17313" y="75699"/>
                    <a:pt x="11343" y="77403"/>
                    <a:pt x="11343" y="78377"/>
                  </a:cubicBezTo>
                  <a:cubicBezTo>
                    <a:pt x="11343" y="79107"/>
                    <a:pt x="11343" y="81784"/>
                    <a:pt x="9552" y="82515"/>
                  </a:cubicBezTo>
                  <a:cubicBezTo>
                    <a:pt x="7164" y="83002"/>
                    <a:pt x="2388" y="85192"/>
                    <a:pt x="1791" y="86166"/>
                  </a:cubicBezTo>
                  <a:cubicBezTo>
                    <a:pt x="1194" y="87139"/>
                    <a:pt x="0" y="88843"/>
                    <a:pt x="2388" y="89330"/>
                  </a:cubicBezTo>
                  <a:cubicBezTo>
                    <a:pt x="5373" y="89574"/>
                    <a:pt x="12537" y="90791"/>
                    <a:pt x="14328" y="91764"/>
                  </a:cubicBezTo>
                  <a:cubicBezTo>
                    <a:pt x="16119" y="92981"/>
                    <a:pt x="17910" y="93955"/>
                    <a:pt x="18507" y="95172"/>
                  </a:cubicBezTo>
                  <a:cubicBezTo>
                    <a:pt x="19104" y="96389"/>
                    <a:pt x="22686" y="98093"/>
                    <a:pt x="25074" y="99066"/>
                  </a:cubicBezTo>
                  <a:cubicBezTo>
                    <a:pt x="26865" y="99797"/>
                    <a:pt x="35223" y="102474"/>
                    <a:pt x="36417" y="103448"/>
                  </a:cubicBezTo>
                  <a:cubicBezTo>
                    <a:pt x="37014" y="104421"/>
                    <a:pt x="38208" y="106612"/>
                    <a:pt x="38208" y="107829"/>
                  </a:cubicBezTo>
                  <a:cubicBezTo>
                    <a:pt x="38208" y="109046"/>
                    <a:pt x="39402" y="110750"/>
                    <a:pt x="37611" y="111480"/>
                  </a:cubicBezTo>
                  <a:cubicBezTo>
                    <a:pt x="36417" y="112210"/>
                    <a:pt x="31044" y="116835"/>
                    <a:pt x="30447" y="117565"/>
                  </a:cubicBezTo>
                  <a:cubicBezTo>
                    <a:pt x="29850" y="118052"/>
                    <a:pt x="31641" y="119513"/>
                    <a:pt x="33432" y="119756"/>
                  </a:cubicBezTo>
                  <a:cubicBezTo>
                    <a:pt x="35223" y="119756"/>
                    <a:pt x="41791" y="120000"/>
                    <a:pt x="41791" y="120000"/>
                  </a:cubicBezTo>
                  <a:cubicBezTo>
                    <a:pt x="41791" y="118782"/>
                    <a:pt x="41194" y="117565"/>
                    <a:pt x="41194" y="116835"/>
                  </a:cubicBezTo>
                  <a:cubicBezTo>
                    <a:pt x="41194" y="115862"/>
                    <a:pt x="45970" y="112941"/>
                    <a:pt x="45970" y="112941"/>
                  </a:cubicBezTo>
                  <a:cubicBezTo>
                    <a:pt x="45970" y="112941"/>
                    <a:pt x="47164" y="110750"/>
                    <a:pt x="47164" y="109046"/>
                  </a:cubicBezTo>
                  <a:cubicBezTo>
                    <a:pt x="47164" y="107342"/>
                    <a:pt x="47164" y="105882"/>
                    <a:pt x="48358" y="104178"/>
                  </a:cubicBezTo>
                  <a:cubicBezTo>
                    <a:pt x="49552" y="102474"/>
                    <a:pt x="51940" y="103935"/>
                    <a:pt x="54925" y="104665"/>
                  </a:cubicBezTo>
                  <a:cubicBezTo>
                    <a:pt x="57910" y="105395"/>
                    <a:pt x="56716" y="102961"/>
                    <a:pt x="57313" y="101257"/>
                  </a:cubicBezTo>
                  <a:cubicBezTo>
                    <a:pt x="57910" y="99553"/>
                    <a:pt x="62089" y="100527"/>
                    <a:pt x="63283" y="101744"/>
                  </a:cubicBezTo>
                  <a:cubicBezTo>
                    <a:pt x="64477" y="102961"/>
                    <a:pt x="63880" y="103448"/>
                    <a:pt x="66865" y="103448"/>
                  </a:cubicBezTo>
                  <a:cubicBezTo>
                    <a:pt x="69850" y="103448"/>
                    <a:pt x="78208" y="101987"/>
                    <a:pt x="81194" y="101257"/>
                  </a:cubicBezTo>
                  <a:cubicBezTo>
                    <a:pt x="84179" y="100527"/>
                    <a:pt x="91940" y="99797"/>
                    <a:pt x="94328" y="99553"/>
                  </a:cubicBezTo>
                  <a:cubicBezTo>
                    <a:pt x="96716" y="99310"/>
                    <a:pt x="104477" y="92251"/>
                    <a:pt x="105671" y="90547"/>
                  </a:cubicBezTo>
                  <a:cubicBezTo>
                    <a:pt x="106865" y="88843"/>
                    <a:pt x="111641" y="86896"/>
                    <a:pt x="114626" y="85192"/>
                  </a:cubicBezTo>
                  <a:cubicBezTo>
                    <a:pt x="117611" y="83488"/>
                    <a:pt x="115223" y="72535"/>
                    <a:pt x="115223" y="71318"/>
                  </a:cubicBezTo>
                  <a:cubicBezTo>
                    <a:pt x="115223" y="70101"/>
                    <a:pt x="112835" y="65963"/>
                    <a:pt x="112835" y="64746"/>
                  </a:cubicBezTo>
                  <a:cubicBezTo>
                    <a:pt x="112835" y="63529"/>
                    <a:pt x="115223" y="59878"/>
                    <a:pt x="116417" y="58661"/>
                  </a:cubicBezTo>
                  <a:cubicBezTo>
                    <a:pt x="117611" y="57444"/>
                    <a:pt x="115820" y="48194"/>
                    <a:pt x="115820" y="46734"/>
                  </a:cubicBezTo>
                  <a:cubicBezTo>
                    <a:pt x="115820" y="45273"/>
                    <a:pt x="117611" y="42839"/>
                    <a:pt x="118805" y="41622"/>
                  </a:cubicBezTo>
                  <a:cubicBezTo>
                    <a:pt x="120000" y="40405"/>
                    <a:pt x="117014" y="29452"/>
                    <a:pt x="116417" y="27261"/>
                  </a:cubicBezTo>
                  <a:cubicBezTo>
                    <a:pt x="115820" y="25070"/>
                    <a:pt x="108656" y="15821"/>
                    <a:pt x="105671" y="13874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4" name="Shape 6938">
              <a:extLst>
                <a:ext uri="{FF2B5EF4-FFF2-40B4-BE49-F238E27FC236}">
                  <a16:creationId xmlns:a16="http://schemas.microsoft.com/office/drawing/2014/main" id="{058CF3B4-C8B2-4BBB-A502-AF8D55807999}"/>
                </a:ext>
              </a:extLst>
            </p:cNvPr>
            <p:cNvSpPr/>
            <p:nvPr/>
          </p:nvSpPr>
          <p:spPr>
            <a:xfrm>
              <a:off x="7634989" y="1574665"/>
              <a:ext cx="1152841" cy="158451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8793" y="119291"/>
                  </a:moveTo>
                  <a:cubicBezTo>
                    <a:pt x="119396" y="120000"/>
                    <a:pt x="119597" y="118866"/>
                    <a:pt x="119798" y="118158"/>
                  </a:cubicBezTo>
                  <a:cubicBezTo>
                    <a:pt x="120000" y="117308"/>
                    <a:pt x="118994" y="115182"/>
                    <a:pt x="118793" y="114474"/>
                  </a:cubicBezTo>
                  <a:cubicBezTo>
                    <a:pt x="118793" y="113907"/>
                    <a:pt x="117386" y="111216"/>
                    <a:pt x="117185" y="110365"/>
                  </a:cubicBezTo>
                  <a:cubicBezTo>
                    <a:pt x="117185" y="109657"/>
                    <a:pt x="116984" y="108524"/>
                    <a:pt x="116984" y="107815"/>
                  </a:cubicBezTo>
                  <a:cubicBezTo>
                    <a:pt x="116984" y="107249"/>
                    <a:pt x="111155" y="103990"/>
                    <a:pt x="110753" y="103565"/>
                  </a:cubicBezTo>
                  <a:cubicBezTo>
                    <a:pt x="110552" y="103282"/>
                    <a:pt x="108542" y="102715"/>
                    <a:pt x="108140" y="102573"/>
                  </a:cubicBezTo>
                  <a:cubicBezTo>
                    <a:pt x="107537" y="102573"/>
                    <a:pt x="106934" y="99315"/>
                    <a:pt x="106733" y="98890"/>
                  </a:cubicBezTo>
                  <a:cubicBezTo>
                    <a:pt x="106532" y="98465"/>
                    <a:pt x="107537" y="97331"/>
                    <a:pt x="107738" y="97048"/>
                  </a:cubicBezTo>
                  <a:cubicBezTo>
                    <a:pt x="107939" y="96623"/>
                    <a:pt x="107939" y="95773"/>
                    <a:pt x="107939" y="95489"/>
                  </a:cubicBezTo>
                  <a:cubicBezTo>
                    <a:pt x="107939" y="95206"/>
                    <a:pt x="109145" y="95064"/>
                    <a:pt x="110150" y="94781"/>
                  </a:cubicBezTo>
                  <a:cubicBezTo>
                    <a:pt x="110954" y="94639"/>
                    <a:pt x="110753" y="94073"/>
                    <a:pt x="110753" y="93789"/>
                  </a:cubicBezTo>
                  <a:cubicBezTo>
                    <a:pt x="110753" y="93506"/>
                    <a:pt x="107537" y="93223"/>
                    <a:pt x="107135" y="93081"/>
                  </a:cubicBezTo>
                  <a:cubicBezTo>
                    <a:pt x="106532" y="93081"/>
                    <a:pt x="105929" y="92656"/>
                    <a:pt x="105728" y="92231"/>
                  </a:cubicBezTo>
                  <a:cubicBezTo>
                    <a:pt x="105527" y="91948"/>
                    <a:pt x="103919" y="91806"/>
                    <a:pt x="103115" y="91381"/>
                  </a:cubicBezTo>
                  <a:cubicBezTo>
                    <a:pt x="102110" y="90814"/>
                    <a:pt x="100703" y="89114"/>
                    <a:pt x="100301" y="88547"/>
                  </a:cubicBezTo>
                  <a:cubicBezTo>
                    <a:pt x="99899" y="87981"/>
                    <a:pt x="99296" y="85147"/>
                    <a:pt x="99296" y="84722"/>
                  </a:cubicBezTo>
                  <a:cubicBezTo>
                    <a:pt x="99296" y="84439"/>
                    <a:pt x="100703" y="82597"/>
                    <a:pt x="100904" y="82314"/>
                  </a:cubicBezTo>
                  <a:cubicBezTo>
                    <a:pt x="101306" y="82172"/>
                    <a:pt x="103718" y="80613"/>
                    <a:pt x="104321" y="80472"/>
                  </a:cubicBezTo>
                  <a:cubicBezTo>
                    <a:pt x="104924" y="80188"/>
                    <a:pt x="104321" y="79480"/>
                    <a:pt x="104120" y="78913"/>
                  </a:cubicBezTo>
                  <a:cubicBezTo>
                    <a:pt x="103718" y="78488"/>
                    <a:pt x="101909" y="77922"/>
                    <a:pt x="101105" y="77355"/>
                  </a:cubicBezTo>
                  <a:cubicBezTo>
                    <a:pt x="100301" y="76788"/>
                    <a:pt x="97889" y="77497"/>
                    <a:pt x="96683" y="77497"/>
                  </a:cubicBezTo>
                  <a:cubicBezTo>
                    <a:pt x="95477" y="77497"/>
                    <a:pt x="94673" y="76788"/>
                    <a:pt x="94271" y="76221"/>
                  </a:cubicBezTo>
                  <a:cubicBezTo>
                    <a:pt x="93869" y="75796"/>
                    <a:pt x="92462" y="75796"/>
                    <a:pt x="91658" y="75513"/>
                  </a:cubicBezTo>
                  <a:cubicBezTo>
                    <a:pt x="91055" y="75230"/>
                    <a:pt x="90854" y="74946"/>
                    <a:pt x="90452" y="74380"/>
                  </a:cubicBezTo>
                  <a:cubicBezTo>
                    <a:pt x="90050" y="73813"/>
                    <a:pt x="88442" y="72255"/>
                    <a:pt x="88442" y="72255"/>
                  </a:cubicBezTo>
                  <a:cubicBezTo>
                    <a:pt x="87839" y="71546"/>
                    <a:pt x="87839" y="70129"/>
                    <a:pt x="87839" y="69563"/>
                  </a:cubicBezTo>
                  <a:cubicBezTo>
                    <a:pt x="87638" y="68996"/>
                    <a:pt x="89849" y="68996"/>
                    <a:pt x="90452" y="68854"/>
                  </a:cubicBezTo>
                  <a:cubicBezTo>
                    <a:pt x="91256" y="68571"/>
                    <a:pt x="91055" y="68004"/>
                    <a:pt x="91256" y="67154"/>
                  </a:cubicBezTo>
                  <a:cubicBezTo>
                    <a:pt x="91658" y="66162"/>
                    <a:pt x="89849" y="65737"/>
                    <a:pt x="89045" y="65312"/>
                  </a:cubicBezTo>
                  <a:cubicBezTo>
                    <a:pt x="88241" y="64887"/>
                    <a:pt x="87035" y="65029"/>
                    <a:pt x="86432" y="65029"/>
                  </a:cubicBezTo>
                  <a:cubicBezTo>
                    <a:pt x="85829" y="65029"/>
                    <a:pt x="85427" y="65879"/>
                    <a:pt x="84824" y="66021"/>
                  </a:cubicBezTo>
                  <a:cubicBezTo>
                    <a:pt x="84221" y="66162"/>
                    <a:pt x="82412" y="65879"/>
                    <a:pt x="81809" y="65596"/>
                  </a:cubicBezTo>
                  <a:cubicBezTo>
                    <a:pt x="81206" y="65312"/>
                    <a:pt x="78793" y="64321"/>
                    <a:pt x="77989" y="63896"/>
                  </a:cubicBezTo>
                  <a:cubicBezTo>
                    <a:pt x="77386" y="63471"/>
                    <a:pt x="76984" y="62054"/>
                    <a:pt x="76984" y="61487"/>
                  </a:cubicBezTo>
                  <a:cubicBezTo>
                    <a:pt x="76783" y="60920"/>
                    <a:pt x="73969" y="59362"/>
                    <a:pt x="73366" y="59079"/>
                  </a:cubicBezTo>
                  <a:cubicBezTo>
                    <a:pt x="72763" y="58654"/>
                    <a:pt x="72964" y="59362"/>
                    <a:pt x="72562" y="59929"/>
                  </a:cubicBezTo>
                  <a:cubicBezTo>
                    <a:pt x="72160" y="60495"/>
                    <a:pt x="71557" y="60779"/>
                    <a:pt x="70954" y="61345"/>
                  </a:cubicBezTo>
                  <a:cubicBezTo>
                    <a:pt x="70351" y="61912"/>
                    <a:pt x="71155" y="62337"/>
                    <a:pt x="71557" y="62904"/>
                  </a:cubicBezTo>
                  <a:cubicBezTo>
                    <a:pt x="71959" y="63612"/>
                    <a:pt x="71356" y="63754"/>
                    <a:pt x="70954" y="63754"/>
                  </a:cubicBezTo>
                  <a:cubicBezTo>
                    <a:pt x="70552" y="63754"/>
                    <a:pt x="68140" y="63754"/>
                    <a:pt x="67537" y="63612"/>
                  </a:cubicBezTo>
                  <a:cubicBezTo>
                    <a:pt x="67135" y="63471"/>
                    <a:pt x="65929" y="62337"/>
                    <a:pt x="65326" y="61912"/>
                  </a:cubicBezTo>
                  <a:cubicBezTo>
                    <a:pt x="64723" y="61629"/>
                    <a:pt x="62512" y="61062"/>
                    <a:pt x="61909" y="60779"/>
                  </a:cubicBezTo>
                  <a:cubicBezTo>
                    <a:pt x="61306" y="60637"/>
                    <a:pt x="60703" y="56245"/>
                    <a:pt x="60703" y="55820"/>
                  </a:cubicBezTo>
                  <a:cubicBezTo>
                    <a:pt x="60703" y="55395"/>
                    <a:pt x="59296" y="54828"/>
                    <a:pt x="58693" y="54403"/>
                  </a:cubicBezTo>
                  <a:cubicBezTo>
                    <a:pt x="58291" y="54120"/>
                    <a:pt x="54271" y="51286"/>
                    <a:pt x="53668" y="50720"/>
                  </a:cubicBezTo>
                  <a:cubicBezTo>
                    <a:pt x="53065" y="50011"/>
                    <a:pt x="53065" y="49586"/>
                    <a:pt x="52462" y="49020"/>
                  </a:cubicBezTo>
                  <a:cubicBezTo>
                    <a:pt x="51859" y="48453"/>
                    <a:pt x="53467" y="47744"/>
                    <a:pt x="53668" y="47603"/>
                  </a:cubicBezTo>
                  <a:cubicBezTo>
                    <a:pt x="54070" y="47461"/>
                    <a:pt x="53869" y="46044"/>
                    <a:pt x="53869" y="45336"/>
                  </a:cubicBezTo>
                  <a:cubicBezTo>
                    <a:pt x="53869" y="44628"/>
                    <a:pt x="54472" y="45053"/>
                    <a:pt x="55477" y="44911"/>
                  </a:cubicBezTo>
                  <a:cubicBezTo>
                    <a:pt x="56482" y="44911"/>
                    <a:pt x="56884" y="44203"/>
                    <a:pt x="57688" y="43636"/>
                  </a:cubicBezTo>
                  <a:cubicBezTo>
                    <a:pt x="58492" y="42927"/>
                    <a:pt x="56482" y="42786"/>
                    <a:pt x="55678" y="42361"/>
                  </a:cubicBezTo>
                  <a:cubicBezTo>
                    <a:pt x="54874" y="41794"/>
                    <a:pt x="55276" y="40519"/>
                    <a:pt x="55276" y="39952"/>
                  </a:cubicBezTo>
                  <a:cubicBezTo>
                    <a:pt x="55075" y="39527"/>
                    <a:pt x="54673" y="38536"/>
                    <a:pt x="54472" y="37827"/>
                  </a:cubicBezTo>
                  <a:cubicBezTo>
                    <a:pt x="54271" y="37119"/>
                    <a:pt x="54673" y="37544"/>
                    <a:pt x="55276" y="37544"/>
                  </a:cubicBezTo>
                  <a:cubicBezTo>
                    <a:pt x="56080" y="37544"/>
                    <a:pt x="56080" y="37685"/>
                    <a:pt x="56683" y="38252"/>
                  </a:cubicBezTo>
                  <a:cubicBezTo>
                    <a:pt x="57085" y="38961"/>
                    <a:pt x="57688" y="38819"/>
                    <a:pt x="59296" y="39386"/>
                  </a:cubicBezTo>
                  <a:cubicBezTo>
                    <a:pt x="61105" y="39811"/>
                    <a:pt x="60301" y="38961"/>
                    <a:pt x="60301" y="38536"/>
                  </a:cubicBezTo>
                  <a:cubicBezTo>
                    <a:pt x="60301" y="37969"/>
                    <a:pt x="58894" y="36552"/>
                    <a:pt x="58693" y="36269"/>
                  </a:cubicBezTo>
                  <a:cubicBezTo>
                    <a:pt x="58291" y="36127"/>
                    <a:pt x="57889" y="35135"/>
                    <a:pt x="57889" y="34710"/>
                  </a:cubicBezTo>
                  <a:cubicBezTo>
                    <a:pt x="57889" y="34144"/>
                    <a:pt x="58894" y="32018"/>
                    <a:pt x="59095" y="31452"/>
                  </a:cubicBezTo>
                  <a:cubicBezTo>
                    <a:pt x="59296" y="30885"/>
                    <a:pt x="58291" y="30743"/>
                    <a:pt x="57688" y="30177"/>
                  </a:cubicBezTo>
                  <a:cubicBezTo>
                    <a:pt x="57085" y="29610"/>
                    <a:pt x="60100" y="27626"/>
                    <a:pt x="60301" y="27201"/>
                  </a:cubicBezTo>
                  <a:cubicBezTo>
                    <a:pt x="60703" y="26918"/>
                    <a:pt x="62311" y="24793"/>
                    <a:pt x="62512" y="24510"/>
                  </a:cubicBezTo>
                  <a:cubicBezTo>
                    <a:pt x="62713" y="24226"/>
                    <a:pt x="65125" y="23801"/>
                    <a:pt x="65728" y="23659"/>
                  </a:cubicBezTo>
                  <a:cubicBezTo>
                    <a:pt x="66532" y="23518"/>
                    <a:pt x="67738" y="23943"/>
                    <a:pt x="68140" y="24226"/>
                  </a:cubicBezTo>
                  <a:cubicBezTo>
                    <a:pt x="68743" y="24368"/>
                    <a:pt x="69949" y="23518"/>
                    <a:pt x="70150" y="23093"/>
                  </a:cubicBezTo>
                  <a:cubicBezTo>
                    <a:pt x="70351" y="22809"/>
                    <a:pt x="69748" y="22101"/>
                    <a:pt x="69346" y="21818"/>
                  </a:cubicBezTo>
                  <a:cubicBezTo>
                    <a:pt x="68944" y="21393"/>
                    <a:pt x="67135" y="19834"/>
                    <a:pt x="66733" y="19409"/>
                  </a:cubicBezTo>
                  <a:cubicBezTo>
                    <a:pt x="66532" y="18984"/>
                    <a:pt x="65728" y="16292"/>
                    <a:pt x="65527" y="15726"/>
                  </a:cubicBezTo>
                  <a:cubicBezTo>
                    <a:pt x="65527" y="15159"/>
                    <a:pt x="65326" y="13459"/>
                    <a:pt x="65326" y="13034"/>
                  </a:cubicBezTo>
                  <a:cubicBezTo>
                    <a:pt x="65125" y="12750"/>
                    <a:pt x="63718" y="11759"/>
                    <a:pt x="63115" y="11334"/>
                  </a:cubicBezTo>
                  <a:cubicBezTo>
                    <a:pt x="62512" y="10909"/>
                    <a:pt x="62512" y="10767"/>
                    <a:pt x="62110" y="9917"/>
                  </a:cubicBezTo>
                  <a:cubicBezTo>
                    <a:pt x="61708" y="8925"/>
                    <a:pt x="61105" y="7083"/>
                    <a:pt x="60904" y="6517"/>
                  </a:cubicBezTo>
                  <a:cubicBezTo>
                    <a:pt x="60703" y="6092"/>
                    <a:pt x="60904" y="5383"/>
                    <a:pt x="60301" y="4108"/>
                  </a:cubicBezTo>
                  <a:cubicBezTo>
                    <a:pt x="59698" y="3258"/>
                    <a:pt x="59095" y="1275"/>
                    <a:pt x="58693" y="0"/>
                  </a:cubicBezTo>
                  <a:cubicBezTo>
                    <a:pt x="58291" y="566"/>
                    <a:pt x="57487" y="1275"/>
                    <a:pt x="57085" y="1416"/>
                  </a:cubicBezTo>
                  <a:cubicBezTo>
                    <a:pt x="56683" y="1558"/>
                    <a:pt x="55276" y="1558"/>
                    <a:pt x="54673" y="1558"/>
                  </a:cubicBezTo>
                  <a:cubicBezTo>
                    <a:pt x="54472" y="1558"/>
                    <a:pt x="54271" y="1558"/>
                    <a:pt x="54271" y="1558"/>
                  </a:cubicBezTo>
                  <a:cubicBezTo>
                    <a:pt x="53668" y="1133"/>
                    <a:pt x="52864" y="566"/>
                    <a:pt x="52663" y="425"/>
                  </a:cubicBezTo>
                  <a:cubicBezTo>
                    <a:pt x="52261" y="566"/>
                    <a:pt x="51256" y="708"/>
                    <a:pt x="51055" y="850"/>
                  </a:cubicBezTo>
                  <a:cubicBezTo>
                    <a:pt x="50854" y="1133"/>
                    <a:pt x="49849" y="3966"/>
                    <a:pt x="49648" y="4817"/>
                  </a:cubicBezTo>
                  <a:cubicBezTo>
                    <a:pt x="49447" y="5383"/>
                    <a:pt x="48844" y="6092"/>
                    <a:pt x="48442" y="6658"/>
                  </a:cubicBezTo>
                  <a:cubicBezTo>
                    <a:pt x="48241" y="6942"/>
                    <a:pt x="48040" y="7083"/>
                    <a:pt x="47839" y="7225"/>
                  </a:cubicBezTo>
                  <a:cubicBezTo>
                    <a:pt x="47839" y="7367"/>
                    <a:pt x="47638" y="7508"/>
                    <a:pt x="47437" y="7650"/>
                  </a:cubicBezTo>
                  <a:cubicBezTo>
                    <a:pt x="47437" y="7650"/>
                    <a:pt x="47236" y="7792"/>
                    <a:pt x="47236" y="7933"/>
                  </a:cubicBezTo>
                  <a:cubicBezTo>
                    <a:pt x="47437" y="8075"/>
                    <a:pt x="48241" y="9067"/>
                    <a:pt x="48040" y="9492"/>
                  </a:cubicBezTo>
                  <a:cubicBezTo>
                    <a:pt x="48040" y="9634"/>
                    <a:pt x="45829" y="14592"/>
                    <a:pt x="45226" y="15017"/>
                  </a:cubicBezTo>
                  <a:cubicBezTo>
                    <a:pt x="45025" y="15017"/>
                    <a:pt x="44824" y="15159"/>
                    <a:pt x="44824" y="15301"/>
                  </a:cubicBezTo>
                  <a:cubicBezTo>
                    <a:pt x="44020" y="15726"/>
                    <a:pt x="43216" y="16151"/>
                    <a:pt x="42814" y="16151"/>
                  </a:cubicBezTo>
                  <a:cubicBezTo>
                    <a:pt x="42613" y="16151"/>
                    <a:pt x="42412" y="16009"/>
                    <a:pt x="42211" y="16009"/>
                  </a:cubicBezTo>
                  <a:cubicBezTo>
                    <a:pt x="42211" y="15867"/>
                    <a:pt x="42010" y="15726"/>
                    <a:pt x="42010" y="15584"/>
                  </a:cubicBezTo>
                  <a:cubicBezTo>
                    <a:pt x="41809" y="15442"/>
                    <a:pt x="41407" y="15017"/>
                    <a:pt x="41206" y="15017"/>
                  </a:cubicBezTo>
                  <a:cubicBezTo>
                    <a:pt x="40804" y="15017"/>
                    <a:pt x="39798" y="15159"/>
                    <a:pt x="39396" y="15301"/>
                  </a:cubicBezTo>
                  <a:cubicBezTo>
                    <a:pt x="37386" y="17001"/>
                    <a:pt x="36984" y="16859"/>
                    <a:pt x="36783" y="16859"/>
                  </a:cubicBezTo>
                  <a:cubicBezTo>
                    <a:pt x="36381" y="16717"/>
                    <a:pt x="35175" y="16859"/>
                    <a:pt x="34974" y="16859"/>
                  </a:cubicBezTo>
                  <a:cubicBezTo>
                    <a:pt x="34773" y="17001"/>
                    <a:pt x="33567" y="18276"/>
                    <a:pt x="32763" y="18984"/>
                  </a:cubicBezTo>
                  <a:cubicBezTo>
                    <a:pt x="32562" y="18984"/>
                    <a:pt x="32361" y="19126"/>
                    <a:pt x="32160" y="18984"/>
                  </a:cubicBezTo>
                  <a:cubicBezTo>
                    <a:pt x="31959" y="18842"/>
                    <a:pt x="30552" y="18134"/>
                    <a:pt x="30351" y="17567"/>
                  </a:cubicBezTo>
                  <a:cubicBezTo>
                    <a:pt x="30351" y="17426"/>
                    <a:pt x="30351" y="17426"/>
                    <a:pt x="30351" y="17426"/>
                  </a:cubicBezTo>
                  <a:cubicBezTo>
                    <a:pt x="30150" y="17001"/>
                    <a:pt x="29748" y="16292"/>
                    <a:pt x="29547" y="16009"/>
                  </a:cubicBezTo>
                  <a:cubicBezTo>
                    <a:pt x="29346" y="15867"/>
                    <a:pt x="29346" y="15726"/>
                    <a:pt x="29145" y="15584"/>
                  </a:cubicBezTo>
                  <a:cubicBezTo>
                    <a:pt x="28743" y="15301"/>
                    <a:pt x="28341" y="14876"/>
                    <a:pt x="28341" y="14451"/>
                  </a:cubicBezTo>
                  <a:cubicBezTo>
                    <a:pt x="28140" y="14309"/>
                    <a:pt x="28140" y="14025"/>
                    <a:pt x="28140" y="13742"/>
                  </a:cubicBezTo>
                  <a:cubicBezTo>
                    <a:pt x="27939" y="13459"/>
                    <a:pt x="27939" y="12750"/>
                    <a:pt x="27738" y="12609"/>
                  </a:cubicBezTo>
                  <a:cubicBezTo>
                    <a:pt x="27537" y="12609"/>
                    <a:pt x="27336" y="12467"/>
                    <a:pt x="27135" y="12467"/>
                  </a:cubicBezTo>
                  <a:cubicBezTo>
                    <a:pt x="26733" y="12325"/>
                    <a:pt x="26331" y="12325"/>
                    <a:pt x="25929" y="12325"/>
                  </a:cubicBezTo>
                  <a:cubicBezTo>
                    <a:pt x="25125" y="12609"/>
                    <a:pt x="23316" y="13459"/>
                    <a:pt x="22914" y="13742"/>
                  </a:cubicBezTo>
                  <a:cubicBezTo>
                    <a:pt x="22311" y="14167"/>
                    <a:pt x="21909" y="14592"/>
                    <a:pt x="21105" y="14167"/>
                  </a:cubicBezTo>
                  <a:cubicBezTo>
                    <a:pt x="20904" y="14025"/>
                    <a:pt x="20502" y="13884"/>
                    <a:pt x="19899" y="13884"/>
                  </a:cubicBezTo>
                  <a:cubicBezTo>
                    <a:pt x="18090" y="13884"/>
                    <a:pt x="17487" y="14025"/>
                    <a:pt x="17487" y="14167"/>
                  </a:cubicBezTo>
                  <a:cubicBezTo>
                    <a:pt x="17487" y="14309"/>
                    <a:pt x="17487" y="14309"/>
                    <a:pt x="17487" y="14451"/>
                  </a:cubicBezTo>
                  <a:cubicBezTo>
                    <a:pt x="17688" y="14734"/>
                    <a:pt x="17889" y="15159"/>
                    <a:pt x="17688" y="15442"/>
                  </a:cubicBezTo>
                  <a:cubicBezTo>
                    <a:pt x="17286" y="16151"/>
                    <a:pt x="16884" y="16859"/>
                    <a:pt x="16281" y="16717"/>
                  </a:cubicBezTo>
                  <a:cubicBezTo>
                    <a:pt x="15879" y="16717"/>
                    <a:pt x="15276" y="16576"/>
                    <a:pt x="14673" y="16717"/>
                  </a:cubicBezTo>
                  <a:cubicBezTo>
                    <a:pt x="14070" y="16717"/>
                    <a:pt x="12462" y="17142"/>
                    <a:pt x="12060" y="17284"/>
                  </a:cubicBezTo>
                  <a:cubicBezTo>
                    <a:pt x="12060" y="17426"/>
                    <a:pt x="12060" y="17567"/>
                    <a:pt x="12060" y="17709"/>
                  </a:cubicBezTo>
                  <a:cubicBezTo>
                    <a:pt x="12060" y="18134"/>
                    <a:pt x="12060" y="18701"/>
                    <a:pt x="11658" y="18984"/>
                  </a:cubicBezTo>
                  <a:cubicBezTo>
                    <a:pt x="11457" y="18984"/>
                    <a:pt x="11256" y="18984"/>
                    <a:pt x="11055" y="19126"/>
                  </a:cubicBezTo>
                  <a:cubicBezTo>
                    <a:pt x="10854" y="19268"/>
                    <a:pt x="10050" y="19551"/>
                    <a:pt x="10050" y="19693"/>
                  </a:cubicBezTo>
                  <a:cubicBezTo>
                    <a:pt x="9447" y="21676"/>
                    <a:pt x="9045" y="21676"/>
                    <a:pt x="8844" y="21676"/>
                  </a:cubicBezTo>
                  <a:cubicBezTo>
                    <a:pt x="8643" y="21818"/>
                    <a:pt x="8241" y="21818"/>
                    <a:pt x="7839" y="21818"/>
                  </a:cubicBezTo>
                  <a:cubicBezTo>
                    <a:pt x="7437" y="21676"/>
                    <a:pt x="6834" y="21676"/>
                    <a:pt x="6633" y="21818"/>
                  </a:cubicBezTo>
                  <a:cubicBezTo>
                    <a:pt x="6633" y="21818"/>
                    <a:pt x="6432" y="21818"/>
                    <a:pt x="6231" y="21959"/>
                  </a:cubicBezTo>
                  <a:cubicBezTo>
                    <a:pt x="5025" y="22384"/>
                    <a:pt x="4623" y="22668"/>
                    <a:pt x="4422" y="22809"/>
                  </a:cubicBezTo>
                  <a:cubicBezTo>
                    <a:pt x="4422" y="22809"/>
                    <a:pt x="4422" y="22809"/>
                    <a:pt x="4422" y="22809"/>
                  </a:cubicBezTo>
                  <a:cubicBezTo>
                    <a:pt x="4824" y="23093"/>
                    <a:pt x="5427" y="23518"/>
                    <a:pt x="4824" y="24085"/>
                  </a:cubicBezTo>
                  <a:cubicBezTo>
                    <a:pt x="4422" y="24368"/>
                    <a:pt x="2814" y="25360"/>
                    <a:pt x="2412" y="25643"/>
                  </a:cubicBezTo>
                  <a:cubicBezTo>
                    <a:pt x="2010" y="25643"/>
                    <a:pt x="2010" y="25643"/>
                    <a:pt x="2010" y="25643"/>
                  </a:cubicBezTo>
                  <a:cubicBezTo>
                    <a:pt x="1608" y="25785"/>
                    <a:pt x="1407" y="25926"/>
                    <a:pt x="1005" y="26351"/>
                  </a:cubicBezTo>
                  <a:cubicBezTo>
                    <a:pt x="603" y="26776"/>
                    <a:pt x="201" y="27768"/>
                    <a:pt x="201" y="27910"/>
                  </a:cubicBezTo>
                  <a:cubicBezTo>
                    <a:pt x="201" y="28051"/>
                    <a:pt x="201" y="28193"/>
                    <a:pt x="201" y="28335"/>
                  </a:cubicBezTo>
                  <a:cubicBezTo>
                    <a:pt x="201" y="28476"/>
                    <a:pt x="0" y="28760"/>
                    <a:pt x="201" y="28902"/>
                  </a:cubicBezTo>
                  <a:cubicBezTo>
                    <a:pt x="201" y="29043"/>
                    <a:pt x="804" y="29468"/>
                    <a:pt x="1206" y="29752"/>
                  </a:cubicBezTo>
                  <a:cubicBezTo>
                    <a:pt x="1608" y="29752"/>
                    <a:pt x="1809" y="29752"/>
                    <a:pt x="2010" y="29752"/>
                  </a:cubicBezTo>
                  <a:cubicBezTo>
                    <a:pt x="2211" y="29752"/>
                    <a:pt x="2211" y="29752"/>
                    <a:pt x="2211" y="29752"/>
                  </a:cubicBezTo>
                  <a:cubicBezTo>
                    <a:pt x="3618" y="29752"/>
                    <a:pt x="4422" y="29752"/>
                    <a:pt x="4824" y="30035"/>
                  </a:cubicBezTo>
                  <a:cubicBezTo>
                    <a:pt x="4824" y="30035"/>
                    <a:pt x="5025" y="30177"/>
                    <a:pt x="5025" y="30318"/>
                  </a:cubicBezTo>
                  <a:cubicBezTo>
                    <a:pt x="5025" y="30743"/>
                    <a:pt x="5025" y="31027"/>
                    <a:pt x="5226" y="31168"/>
                  </a:cubicBezTo>
                  <a:cubicBezTo>
                    <a:pt x="5829" y="31310"/>
                    <a:pt x="6030" y="31593"/>
                    <a:pt x="5628" y="32302"/>
                  </a:cubicBezTo>
                  <a:cubicBezTo>
                    <a:pt x="5628" y="32443"/>
                    <a:pt x="5628" y="32443"/>
                    <a:pt x="5427" y="32585"/>
                  </a:cubicBezTo>
                  <a:cubicBezTo>
                    <a:pt x="5226" y="33010"/>
                    <a:pt x="5226" y="33152"/>
                    <a:pt x="5226" y="33293"/>
                  </a:cubicBezTo>
                  <a:cubicBezTo>
                    <a:pt x="5427" y="33293"/>
                    <a:pt x="6030" y="33577"/>
                    <a:pt x="6633" y="33577"/>
                  </a:cubicBezTo>
                  <a:cubicBezTo>
                    <a:pt x="8040" y="34002"/>
                    <a:pt x="8844" y="34144"/>
                    <a:pt x="8844" y="34569"/>
                  </a:cubicBezTo>
                  <a:cubicBezTo>
                    <a:pt x="8844" y="34569"/>
                    <a:pt x="8643" y="34710"/>
                    <a:pt x="8643" y="34852"/>
                  </a:cubicBezTo>
                  <a:cubicBezTo>
                    <a:pt x="8643" y="35277"/>
                    <a:pt x="8643" y="35419"/>
                    <a:pt x="9045" y="35419"/>
                  </a:cubicBezTo>
                  <a:cubicBezTo>
                    <a:pt x="9447" y="35419"/>
                    <a:pt x="10050" y="35419"/>
                    <a:pt x="10653" y="35277"/>
                  </a:cubicBezTo>
                  <a:cubicBezTo>
                    <a:pt x="11658" y="35135"/>
                    <a:pt x="12060" y="35135"/>
                    <a:pt x="12261" y="35277"/>
                  </a:cubicBezTo>
                  <a:cubicBezTo>
                    <a:pt x="12462" y="35419"/>
                    <a:pt x="12462" y="35419"/>
                    <a:pt x="12462" y="35560"/>
                  </a:cubicBezTo>
                  <a:cubicBezTo>
                    <a:pt x="12462" y="35844"/>
                    <a:pt x="13065" y="36977"/>
                    <a:pt x="13467" y="37119"/>
                  </a:cubicBezTo>
                  <a:cubicBezTo>
                    <a:pt x="13668" y="37119"/>
                    <a:pt x="13668" y="37119"/>
                    <a:pt x="13668" y="37119"/>
                  </a:cubicBezTo>
                  <a:cubicBezTo>
                    <a:pt x="14874" y="37260"/>
                    <a:pt x="15678" y="37402"/>
                    <a:pt x="15678" y="37827"/>
                  </a:cubicBezTo>
                  <a:cubicBezTo>
                    <a:pt x="15678" y="38110"/>
                    <a:pt x="15678" y="38819"/>
                    <a:pt x="15879" y="39102"/>
                  </a:cubicBezTo>
                  <a:cubicBezTo>
                    <a:pt x="16080" y="39527"/>
                    <a:pt x="16884" y="40236"/>
                    <a:pt x="17286" y="40236"/>
                  </a:cubicBezTo>
                  <a:cubicBezTo>
                    <a:pt x="17487" y="40236"/>
                    <a:pt x="18090" y="40094"/>
                    <a:pt x="18492" y="40094"/>
                  </a:cubicBezTo>
                  <a:cubicBezTo>
                    <a:pt x="19095" y="39952"/>
                    <a:pt x="19497" y="39811"/>
                    <a:pt x="19899" y="39811"/>
                  </a:cubicBezTo>
                  <a:cubicBezTo>
                    <a:pt x="20100" y="39811"/>
                    <a:pt x="20100" y="39811"/>
                    <a:pt x="20100" y="39811"/>
                  </a:cubicBezTo>
                  <a:cubicBezTo>
                    <a:pt x="21105" y="39811"/>
                    <a:pt x="21909" y="39811"/>
                    <a:pt x="22311" y="40094"/>
                  </a:cubicBezTo>
                  <a:cubicBezTo>
                    <a:pt x="22311" y="40094"/>
                    <a:pt x="22512" y="40236"/>
                    <a:pt x="22512" y="40377"/>
                  </a:cubicBezTo>
                  <a:cubicBezTo>
                    <a:pt x="22311" y="40519"/>
                    <a:pt x="22311" y="40519"/>
                    <a:pt x="22311" y="40519"/>
                  </a:cubicBezTo>
                  <a:cubicBezTo>
                    <a:pt x="22311" y="40661"/>
                    <a:pt x="22311" y="40802"/>
                    <a:pt x="22512" y="40802"/>
                  </a:cubicBezTo>
                  <a:cubicBezTo>
                    <a:pt x="22713" y="40944"/>
                    <a:pt x="22914" y="40944"/>
                    <a:pt x="22914" y="40944"/>
                  </a:cubicBezTo>
                  <a:cubicBezTo>
                    <a:pt x="23316" y="40944"/>
                    <a:pt x="23517" y="40944"/>
                    <a:pt x="23919" y="41086"/>
                  </a:cubicBezTo>
                  <a:cubicBezTo>
                    <a:pt x="23919" y="41086"/>
                    <a:pt x="25326" y="41794"/>
                    <a:pt x="25326" y="42361"/>
                  </a:cubicBezTo>
                  <a:cubicBezTo>
                    <a:pt x="25326" y="42502"/>
                    <a:pt x="25125" y="42502"/>
                    <a:pt x="25125" y="42644"/>
                  </a:cubicBezTo>
                  <a:cubicBezTo>
                    <a:pt x="24723" y="42786"/>
                    <a:pt x="24321" y="43778"/>
                    <a:pt x="24522" y="44061"/>
                  </a:cubicBezTo>
                  <a:cubicBezTo>
                    <a:pt x="24723" y="44061"/>
                    <a:pt x="25125" y="44061"/>
                    <a:pt x="25326" y="43919"/>
                  </a:cubicBezTo>
                  <a:cubicBezTo>
                    <a:pt x="25527" y="43778"/>
                    <a:pt x="25527" y="43778"/>
                    <a:pt x="25728" y="43636"/>
                  </a:cubicBezTo>
                  <a:cubicBezTo>
                    <a:pt x="25929" y="43494"/>
                    <a:pt x="26130" y="43211"/>
                    <a:pt x="26331" y="43211"/>
                  </a:cubicBezTo>
                  <a:cubicBezTo>
                    <a:pt x="26532" y="43211"/>
                    <a:pt x="26733" y="43211"/>
                    <a:pt x="26934" y="43353"/>
                  </a:cubicBezTo>
                  <a:cubicBezTo>
                    <a:pt x="26934" y="43353"/>
                    <a:pt x="26934" y="43353"/>
                    <a:pt x="27135" y="43494"/>
                  </a:cubicBezTo>
                  <a:cubicBezTo>
                    <a:pt x="27537" y="43636"/>
                    <a:pt x="27738" y="43778"/>
                    <a:pt x="27537" y="44344"/>
                  </a:cubicBezTo>
                  <a:cubicBezTo>
                    <a:pt x="27537" y="44344"/>
                    <a:pt x="27537" y="44486"/>
                    <a:pt x="27537" y="44628"/>
                  </a:cubicBezTo>
                  <a:cubicBezTo>
                    <a:pt x="27537" y="44769"/>
                    <a:pt x="27336" y="45053"/>
                    <a:pt x="27537" y="45053"/>
                  </a:cubicBezTo>
                  <a:cubicBezTo>
                    <a:pt x="27537" y="45053"/>
                    <a:pt x="27537" y="45053"/>
                    <a:pt x="27738" y="45053"/>
                  </a:cubicBezTo>
                  <a:cubicBezTo>
                    <a:pt x="28542" y="45194"/>
                    <a:pt x="30753" y="45478"/>
                    <a:pt x="30753" y="45478"/>
                  </a:cubicBezTo>
                  <a:cubicBezTo>
                    <a:pt x="30753" y="45478"/>
                    <a:pt x="30753" y="45478"/>
                    <a:pt x="30753" y="45478"/>
                  </a:cubicBezTo>
                  <a:cubicBezTo>
                    <a:pt x="30753" y="45194"/>
                    <a:pt x="30954" y="44911"/>
                    <a:pt x="31155" y="44486"/>
                  </a:cubicBezTo>
                  <a:cubicBezTo>
                    <a:pt x="31557" y="43778"/>
                    <a:pt x="32160" y="44061"/>
                    <a:pt x="33165" y="43636"/>
                  </a:cubicBezTo>
                  <a:cubicBezTo>
                    <a:pt x="34170" y="43211"/>
                    <a:pt x="30753" y="42786"/>
                    <a:pt x="29346" y="42502"/>
                  </a:cubicBezTo>
                  <a:cubicBezTo>
                    <a:pt x="27939" y="42219"/>
                    <a:pt x="25929" y="39244"/>
                    <a:pt x="24924" y="38819"/>
                  </a:cubicBezTo>
                  <a:cubicBezTo>
                    <a:pt x="23919" y="38394"/>
                    <a:pt x="23919" y="37685"/>
                    <a:pt x="24321" y="37260"/>
                  </a:cubicBezTo>
                  <a:cubicBezTo>
                    <a:pt x="24723" y="36835"/>
                    <a:pt x="24723" y="35277"/>
                    <a:pt x="25125" y="34569"/>
                  </a:cubicBezTo>
                  <a:cubicBezTo>
                    <a:pt x="25527" y="33860"/>
                    <a:pt x="28341" y="32585"/>
                    <a:pt x="29748" y="32302"/>
                  </a:cubicBezTo>
                  <a:cubicBezTo>
                    <a:pt x="31155" y="32018"/>
                    <a:pt x="28542" y="34569"/>
                    <a:pt x="28542" y="34569"/>
                  </a:cubicBezTo>
                  <a:cubicBezTo>
                    <a:pt x="28542" y="34569"/>
                    <a:pt x="28140" y="36127"/>
                    <a:pt x="28140" y="36694"/>
                  </a:cubicBezTo>
                  <a:cubicBezTo>
                    <a:pt x="28140" y="36694"/>
                    <a:pt x="27939" y="36977"/>
                    <a:pt x="28944" y="37260"/>
                  </a:cubicBezTo>
                  <a:cubicBezTo>
                    <a:pt x="29748" y="37544"/>
                    <a:pt x="31959" y="38394"/>
                    <a:pt x="32361" y="38819"/>
                  </a:cubicBezTo>
                  <a:cubicBezTo>
                    <a:pt x="32562" y="39386"/>
                    <a:pt x="34773" y="41227"/>
                    <a:pt x="35577" y="41369"/>
                  </a:cubicBezTo>
                  <a:cubicBezTo>
                    <a:pt x="36582" y="41511"/>
                    <a:pt x="38190" y="41086"/>
                    <a:pt x="38391" y="41511"/>
                  </a:cubicBezTo>
                  <a:cubicBezTo>
                    <a:pt x="38793" y="42077"/>
                    <a:pt x="38793" y="43069"/>
                    <a:pt x="39798" y="43636"/>
                  </a:cubicBezTo>
                  <a:cubicBezTo>
                    <a:pt x="40804" y="44061"/>
                    <a:pt x="41608" y="44628"/>
                    <a:pt x="41809" y="45053"/>
                  </a:cubicBezTo>
                  <a:cubicBezTo>
                    <a:pt x="41809" y="45336"/>
                    <a:pt x="42211" y="48453"/>
                    <a:pt x="41809" y="48878"/>
                  </a:cubicBezTo>
                  <a:cubicBezTo>
                    <a:pt x="41407" y="49445"/>
                    <a:pt x="40804" y="50011"/>
                    <a:pt x="40804" y="50295"/>
                  </a:cubicBezTo>
                  <a:cubicBezTo>
                    <a:pt x="40804" y="50720"/>
                    <a:pt x="40804" y="52278"/>
                    <a:pt x="41206" y="52845"/>
                  </a:cubicBezTo>
                  <a:cubicBezTo>
                    <a:pt x="41608" y="53270"/>
                    <a:pt x="42814" y="53553"/>
                    <a:pt x="43015" y="54120"/>
                  </a:cubicBezTo>
                  <a:cubicBezTo>
                    <a:pt x="43216" y="54687"/>
                    <a:pt x="45025" y="58229"/>
                    <a:pt x="45427" y="58937"/>
                  </a:cubicBezTo>
                  <a:cubicBezTo>
                    <a:pt x="45829" y="59645"/>
                    <a:pt x="48040" y="64462"/>
                    <a:pt x="48040" y="65171"/>
                  </a:cubicBezTo>
                  <a:cubicBezTo>
                    <a:pt x="48241" y="65879"/>
                    <a:pt x="48241" y="65879"/>
                    <a:pt x="48643" y="66446"/>
                  </a:cubicBezTo>
                  <a:cubicBezTo>
                    <a:pt x="49246" y="67012"/>
                    <a:pt x="50854" y="68571"/>
                    <a:pt x="50854" y="68854"/>
                  </a:cubicBezTo>
                  <a:cubicBezTo>
                    <a:pt x="51055" y="69279"/>
                    <a:pt x="52462" y="71971"/>
                    <a:pt x="52663" y="72680"/>
                  </a:cubicBezTo>
                  <a:cubicBezTo>
                    <a:pt x="52864" y="73388"/>
                    <a:pt x="53065" y="74380"/>
                    <a:pt x="53467" y="74946"/>
                  </a:cubicBezTo>
                  <a:cubicBezTo>
                    <a:pt x="53668" y="75655"/>
                    <a:pt x="55276" y="78630"/>
                    <a:pt x="54673" y="78913"/>
                  </a:cubicBezTo>
                  <a:cubicBezTo>
                    <a:pt x="54070" y="79055"/>
                    <a:pt x="52060" y="80047"/>
                    <a:pt x="52663" y="80472"/>
                  </a:cubicBezTo>
                  <a:cubicBezTo>
                    <a:pt x="53266" y="80897"/>
                    <a:pt x="53869" y="81889"/>
                    <a:pt x="53668" y="82314"/>
                  </a:cubicBezTo>
                  <a:cubicBezTo>
                    <a:pt x="53467" y="82880"/>
                    <a:pt x="53266" y="83164"/>
                    <a:pt x="52864" y="83305"/>
                  </a:cubicBezTo>
                  <a:cubicBezTo>
                    <a:pt x="52462" y="83589"/>
                    <a:pt x="51658" y="84014"/>
                    <a:pt x="51658" y="84439"/>
                  </a:cubicBezTo>
                  <a:cubicBezTo>
                    <a:pt x="51658" y="84864"/>
                    <a:pt x="51658" y="85289"/>
                    <a:pt x="52462" y="85430"/>
                  </a:cubicBezTo>
                  <a:cubicBezTo>
                    <a:pt x="53065" y="85572"/>
                    <a:pt x="54070" y="85430"/>
                    <a:pt x="54472" y="85855"/>
                  </a:cubicBezTo>
                  <a:cubicBezTo>
                    <a:pt x="54673" y="86280"/>
                    <a:pt x="56683" y="87697"/>
                    <a:pt x="56683" y="88122"/>
                  </a:cubicBezTo>
                  <a:cubicBezTo>
                    <a:pt x="56683" y="88547"/>
                    <a:pt x="56683" y="89822"/>
                    <a:pt x="57085" y="90247"/>
                  </a:cubicBezTo>
                  <a:cubicBezTo>
                    <a:pt x="57487" y="90531"/>
                    <a:pt x="59095" y="91239"/>
                    <a:pt x="59095" y="91664"/>
                  </a:cubicBezTo>
                  <a:cubicBezTo>
                    <a:pt x="58894" y="92089"/>
                    <a:pt x="58693" y="93506"/>
                    <a:pt x="59296" y="94214"/>
                  </a:cubicBezTo>
                  <a:cubicBezTo>
                    <a:pt x="59899" y="94923"/>
                    <a:pt x="64321" y="97756"/>
                    <a:pt x="64924" y="98040"/>
                  </a:cubicBezTo>
                  <a:cubicBezTo>
                    <a:pt x="65728" y="98465"/>
                    <a:pt x="66130" y="98323"/>
                    <a:pt x="66130" y="99031"/>
                  </a:cubicBezTo>
                  <a:cubicBezTo>
                    <a:pt x="66331" y="99598"/>
                    <a:pt x="67336" y="101015"/>
                    <a:pt x="67939" y="101298"/>
                  </a:cubicBezTo>
                  <a:cubicBezTo>
                    <a:pt x="68743" y="101723"/>
                    <a:pt x="75175" y="104557"/>
                    <a:pt x="75778" y="104698"/>
                  </a:cubicBezTo>
                  <a:cubicBezTo>
                    <a:pt x="76381" y="104840"/>
                    <a:pt x="81206" y="105832"/>
                    <a:pt x="82412" y="105974"/>
                  </a:cubicBezTo>
                  <a:cubicBezTo>
                    <a:pt x="83417" y="106115"/>
                    <a:pt x="85025" y="106257"/>
                    <a:pt x="85628" y="106682"/>
                  </a:cubicBezTo>
                  <a:cubicBezTo>
                    <a:pt x="86432" y="106965"/>
                    <a:pt x="88241" y="108240"/>
                    <a:pt x="88643" y="108807"/>
                  </a:cubicBezTo>
                  <a:cubicBezTo>
                    <a:pt x="89045" y="109232"/>
                    <a:pt x="91055" y="109799"/>
                    <a:pt x="91457" y="109940"/>
                  </a:cubicBezTo>
                  <a:cubicBezTo>
                    <a:pt x="91859" y="110082"/>
                    <a:pt x="99698" y="112916"/>
                    <a:pt x="100301" y="113057"/>
                  </a:cubicBezTo>
                  <a:cubicBezTo>
                    <a:pt x="101105" y="113341"/>
                    <a:pt x="102914" y="113482"/>
                    <a:pt x="103316" y="113907"/>
                  </a:cubicBezTo>
                  <a:cubicBezTo>
                    <a:pt x="103919" y="114474"/>
                    <a:pt x="105929" y="115466"/>
                    <a:pt x="105929" y="115466"/>
                  </a:cubicBezTo>
                  <a:cubicBezTo>
                    <a:pt x="106331" y="115749"/>
                    <a:pt x="107336" y="115891"/>
                    <a:pt x="108140" y="115891"/>
                  </a:cubicBezTo>
                  <a:cubicBezTo>
                    <a:pt x="108944" y="116033"/>
                    <a:pt x="109346" y="116033"/>
                    <a:pt x="109949" y="116316"/>
                  </a:cubicBezTo>
                  <a:cubicBezTo>
                    <a:pt x="110351" y="116599"/>
                    <a:pt x="112361" y="117449"/>
                    <a:pt x="113366" y="118016"/>
                  </a:cubicBezTo>
                  <a:cubicBezTo>
                    <a:pt x="114170" y="118583"/>
                    <a:pt x="116381" y="118299"/>
                    <a:pt x="117185" y="118158"/>
                  </a:cubicBezTo>
                  <a:cubicBezTo>
                    <a:pt x="117989" y="118158"/>
                    <a:pt x="118391" y="118583"/>
                    <a:pt x="118793" y="119291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5" name="Shape 6939">
              <a:extLst>
                <a:ext uri="{FF2B5EF4-FFF2-40B4-BE49-F238E27FC236}">
                  <a16:creationId xmlns:a16="http://schemas.microsoft.com/office/drawing/2014/main" id="{8BD21B49-D7D0-47C8-BC01-92984EE9D1CA}"/>
                </a:ext>
              </a:extLst>
            </p:cNvPr>
            <p:cNvSpPr/>
            <p:nvPr/>
          </p:nvSpPr>
          <p:spPr>
            <a:xfrm>
              <a:off x="6403040" y="3935579"/>
              <a:ext cx="1145124" cy="74466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8381" y="110050"/>
                  </a:moveTo>
                  <a:cubicBezTo>
                    <a:pt x="118381" y="109748"/>
                    <a:pt x="118583" y="109145"/>
                    <a:pt x="118785" y="108542"/>
                  </a:cubicBezTo>
                  <a:cubicBezTo>
                    <a:pt x="118785" y="108241"/>
                    <a:pt x="118988" y="107939"/>
                    <a:pt x="118988" y="107638"/>
                  </a:cubicBezTo>
                  <a:cubicBezTo>
                    <a:pt x="118988" y="107336"/>
                    <a:pt x="118785" y="106733"/>
                    <a:pt x="118785" y="106130"/>
                  </a:cubicBezTo>
                  <a:cubicBezTo>
                    <a:pt x="118583" y="105829"/>
                    <a:pt x="118583" y="105226"/>
                    <a:pt x="118583" y="104924"/>
                  </a:cubicBezTo>
                  <a:cubicBezTo>
                    <a:pt x="118381" y="104623"/>
                    <a:pt x="118583" y="104321"/>
                    <a:pt x="118583" y="104020"/>
                  </a:cubicBezTo>
                  <a:cubicBezTo>
                    <a:pt x="118785" y="103417"/>
                    <a:pt x="119392" y="103417"/>
                    <a:pt x="119797" y="103115"/>
                  </a:cubicBezTo>
                  <a:cubicBezTo>
                    <a:pt x="119797" y="103115"/>
                    <a:pt x="119797" y="103115"/>
                    <a:pt x="119797" y="103115"/>
                  </a:cubicBezTo>
                  <a:cubicBezTo>
                    <a:pt x="120000" y="102814"/>
                    <a:pt x="120000" y="101608"/>
                    <a:pt x="120000" y="101005"/>
                  </a:cubicBezTo>
                  <a:cubicBezTo>
                    <a:pt x="120000" y="100402"/>
                    <a:pt x="120000" y="99798"/>
                    <a:pt x="120000" y="99497"/>
                  </a:cubicBezTo>
                  <a:cubicBezTo>
                    <a:pt x="120000" y="98894"/>
                    <a:pt x="118178" y="97386"/>
                    <a:pt x="117571" y="97085"/>
                  </a:cubicBezTo>
                  <a:cubicBezTo>
                    <a:pt x="116964" y="97085"/>
                    <a:pt x="116762" y="95577"/>
                    <a:pt x="116762" y="94673"/>
                  </a:cubicBezTo>
                  <a:cubicBezTo>
                    <a:pt x="116762" y="94371"/>
                    <a:pt x="116762" y="94070"/>
                    <a:pt x="116762" y="94070"/>
                  </a:cubicBezTo>
                  <a:cubicBezTo>
                    <a:pt x="116559" y="93467"/>
                    <a:pt x="114940" y="91658"/>
                    <a:pt x="114536" y="91356"/>
                  </a:cubicBezTo>
                  <a:cubicBezTo>
                    <a:pt x="113929" y="91356"/>
                    <a:pt x="113524" y="88643"/>
                    <a:pt x="113524" y="87738"/>
                  </a:cubicBezTo>
                  <a:cubicBezTo>
                    <a:pt x="113119" y="87437"/>
                    <a:pt x="111298" y="87135"/>
                    <a:pt x="110489" y="87135"/>
                  </a:cubicBezTo>
                  <a:cubicBezTo>
                    <a:pt x="110286" y="87135"/>
                    <a:pt x="110286" y="87437"/>
                    <a:pt x="110084" y="88040"/>
                  </a:cubicBezTo>
                  <a:cubicBezTo>
                    <a:pt x="109881" y="88040"/>
                    <a:pt x="109881" y="88341"/>
                    <a:pt x="109679" y="88643"/>
                  </a:cubicBezTo>
                  <a:cubicBezTo>
                    <a:pt x="109477" y="88944"/>
                    <a:pt x="109274" y="88944"/>
                    <a:pt x="109274" y="88944"/>
                  </a:cubicBezTo>
                  <a:cubicBezTo>
                    <a:pt x="108667" y="88643"/>
                    <a:pt x="108263" y="87738"/>
                    <a:pt x="107453" y="85628"/>
                  </a:cubicBezTo>
                  <a:cubicBezTo>
                    <a:pt x="107453" y="85628"/>
                    <a:pt x="107453" y="85326"/>
                    <a:pt x="107251" y="85025"/>
                  </a:cubicBezTo>
                  <a:cubicBezTo>
                    <a:pt x="107251" y="85025"/>
                    <a:pt x="106846" y="84723"/>
                    <a:pt x="106644" y="84723"/>
                  </a:cubicBezTo>
                  <a:cubicBezTo>
                    <a:pt x="106441" y="84723"/>
                    <a:pt x="106239" y="84723"/>
                    <a:pt x="106239" y="84723"/>
                  </a:cubicBezTo>
                  <a:cubicBezTo>
                    <a:pt x="105632" y="84422"/>
                    <a:pt x="105227" y="83819"/>
                    <a:pt x="104822" y="82914"/>
                  </a:cubicBezTo>
                  <a:cubicBezTo>
                    <a:pt x="104620" y="82613"/>
                    <a:pt x="104620" y="82613"/>
                    <a:pt x="104620" y="82613"/>
                  </a:cubicBezTo>
                  <a:cubicBezTo>
                    <a:pt x="104215" y="81708"/>
                    <a:pt x="104013" y="73869"/>
                    <a:pt x="104013" y="73567"/>
                  </a:cubicBezTo>
                  <a:cubicBezTo>
                    <a:pt x="104013" y="72964"/>
                    <a:pt x="104215" y="72060"/>
                    <a:pt x="104620" y="71155"/>
                  </a:cubicBezTo>
                  <a:cubicBezTo>
                    <a:pt x="104822" y="70854"/>
                    <a:pt x="104822" y="70552"/>
                    <a:pt x="105025" y="70552"/>
                  </a:cubicBezTo>
                  <a:cubicBezTo>
                    <a:pt x="105025" y="70251"/>
                    <a:pt x="104418" y="68743"/>
                    <a:pt x="104215" y="68140"/>
                  </a:cubicBezTo>
                  <a:cubicBezTo>
                    <a:pt x="104013" y="67236"/>
                    <a:pt x="103811" y="66934"/>
                    <a:pt x="103811" y="66633"/>
                  </a:cubicBezTo>
                  <a:cubicBezTo>
                    <a:pt x="103608" y="66030"/>
                    <a:pt x="104013" y="65125"/>
                    <a:pt x="105227" y="63316"/>
                  </a:cubicBezTo>
                  <a:cubicBezTo>
                    <a:pt x="105227" y="62713"/>
                    <a:pt x="105430" y="62713"/>
                    <a:pt x="105430" y="62412"/>
                  </a:cubicBezTo>
                  <a:cubicBezTo>
                    <a:pt x="105632" y="62110"/>
                    <a:pt x="105834" y="60603"/>
                    <a:pt x="105834" y="59698"/>
                  </a:cubicBezTo>
                  <a:cubicBezTo>
                    <a:pt x="105834" y="58793"/>
                    <a:pt x="106846" y="57587"/>
                    <a:pt x="107655" y="56683"/>
                  </a:cubicBezTo>
                  <a:cubicBezTo>
                    <a:pt x="107858" y="56381"/>
                    <a:pt x="108060" y="53969"/>
                    <a:pt x="108060" y="53366"/>
                  </a:cubicBezTo>
                  <a:cubicBezTo>
                    <a:pt x="108060" y="51557"/>
                    <a:pt x="108263" y="50351"/>
                    <a:pt x="108870" y="49748"/>
                  </a:cubicBezTo>
                  <a:cubicBezTo>
                    <a:pt x="109274" y="49145"/>
                    <a:pt x="110286" y="47336"/>
                    <a:pt x="110691" y="46432"/>
                  </a:cubicBezTo>
                  <a:cubicBezTo>
                    <a:pt x="110893" y="45829"/>
                    <a:pt x="110893" y="45829"/>
                    <a:pt x="110893" y="45829"/>
                  </a:cubicBezTo>
                  <a:cubicBezTo>
                    <a:pt x="111096" y="45527"/>
                    <a:pt x="111096" y="45226"/>
                    <a:pt x="110893" y="44623"/>
                  </a:cubicBezTo>
                  <a:cubicBezTo>
                    <a:pt x="110893" y="44321"/>
                    <a:pt x="110893" y="43718"/>
                    <a:pt x="110893" y="43417"/>
                  </a:cubicBezTo>
                  <a:cubicBezTo>
                    <a:pt x="110691" y="43115"/>
                    <a:pt x="109679" y="41608"/>
                    <a:pt x="109274" y="41005"/>
                  </a:cubicBezTo>
                  <a:cubicBezTo>
                    <a:pt x="108870" y="40402"/>
                    <a:pt x="108667" y="40100"/>
                    <a:pt x="108465" y="39798"/>
                  </a:cubicBezTo>
                  <a:cubicBezTo>
                    <a:pt x="107858" y="38894"/>
                    <a:pt x="108870" y="37386"/>
                    <a:pt x="109274" y="36783"/>
                  </a:cubicBezTo>
                  <a:cubicBezTo>
                    <a:pt x="109477" y="36783"/>
                    <a:pt x="109477" y="36783"/>
                    <a:pt x="109477" y="36783"/>
                  </a:cubicBezTo>
                  <a:cubicBezTo>
                    <a:pt x="109679" y="36180"/>
                    <a:pt x="110489" y="36180"/>
                    <a:pt x="111500" y="36180"/>
                  </a:cubicBezTo>
                  <a:cubicBezTo>
                    <a:pt x="111703" y="36180"/>
                    <a:pt x="111905" y="36180"/>
                    <a:pt x="112107" y="36180"/>
                  </a:cubicBezTo>
                  <a:cubicBezTo>
                    <a:pt x="112512" y="36180"/>
                    <a:pt x="115143" y="34974"/>
                    <a:pt x="115750" y="34070"/>
                  </a:cubicBezTo>
                  <a:cubicBezTo>
                    <a:pt x="116155" y="33467"/>
                    <a:pt x="117166" y="30452"/>
                    <a:pt x="117166" y="29246"/>
                  </a:cubicBezTo>
                  <a:cubicBezTo>
                    <a:pt x="117166" y="28643"/>
                    <a:pt x="115750" y="27738"/>
                    <a:pt x="115143" y="27135"/>
                  </a:cubicBezTo>
                  <a:cubicBezTo>
                    <a:pt x="114940" y="26834"/>
                    <a:pt x="114738" y="26834"/>
                    <a:pt x="114738" y="26834"/>
                  </a:cubicBezTo>
                  <a:cubicBezTo>
                    <a:pt x="114333" y="26231"/>
                    <a:pt x="114131" y="24723"/>
                    <a:pt x="113929" y="21407"/>
                  </a:cubicBezTo>
                  <a:cubicBezTo>
                    <a:pt x="113929" y="20804"/>
                    <a:pt x="113929" y="20502"/>
                    <a:pt x="113929" y="20201"/>
                  </a:cubicBezTo>
                  <a:cubicBezTo>
                    <a:pt x="113929" y="19296"/>
                    <a:pt x="112512" y="18090"/>
                    <a:pt x="111905" y="17487"/>
                  </a:cubicBezTo>
                  <a:cubicBezTo>
                    <a:pt x="111703" y="17185"/>
                    <a:pt x="111500" y="16884"/>
                    <a:pt x="111298" y="16884"/>
                  </a:cubicBezTo>
                  <a:cubicBezTo>
                    <a:pt x="111096" y="16582"/>
                    <a:pt x="110489" y="16884"/>
                    <a:pt x="110084" y="16884"/>
                  </a:cubicBezTo>
                  <a:cubicBezTo>
                    <a:pt x="110084" y="16884"/>
                    <a:pt x="109881" y="16884"/>
                    <a:pt x="109881" y="16884"/>
                  </a:cubicBezTo>
                  <a:cubicBezTo>
                    <a:pt x="109679" y="17185"/>
                    <a:pt x="109477" y="17487"/>
                    <a:pt x="109274" y="18090"/>
                  </a:cubicBezTo>
                  <a:cubicBezTo>
                    <a:pt x="109072" y="18391"/>
                    <a:pt x="109072" y="18391"/>
                    <a:pt x="108870" y="18693"/>
                  </a:cubicBezTo>
                  <a:cubicBezTo>
                    <a:pt x="108667" y="19296"/>
                    <a:pt x="107858" y="20804"/>
                    <a:pt x="107251" y="22010"/>
                  </a:cubicBezTo>
                  <a:cubicBezTo>
                    <a:pt x="107048" y="22613"/>
                    <a:pt x="106846" y="22914"/>
                    <a:pt x="106644" y="23216"/>
                  </a:cubicBezTo>
                  <a:cubicBezTo>
                    <a:pt x="106239" y="24422"/>
                    <a:pt x="103811" y="24422"/>
                    <a:pt x="103811" y="24422"/>
                  </a:cubicBezTo>
                  <a:cubicBezTo>
                    <a:pt x="103406" y="24422"/>
                    <a:pt x="103001" y="25628"/>
                    <a:pt x="102799" y="26231"/>
                  </a:cubicBezTo>
                  <a:cubicBezTo>
                    <a:pt x="102799" y="26532"/>
                    <a:pt x="103001" y="28040"/>
                    <a:pt x="103204" y="28643"/>
                  </a:cubicBezTo>
                  <a:cubicBezTo>
                    <a:pt x="103204" y="29547"/>
                    <a:pt x="103406" y="30150"/>
                    <a:pt x="103406" y="30452"/>
                  </a:cubicBezTo>
                  <a:cubicBezTo>
                    <a:pt x="103406" y="31658"/>
                    <a:pt x="101989" y="33165"/>
                    <a:pt x="101989" y="33165"/>
                  </a:cubicBezTo>
                  <a:cubicBezTo>
                    <a:pt x="101787" y="33467"/>
                    <a:pt x="101382" y="33467"/>
                    <a:pt x="101180" y="33768"/>
                  </a:cubicBezTo>
                  <a:cubicBezTo>
                    <a:pt x="100775" y="34070"/>
                    <a:pt x="100573" y="34070"/>
                    <a:pt x="100370" y="34371"/>
                  </a:cubicBezTo>
                  <a:cubicBezTo>
                    <a:pt x="99966" y="34673"/>
                    <a:pt x="98549" y="37688"/>
                    <a:pt x="98145" y="38894"/>
                  </a:cubicBezTo>
                  <a:cubicBezTo>
                    <a:pt x="97942" y="39195"/>
                    <a:pt x="97740" y="39497"/>
                    <a:pt x="97740" y="39798"/>
                  </a:cubicBezTo>
                  <a:cubicBezTo>
                    <a:pt x="97335" y="40402"/>
                    <a:pt x="96526" y="40402"/>
                    <a:pt x="95514" y="40402"/>
                  </a:cubicBezTo>
                  <a:cubicBezTo>
                    <a:pt x="95311" y="40100"/>
                    <a:pt x="95311" y="40100"/>
                    <a:pt x="95109" y="40100"/>
                  </a:cubicBezTo>
                  <a:cubicBezTo>
                    <a:pt x="94907" y="40100"/>
                    <a:pt x="94704" y="40703"/>
                    <a:pt x="94502" y="41005"/>
                  </a:cubicBezTo>
                  <a:cubicBezTo>
                    <a:pt x="94300" y="41306"/>
                    <a:pt x="94300" y="41608"/>
                    <a:pt x="94300" y="41608"/>
                  </a:cubicBezTo>
                  <a:cubicBezTo>
                    <a:pt x="94097" y="41909"/>
                    <a:pt x="93895" y="42211"/>
                    <a:pt x="93693" y="42211"/>
                  </a:cubicBezTo>
                  <a:cubicBezTo>
                    <a:pt x="93086" y="41909"/>
                    <a:pt x="92478" y="41005"/>
                    <a:pt x="92478" y="40703"/>
                  </a:cubicBezTo>
                  <a:cubicBezTo>
                    <a:pt x="92478" y="40703"/>
                    <a:pt x="89645" y="35577"/>
                    <a:pt x="89241" y="34974"/>
                  </a:cubicBezTo>
                  <a:cubicBezTo>
                    <a:pt x="89038" y="34371"/>
                    <a:pt x="88229" y="34974"/>
                    <a:pt x="87622" y="34974"/>
                  </a:cubicBezTo>
                  <a:cubicBezTo>
                    <a:pt x="87217" y="35276"/>
                    <a:pt x="87015" y="35577"/>
                    <a:pt x="86610" y="36180"/>
                  </a:cubicBezTo>
                  <a:cubicBezTo>
                    <a:pt x="86610" y="36482"/>
                    <a:pt x="86408" y="36482"/>
                    <a:pt x="86205" y="36783"/>
                  </a:cubicBezTo>
                  <a:cubicBezTo>
                    <a:pt x="85598" y="37386"/>
                    <a:pt x="83979" y="37085"/>
                    <a:pt x="83170" y="36482"/>
                  </a:cubicBezTo>
                  <a:cubicBezTo>
                    <a:pt x="82563" y="36180"/>
                    <a:pt x="81753" y="34974"/>
                    <a:pt x="81146" y="34070"/>
                  </a:cubicBezTo>
                  <a:cubicBezTo>
                    <a:pt x="80944" y="33768"/>
                    <a:pt x="80741" y="33467"/>
                    <a:pt x="80741" y="33467"/>
                  </a:cubicBezTo>
                  <a:cubicBezTo>
                    <a:pt x="80134" y="32562"/>
                    <a:pt x="80539" y="31356"/>
                    <a:pt x="81146" y="29849"/>
                  </a:cubicBezTo>
                  <a:cubicBezTo>
                    <a:pt x="81349" y="29246"/>
                    <a:pt x="81349" y="28944"/>
                    <a:pt x="81551" y="28643"/>
                  </a:cubicBezTo>
                  <a:cubicBezTo>
                    <a:pt x="81753" y="27738"/>
                    <a:pt x="82360" y="27437"/>
                    <a:pt x="82765" y="27437"/>
                  </a:cubicBezTo>
                  <a:cubicBezTo>
                    <a:pt x="82765" y="27437"/>
                    <a:pt x="82967" y="27437"/>
                    <a:pt x="82967" y="27437"/>
                  </a:cubicBezTo>
                  <a:cubicBezTo>
                    <a:pt x="82967" y="26834"/>
                    <a:pt x="82967" y="25628"/>
                    <a:pt x="82967" y="25025"/>
                  </a:cubicBezTo>
                  <a:cubicBezTo>
                    <a:pt x="82967" y="24723"/>
                    <a:pt x="82967" y="24422"/>
                    <a:pt x="82967" y="24120"/>
                  </a:cubicBezTo>
                  <a:cubicBezTo>
                    <a:pt x="82967" y="23819"/>
                    <a:pt x="82360" y="22914"/>
                    <a:pt x="81956" y="22311"/>
                  </a:cubicBezTo>
                  <a:cubicBezTo>
                    <a:pt x="81956" y="22010"/>
                    <a:pt x="81753" y="21708"/>
                    <a:pt x="81551" y="21407"/>
                  </a:cubicBezTo>
                  <a:cubicBezTo>
                    <a:pt x="81146" y="20201"/>
                    <a:pt x="81551" y="19296"/>
                    <a:pt x="81956" y="18693"/>
                  </a:cubicBezTo>
                  <a:cubicBezTo>
                    <a:pt x="81956" y="18693"/>
                    <a:pt x="81956" y="18391"/>
                    <a:pt x="82158" y="18391"/>
                  </a:cubicBezTo>
                  <a:cubicBezTo>
                    <a:pt x="82563" y="17487"/>
                    <a:pt x="82967" y="17185"/>
                    <a:pt x="83372" y="17185"/>
                  </a:cubicBezTo>
                  <a:cubicBezTo>
                    <a:pt x="83575" y="16281"/>
                    <a:pt x="83372" y="13266"/>
                    <a:pt x="83372" y="12060"/>
                  </a:cubicBezTo>
                  <a:cubicBezTo>
                    <a:pt x="83372" y="11758"/>
                    <a:pt x="83372" y="11457"/>
                    <a:pt x="83372" y="11155"/>
                  </a:cubicBezTo>
                  <a:cubicBezTo>
                    <a:pt x="83372" y="10251"/>
                    <a:pt x="83979" y="9045"/>
                    <a:pt x="84789" y="7839"/>
                  </a:cubicBezTo>
                  <a:cubicBezTo>
                    <a:pt x="84789" y="7537"/>
                    <a:pt x="84991" y="7537"/>
                    <a:pt x="84991" y="7236"/>
                  </a:cubicBezTo>
                  <a:cubicBezTo>
                    <a:pt x="85193" y="6934"/>
                    <a:pt x="85193" y="6331"/>
                    <a:pt x="85193" y="5427"/>
                  </a:cubicBezTo>
                  <a:cubicBezTo>
                    <a:pt x="85193" y="5125"/>
                    <a:pt x="85193" y="4824"/>
                    <a:pt x="85193" y="4221"/>
                  </a:cubicBezTo>
                  <a:cubicBezTo>
                    <a:pt x="85193" y="3316"/>
                    <a:pt x="85396" y="2713"/>
                    <a:pt x="85598" y="2110"/>
                  </a:cubicBezTo>
                  <a:cubicBezTo>
                    <a:pt x="85598" y="1809"/>
                    <a:pt x="85801" y="1507"/>
                    <a:pt x="85801" y="1206"/>
                  </a:cubicBezTo>
                  <a:cubicBezTo>
                    <a:pt x="85801" y="904"/>
                    <a:pt x="84384" y="0"/>
                    <a:pt x="83979" y="0"/>
                  </a:cubicBezTo>
                  <a:cubicBezTo>
                    <a:pt x="83575" y="0"/>
                    <a:pt x="82158" y="301"/>
                    <a:pt x="81551" y="301"/>
                  </a:cubicBezTo>
                  <a:cubicBezTo>
                    <a:pt x="81349" y="603"/>
                    <a:pt x="80944" y="1206"/>
                    <a:pt x="80741" y="1507"/>
                  </a:cubicBezTo>
                  <a:cubicBezTo>
                    <a:pt x="80539" y="1809"/>
                    <a:pt x="80337" y="2412"/>
                    <a:pt x="79932" y="2713"/>
                  </a:cubicBezTo>
                  <a:cubicBezTo>
                    <a:pt x="79325" y="3618"/>
                    <a:pt x="77908" y="3618"/>
                    <a:pt x="77301" y="3618"/>
                  </a:cubicBezTo>
                  <a:cubicBezTo>
                    <a:pt x="76897" y="3618"/>
                    <a:pt x="76694" y="4522"/>
                    <a:pt x="76492" y="5125"/>
                  </a:cubicBezTo>
                  <a:cubicBezTo>
                    <a:pt x="76290" y="5427"/>
                    <a:pt x="76087" y="6030"/>
                    <a:pt x="75885" y="6331"/>
                  </a:cubicBezTo>
                  <a:cubicBezTo>
                    <a:pt x="75480" y="6633"/>
                    <a:pt x="73659" y="7839"/>
                    <a:pt x="73052" y="7839"/>
                  </a:cubicBezTo>
                  <a:cubicBezTo>
                    <a:pt x="72849" y="7839"/>
                    <a:pt x="72647" y="7839"/>
                    <a:pt x="72445" y="7537"/>
                  </a:cubicBezTo>
                  <a:cubicBezTo>
                    <a:pt x="71635" y="8442"/>
                    <a:pt x="69814" y="11155"/>
                    <a:pt x="68397" y="12361"/>
                  </a:cubicBezTo>
                  <a:cubicBezTo>
                    <a:pt x="67588" y="13266"/>
                    <a:pt x="66779" y="13869"/>
                    <a:pt x="65767" y="14472"/>
                  </a:cubicBezTo>
                  <a:cubicBezTo>
                    <a:pt x="65160" y="15075"/>
                    <a:pt x="64350" y="15678"/>
                    <a:pt x="64148" y="15979"/>
                  </a:cubicBezTo>
                  <a:cubicBezTo>
                    <a:pt x="64148" y="16281"/>
                    <a:pt x="64148" y="16281"/>
                    <a:pt x="64148" y="16281"/>
                  </a:cubicBezTo>
                  <a:cubicBezTo>
                    <a:pt x="64148" y="20201"/>
                    <a:pt x="63946" y="21407"/>
                    <a:pt x="63541" y="21708"/>
                  </a:cubicBezTo>
                  <a:cubicBezTo>
                    <a:pt x="63338" y="21708"/>
                    <a:pt x="62934" y="22010"/>
                    <a:pt x="62731" y="22311"/>
                  </a:cubicBezTo>
                  <a:cubicBezTo>
                    <a:pt x="61720" y="23216"/>
                    <a:pt x="61112" y="23819"/>
                    <a:pt x="60708" y="23819"/>
                  </a:cubicBezTo>
                  <a:cubicBezTo>
                    <a:pt x="60303" y="23819"/>
                    <a:pt x="59898" y="23517"/>
                    <a:pt x="59494" y="23517"/>
                  </a:cubicBezTo>
                  <a:cubicBezTo>
                    <a:pt x="59089" y="23216"/>
                    <a:pt x="58482" y="23216"/>
                    <a:pt x="58279" y="23216"/>
                  </a:cubicBezTo>
                  <a:cubicBezTo>
                    <a:pt x="57672" y="23216"/>
                    <a:pt x="55244" y="24422"/>
                    <a:pt x="54839" y="25025"/>
                  </a:cubicBezTo>
                  <a:cubicBezTo>
                    <a:pt x="54839" y="25025"/>
                    <a:pt x="54839" y="25025"/>
                    <a:pt x="54839" y="25025"/>
                  </a:cubicBezTo>
                  <a:cubicBezTo>
                    <a:pt x="54839" y="26231"/>
                    <a:pt x="54839" y="27437"/>
                    <a:pt x="54435" y="27738"/>
                  </a:cubicBezTo>
                  <a:cubicBezTo>
                    <a:pt x="54232" y="28040"/>
                    <a:pt x="54030" y="28040"/>
                    <a:pt x="53625" y="27738"/>
                  </a:cubicBezTo>
                  <a:cubicBezTo>
                    <a:pt x="53018" y="27437"/>
                    <a:pt x="51804" y="27437"/>
                    <a:pt x="51197" y="27135"/>
                  </a:cubicBezTo>
                  <a:cubicBezTo>
                    <a:pt x="48971" y="31055"/>
                    <a:pt x="46138" y="35577"/>
                    <a:pt x="45328" y="35577"/>
                  </a:cubicBezTo>
                  <a:cubicBezTo>
                    <a:pt x="45328" y="35577"/>
                    <a:pt x="45328" y="35577"/>
                    <a:pt x="45328" y="35577"/>
                  </a:cubicBezTo>
                  <a:cubicBezTo>
                    <a:pt x="45328" y="35577"/>
                    <a:pt x="45126" y="35577"/>
                    <a:pt x="44924" y="35276"/>
                  </a:cubicBezTo>
                  <a:cubicBezTo>
                    <a:pt x="44519" y="34673"/>
                    <a:pt x="43507" y="33467"/>
                    <a:pt x="43305" y="33467"/>
                  </a:cubicBezTo>
                  <a:cubicBezTo>
                    <a:pt x="42900" y="33467"/>
                    <a:pt x="42495" y="33768"/>
                    <a:pt x="42293" y="34371"/>
                  </a:cubicBezTo>
                  <a:cubicBezTo>
                    <a:pt x="42091" y="34673"/>
                    <a:pt x="41483" y="35276"/>
                    <a:pt x="40876" y="35276"/>
                  </a:cubicBezTo>
                  <a:cubicBezTo>
                    <a:pt x="40674" y="35276"/>
                    <a:pt x="40472" y="35276"/>
                    <a:pt x="39865" y="34974"/>
                  </a:cubicBezTo>
                  <a:cubicBezTo>
                    <a:pt x="39662" y="34974"/>
                    <a:pt x="38853" y="34371"/>
                    <a:pt x="38650" y="34371"/>
                  </a:cubicBezTo>
                  <a:cubicBezTo>
                    <a:pt x="38448" y="35276"/>
                    <a:pt x="37639" y="36783"/>
                    <a:pt x="37032" y="37085"/>
                  </a:cubicBezTo>
                  <a:cubicBezTo>
                    <a:pt x="36829" y="37085"/>
                    <a:pt x="36424" y="37386"/>
                    <a:pt x="35817" y="37688"/>
                  </a:cubicBezTo>
                  <a:cubicBezTo>
                    <a:pt x="35008" y="37989"/>
                    <a:pt x="34198" y="38291"/>
                    <a:pt x="33996" y="38592"/>
                  </a:cubicBezTo>
                  <a:cubicBezTo>
                    <a:pt x="33591" y="38894"/>
                    <a:pt x="32377" y="39798"/>
                    <a:pt x="31973" y="38291"/>
                  </a:cubicBezTo>
                  <a:cubicBezTo>
                    <a:pt x="31568" y="37688"/>
                    <a:pt x="29747" y="34673"/>
                    <a:pt x="29139" y="34371"/>
                  </a:cubicBezTo>
                  <a:cubicBezTo>
                    <a:pt x="28937" y="34070"/>
                    <a:pt x="28937" y="34070"/>
                    <a:pt x="28937" y="34070"/>
                  </a:cubicBezTo>
                  <a:cubicBezTo>
                    <a:pt x="28330" y="33768"/>
                    <a:pt x="27318" y="33165"/>
                    <a:pt x="26711" y="33165"/>
                  </a:cubicBezTo>
                  <a:cubicBezTo>
                    <a:pt x="25902" y="33165"/>
                    <a:pt x="25497" y="33467"/>
                    <a:pt x="25092" y="34070"/>
                  </a:cubicBezTo>
                  <a:cubicBezTo>
                    <a:pt x="24890" y="34070"/>
                    <a:pt x="24890" y="34371"/>
                    <a:pt x="24688" y="34371"/>
                  </a:cubicBezTo>
                  <a:cubicBezTo>
                    <a:pt x="24283" y="34974"/>
                    <a:pt x="23878" y="35879"/>
                    <a:pt x="23069" y="35577"/>
                  </a:cubicBezTo>
                  <a:cubicBezTo>
                    <a:pt x="22866" y="35577"/>
                    <a:pt x="22664" y="35276"/>
                    <a:pt x="22462" y="35276"/>
                  </a:cubicBezTo>
                  <a:cubicBezTo>
                    <a:pt x="22057" y="35276"/>
                    <a:pt x="20640" y="34673"/>
                    <a:pt x="20236" y="34673"/>
                  </a:cubicBezTo>
                  <a:cubicBezTo>
                    <a:pt x="20236" y="34673"/>
                    <a:pt x="20236" y="34974"/>
                    <a:pt x="20236" y="34974"/>
                  </a:cubicBezTo>
                  <a:cubicBezTo>
                    <a:pt x="20236" y="35879"/>
                    <a:pt x="20033" y="36783"/>
                    <a:pt x="19629" y="37386"/>
                  </a:cubicBezTo>
                  <a:cubicBezTo>
                    <a:pt x="19224" y="37688"/>
                    <a:pt x="18617" y="37989"/>
                    <a:pt x="18212" y="37989"/>
                  </a:cubicBezTo>
                  <a:cubicBezTo>
                    <a:pt x="17605" y="37989"/>
                    <a:pt x="17200" y="37688"/>
                    <a:pt x="16998" y="37085"/>
                  </a:cubicBezTo>
                  <a:cubicBezTo>
                    <a:pt x="16593" y="36482"/>
                    <a:pt x="16188" y="35577"/>
                    <a:pt x="15986" y="35577"/>
                  </a:cubicBezTo>
                  <a:cubicBezTo>
                    <a:pt x="15581" y="35577"/>
                    <a:pt x="15379" y="35577"/>
                    <a:pt x="15177" y="35276"/>
                  </a:cubicBezTo>
                  <a:cubicBezTo>
                    <a:pt x="14772" y="35276"/>
                    <a:pt x="14367" y="34974"/>
                    <a:pt x="14165" y="35276"/>
                  </a:cubicBezTo>
                  <a:cubicBezTo>
                    <a:pt x="13962" y="35577"/>
                    <a:pt x="13962" y="35577"/>
                    <a:pt x="13962" y="35577"/>
                  </a:cubicBezTo>
                  <a:cubicBezTo>
                    <a:pt x="13558" y="36180"/>
                    <a:pt x="12951" y="36783"/>
                    <a:pt x="12344" y="36783"/>
                  </a:cubicBezTo>
                  <a:cubicBezTo>
                    <a:pt x="11332" y="36783"/>
                    <a:pt x="10927" y="36482"/>
                    <a:pt x="10118" y="35577"/>
                  </a:cubicBezTo>
                  <a:cubicBezTo>
                    <a:pt x="10118" y="35577"/>
                    <a:pt x="9915" y="35276"/>
                    <a:pt x="9713" y="34974"/>
                  </a:cubicBezTo>
                  <a:cubicBezTo>
                    <a:pt x="9510" y="34673"/>
                    <a:pt x="9106" y="34070"/>
                    <a:pt x="8903" y="34070"/>
                  </a:cubicBezTo>
                  <a:cubicBezTo>
                    <a:pt x="8903" y="34070"/>
                    <a:pt x="8903" y="34070"/>
                    <a:pt x="8903" y="34070"/>
                  </a:cubicBezTo>
                  <a:cubicBezTo>
                    <a:pt x="8903" y="34371"/>
                    <a:pt x="8903" y="34371"/>
                    <a:pt x="8701" y="34673"/>
                  </a:cubicBezTo>
                  <a:cubicBezTo>
                    <a:pt x="8499" y="35276"/>
                    <a:pt x="8094" y="36180"/>
                    <a:pt x="7082" y="36180"/>
                  </a:cubicBezTo>
                  <a:cubicBezTo>
                    <a:pt x="6677" y="36180"/>
                    <a:pt x="6677" y="36180"/>
                    <a:pt x="6677" y="36180"/>
                  </a:cubicBezTo>
                  <a:cubicBezTo>
                    <a:pt x="5868" y="35879"/>
                    <a:pt x="5059" y="35879"/>
                    <a:pt x="4654" y="36482"/>
                  </a:cubicBezTo>
                  <a:cubicBezTo>
                    <a:pt x="4047" y="37085"/>
                    <a:pt x="1214" y="41005"/>
                    <a:pt x="0" y="42814"/>
                  </a:cubicBezTo>
                  <a:cubicBezTo>
                    <a:pt x="0" y="43417"/>
                    <a:pt x="202" y="44623"/>
                    <a:pt x="202" y="44924"/>
                  </a:cubicBezTo>
                  <a:cubicBezTo>
                    <a:pt x="404" y="45226"/>
                    <a:pt x="809" y="45829"/>
                    <a:pt x="1214" y="46130"/>
                  </a:cubicBezTo>
                  <a:cubicBezTo>
                    <a:pt x="1416" y="46432"/>
                    <a:pt x="1821" y="46733"/>
                    <a:pt x="1821" y="47035"/>
                  </a:cubicBezTo>
                  <a:cubicBezTo>
                    <a:pt x="2225" y="47336"/>
                    <a:pt x="3642" y="47939"/>
                    <a:pt x="4249" y="47939"/>
                  </a:cubicBezTo>
                  <a:cubicBezTo>
                    <a:pt x="4249" y="47939"/>
                    <a:pt x="4451" y="47939"/>
                    <a:pt x="4856" y="47638"/>
                  </a:cubicBezTo>
                  <a:cubicBezTo>
                    <a:pt x="5463" y="47638"/>
                    <a:pt x="6070" y="47336"/>
                    <a:pt x="6273" y="47939"/>
                  </a:cubicBezTo>
                  <a:cubicBezTo>
                    <a:pt x="6475" y="47939"/>
                    <a:pt x="6677" y="48542"/>
                    <a:pt x="6880" y="48844"/>
                  </a:cubicBezTo>
                  <a:cubicBezTo>
                    <a:pt x="7082" y="50050"/>
                    <a:pt x="6880" y="50653"/>
                    <a:pt x="6677" y="50653"/>
                  </a:cubicBezTo>
                  <a:cubicBezTo>
                    <a:pt x="5868" y="51859"/>
                    <a:pt x="5463" y="53065"/>
                    <a:pt x="5463" y="53366"/>
                  </a:cubicBezTo>
                  <a:cubicBezTo>
                    <a:pt x="5666" y="54271"/>
                    <a:pt x="5868" y="55175"/>
                    <a:pt x="6070" y="55477"/>
                  </a:cubicBezTo>
                  <a:cubicBezTo>
                    <a:pt x="6273" y="55477"/>
                    <a:pt x="6273" y="55477"/>
                    <a:pt x="6273" y="55477"/>
                  </a:cubicBezTo>
                  <a:cubicBezTo>
                    <a:pt x="7689" y="56683"/>
                    <a:pt x="8296" y="56683"/>
                    <a:pt x="8499" y="56984"/>
                  </a:cubicBezTo>
                  <a:cubicBezTo>
                    <a:pt x="8499" y="56683"/>
                    <a:pt x="8499" y="56683"/>
                    <a:pt x="8499" y="56683"/>
                  </a:cubicBezTo>
                  <a:cubicBezTo>
                    <a:pt x="8701" y="55778"/>
                    <a:pt x="9308" y="53969"/>
                    <a:pt x="9915" y="53065"/>
                  </a:cubicBezTo>
                  <a:cubicBezTo>
                    <a:pt x="10118" y="53065"/>
                    <a:pt x="10320" y="52763"/>
                    <a:pt x="10320" y="52462"/>
                  </a:cubicBezTo>
                  <a:cubicBezTo>
                    <a:pt x="10927" y="51557"/>
                    <a:pt x="11534" y="50653"/>
                    <a:pt x="11939" y="50954"/>
                  </a:cubicBezTo>
                  <a:cubicBezTo>
                    <a:pt x="12141" y="50954"/>
                    <a:pt x="14569" y="51557"/>
                    <a:pt x="14569" y="53366"/>
                  </a:cubicBezTo>
                  <a:cubicBezTo>
                    <a:pt x="14569" y="54572"/>
                    <a:pt x="14772" y="56683"/>
                    <a:pt x="14974" y="56984"/>
                  </a:cubicBezTo>
                  <a:cubicBezTo>
                    <a:pt x="15177" y="57286"/>
                    <a:pt x="15581" y="57587"/>
                    <a:pt x="15986" y="56984"/>
                  </a:cubicBezTo>
                  <a:cubicBezTo>
                    <a:pt x="16188" y="56984"/>
                    <a:pt x="16188" y="56683"/>
                    <a:pt x="16391" y="56080"/>
                  </a:cubicBezTo>
                  <a:cubicBezTo>
                    <a:pt x="16795" y="55477"/>
                    <a:pt x="17200" y="54572"/>
                    <a:pt x="17807" y="54572"/>
                  </a:cubicBezTo>
                  <a:cubicBezTo>
                    <a:pt x="18212" y="54572"/>
                    <a:pt x="20236" y="55175"/>
                    <a:pt x="20640" y="56683"/>
                  </a:cubicBezTo>
                  <a:cubicBezTo>
                    <a:pt x="20843" y="56984"/>
                    <a:pt x="21045" y="57587"/>
                    <a:pt x="21045" y="58190"/>
                  </a:cubicBezTo>
                  <a:cubicBezTo>
                    <a:pt x="21247" y="59095"/>
                    <a:pt x="21652" y="60000"/>
                    <a:pt x="21854" y="60603"/>
                  </a:cubicBezTo>
                  <a:cubicBezTo>
                    <a:pt x="22259" y="61809"/>
                    <a:pt x="22462" y="63316"/>
                    <a:pt x="22462" y="63618"/>
                  </a:cubicBezTo>
                  <a:cubicBezTo>
                    <a:pt x="22462" y="63919"/>
                    <a:pt x="22259" y="63919"/>
                    <a:pt x="22259" y="64522"/>
                  </a:cubicBezTo>
                  <a:cubicBezTo>
                    <a:pt x="21854" y="67236"/>
                    <a:pt x="22057" y="68140"/>
                    <a:pt x="22057" y="68442"/>
                  </a:cubicBezTo>
                  <a:cubicBezTo>
                    <a:pt x="23069" y="68442"/>
                    <a:pt x="23878" y="68743"/>
                    <a:pt x="24080" y="69346"/>
                  </a:cubicBezTo>
                  <a:cubicBezTo>
                    <a:pt x="24080" y="69346"/>
                    <a:pt x="24283" y="69648"/>
                    <a:pt x="24283" y="69949"/>
                  </a:cubicBezTo>
                  <a:cubicBezTo>
                    <a:pt x="24485" y="70251"/>
                    <a:pt x="24688" y="70854"/>
                    <a:pt x="24890" y="70854"/>
                  </a:cubicBezTo>
                  <a:cubicBezTo>
                    <a:pt x="24890" y="70854"/>
                    <a:pt x="26711" y="71457"/>
                    <a:pt x="26913" y="72663"/>
                  </a:cubicBezTo>
                  <a:cubicBezTo>
                    <a:pt x="26913" y="72663"/>
                    <a:pt x="26913" y="73266"/>
                    <a:pt x="26509" y="73567"/>
                  </a:cubicBezTo>
                  <a:cubicBezTo>
                    <a:pt x="26306" y="73567"/>
                    <a:pt x="26306" y="73869"/>
                    <a:pt x="26104" y="73869"/>
                  </a:cubicBezTo>
                  <a:cubicBezTo>
                    <a:pt x="25092" y="74773"/>
                    <a:pt x="24485" y="75376"/>
                    <a:pt x="24485" y="75678"/>
                  </a:cubicBezTo>
                  <a:cubicBezTo>
                    <a:pt x="24688" y="75979"/>
                    <a:pt x="24688" y="75979"/>
                    <a:pt x="24688" y="75979"/>
                  </a:cubicBezTo>
                  <a:cubicBezTo>
                    <a:pt x="25497" y="77487"/>
                    <a:pt x="26104" y="78693"/>
                    <a:pt x="26104" y="79296"/>
                  </a:cubicBezTo>
                  <a:cubicBezTo>
                    <a:pt x="26104" y="79597"/>
                    <a:pt x="26104" y="79899"/>
                    <a:pt x="26104" y="80201"/>
                  </a:cubicBezTo>
                  <a:cubicBezTo>
                    <a:pt x="26104" y="80804"/>
                    <a:pt x="25902" y="81407"/>
                    <a:pt x="26306" y="81708"/>
                  </a:cubicBezTo>
                  <a:cubicBezTo>
                    <a:pt x="26509" y="81708"/>
                    <a:pt x="26711" y="81708"/>
                    <a:pt x="27116" y="81407"/>
                  </a:cubicBezTo>
                  <a:cubicBezTo>
                    <a:pt x="27521" y="81407"/>
                    <a:pt x="28330" y="81105"/>
                    <a:pt x="28532" y="82311"/>
                  </a:cubicBezTo>
                  <a:cubicBezTo>
                    <a:pt x="28735" y="82914"/>
                    <a:pt x="30758" y="87738"/>
                    <a:pt x="31973" y="90452"/>
                  </a:cubicBezTo>
                  <a:cubicBezTo>
                    <a:pt x="32580" y="89547"/>
                    <a:pt x="33591" y="87738"/>
                    <a:pt x="34401" y="86834"/>
                  </a:cubicBezTo>
                  <a:cubicBezTo>
                    <a:pt x="35210" y="85628"/>
                    <a:pt x="37841" y="82010"/>
                    <a:pt x="38650" y="82010"/>
                  </a:cubicBezTo>
                  <a:cubicBezTo>
                    <a:pt x="39662" y="82010"/>
                    <a:pt x="42091" y="82914"/>
                    <a:pt x="42900" y="82010"/>
                  </a:cubicBezTo>
                  <a:cubicBezTo>
                    <a:pt x="43709" y="81105"/>
                    <a:pt x="45733" y="80502"/>
                    <a:pt x="46745" y="80502"/>
                  </a:cubicBezTo>
                  <a:cubicBezTo>
                    <a:pt x="47554" y="80804"/>
                    <a:pt x="50387" y="81407"/>
                    <a:pt x="51197" y="80502"/>
                  </a:cubicBezTo>
                  <a:cubicBezTo>
                    <a:pt x="52209" y="79296"/>
                    <a:pt x="53827" y="78391"/>
                    <a:pt x="54637" y="78391"/>
                  </a:cubicBezTo>
                  <a:cubicBezTo>
                    <a:pt x="55446" y="78391"/>
                    <a:pt x="61517" y="78391"/>
                    <a:pt x="61922" y="79296"/>
                  </a:cubicBezTo>
                  <a:cubicBezTo>
                    <a:pt x="62529" y="80502"/>
                    <a:pt x="63338" y="82311"/>
                    <a:pt x="63946" y="82613"/>
                  </a:cubicBezTo>
                  <a:cubicBezTo>
                    <a:pt x="64553" y="82613"/>
                    <a:pt x="66981" y="83819"/>
                    <a:pt x="66981" y="85025"/>
                  </a:cubicBezTo>
                  <a:cubicBezTo>
                    <a:pt x="66981" y="86231"/>
                    <a:pt x="67386" y="88341"/>
                    <a:pt x="68195" y="88643"/>
                  </a:cubicBezTo>
                  <a:cubicBezTo>
                    <a:pt x="68802" y="88643"/>
                    <a:pt x="70219" y="89246"/>
                    <a:pt x="70826" y="89849"/>
                  </a:cubicBezTo>
                  <a:cubicBezTo>
                    <a:pt x="71635" y="90753"/>
                    <a:pt x="74468" y="94371"/>
                    <a:pt x="75075" y="94974"/>
                  </a:cubicBezTo>
                  <a:cubicBezTo>
                    <a:pt x="75885" y="95879"/>
                    <a:pt x="76492" y="96482"/>
                    <a:pt x="76694" y="97688"/>
                  </a:cubicBezTo>
                  <a:cubicBezTo>
                    <a:pt x="76897" y="98592"/>
                    <a:pt x="77504" y="101306"/>
                    <a:pt x="78313" y="101909"/>
                  </a:cubicBezTo>
                  <a:cubicBezTo>
                    <a:pt x="78920" y="102512"/>
                    <a:pt x="81349" y="102814"/>
                    <a:pt x="81956" y="103417"/>
                  </a:cubicBezTo>
                  <a:cubicBezTo>
                    <a:pt x="82563" y="104321"/>
                    <a:pt x="83777" y="106733"/>
                    <a:pt x="84586" y="107638"/>
                  </a:cubicBezTo>
                  <a:cubicBezTo>
                    <a:pt x="85396" y="108542"/>
                    <a:pt x="88026" y="111256"/>
                    <a:pt x="88229" y="112160"/>
                  </a:cubicBezTo>
                  <a:cubicBezTo>
                    <a:pt x="88431" y="113065"/>
                    <a:pt x="89038" y="117286"/>
                    <a:pt x="90252" y="117889"/>
                  </a:cubicBezTo>
                  <a:cubicBezTo>
                    <a:pt x="91467" y="118793"/>
                    <a:pt x="94300" y="120000"/>
                    <a:pt x="94907" y="119698"/>
                  </a:cubicBezTo>
                  <a:cubicBezTo>
                    <a:pt x="95514" y="119698"/>
                    <a:pt x="97740" y="118793"/>
                    <a:pt x="98549" y="117286"/>
                  </a:cubicBezTo>
                  <a:cubicBezTo>
                    <a:pt x="99359" y="115778"/>
                    <a:pt x="99966" y="114271"/>
                    <a:pt x="100978" y="114271"/>
                  </a:cubicBezTo>
                  <a:cubicBezTo>
                    <a:pt x="102192" y="114271"/>
                    <a:pt x="105025" y="114874"/>
                    <a:pt x="106239" y="114572"/>
                  </a:cubicBezTo>
                  <a:cubicBezTo>
                    <a:pt x="107453" y="114271"/>
                    <a:pt x="109072" y="113969"/>
                    <a:pt x="109881" y="114271"/>
                  </a:cubicBezTo>
                  <a:cubicBezTo>
                    <a:pt x="110489" y="114572"/>
                    <a:pt x="113322" y="116984"/>
                    <a:pt x="113726" y="116683"/>
                  </a:cubicBezTo>
                  <a:cubicBezTo>
                    <a:pt x="114131" y="116381"/>
                    <a:pt x="115143" y="113065"/>
                    <a:pt x="116357" y="113366"/>
                  </a:cubicBezTo>
                  <a:cubicBezTo>
                    <a:pt x="117166" y="113668"/>
                    <a:pt x="117774" y="113668"/>
                    <a:pt x="118381" y="113969"/>
                  </a:cubicBezTo>
                  <a:lnTo>
                    <a:pt x="118381" y="11005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6" name="Shape 6940">
              <a:extLst>
                <a:ext uri="{FF2B5EF4-FFF2-40B4-BE49-F238E27FC236}">
                  <a16:creationId xmlns:a16="http://schemas.microsoft.com/office/drawing/2014/main" id="{51237824-E899-4D04-8C8B-B5C6414D0EB8}"/>
                </a:ext>
              </a:extLst>
            </p:cNvPr>
            <p:cNvSpPr/>
            <p:nvPr/>
          </p:nvSpPr>
          <p:spPr>
            <a:xfrm>
              <a:off x="4275830" y="2557290"/>
              <a:ext cx="34729" cy="2986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60000" y="15000"/>
                  </a:moveTo>
                  <a:cubicBezTo>
                    <a:pt x="40000" y="15000"/>
                    <a:pt x="0" y="0"/>
                    <a:pt x="0" y="22500"/>
                  </a:cubicBezTo>
                  <a:cubicBezTo>
                    <a:pt x="0" y="45000"/>
                    <a:pt x="20000" y="37500"/>
                    <a:pt x="40000" y="60000"/>
                  </a:cubicBezTo>
                  <a:cubicBezTo>
                    <a:pt x="60000" y="82500"/>
                    <a:pt x="73333" y="120000"/>
                    <a:pt x="93333" y="97500"/>
                  </a:cubicBezTo>
                  <a:cubicBezTo>
                    <a:pt x="106666" y="75000"/>
                    <a:pt x="120000" y="30000"/>
                    <a:pt x="106666" y="30000"/>
                  </a:cubicBezTo>
                  <a:cubicBezTo>
                    <a:pt x="93333" y="22500"/>
                    <a:pt x="60000" y="15000"/>
                    <a:pt x="60000" y="15000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7" name="Shape 6941">
              <a:extLst>
                <a:ext uri="{FF2B5EF4-FFF2-40B4-BE49-F238E27FC236}">
                  <a16:creationId xmlns:a16="http://schemas.microsoft.com/office/drawing/2014/main" id="{F8783676-9E74-4B7B-8464-66BB863251B8}"/>
                </a:ext>
              </a:extLst>
            </p:cNvPr>
            <p:cNvSpPr/>
            <p:nvPr/>
          </p:nvSpPr>
          <p:spPr>
            <a:xfrm>
              <a:off x="4370374" y="2508766"/>
              <a:ext cx="21223" cy="2613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43636" y="111428"/>
                  </a:moveTo>
                  <a:cubicBezTo>
                    <a:pt x="76363" y="111428"/>
                    <a:pt x="109090" y="102857"/>
                    <a:pt x="109090" y="85714"/>
                  </a:cubicBezTo>
                  <a:cubicBezTo>
                    <a:pt x="120000" y="59999"/>
                    <a:pt x="120000" y="0"/>
                    <a:pt x="87272" y="8571"/>
                  </a:cubicBezTo>
                  <a:cubicBezTo>
                    <a:pt x="65454" y="8571"/>
                    <a:pt x="32727" y="8571"/>
                    <a:pt x="21818" y="25714"/>
                  </a:cubicBezTo>
                  <a:cubicBezTo>
                    <a:pt x="21818" y="51428"/>
                    <a:pt x="0" y="119999"/>
                    <a:pt x="43636" y="111428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8" name="Shape 6942">
              <a:extLst>
                <a:ext uri="{FF2B5EF4-FFF2-40B4-BE49-F238E27FC236}">
                  <a16:creationId xmlns:a16="http://schemas.microsoft.com/office/drawing/2014/main" id="{B77DA7F4-7FD0-4364-B703-0CEA9167ADFF}"/>
                </a:ext>
              </a:extLst>
            </p:cNvPr>
            <p:cNvSpPr/>
            <p:nvPr/>
          </p:nvSpPr>
          <p:spPr>
            <a:xfrm>
              <a:off x="4264253" y="2397718"/>
              <a:ext cx="23153" cy="2799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70000" y="120000"/>
                  </a:moveTo>
                  <a:cubicBezTo>
                    <a:pt x="90000" y="120000"/>
                    <a:pt x="120000" y="120000"/>
                    <a:pt x="120000" y="104000"/>
                  </a:cubicBezTo>
                  <a:cubicBezTo>
                    <a:pt x="120000" y="80000"/>
                    <a:pt x="100000" y="48000"/>
                    <a:pt x="100000" y="48000"/>
                  </a:cubicBezTo>
                  <a:cubicBezTo>
                    <a:pt x="100000" y="24000"/>
                    <a:pt x="80000" y="0"/>
                    <a:pt x="50000" y="24000"/>
                  </a:cubicBezTo>
                  <a:cubicBezTo>
                    <a:pt x="20000" y="40000"/>
                    <a:pt x="0" y="56000"/>
                    <a:pt x="20000" y="80000"/>
                  </a:cubicBezTo>
                  <a:cubicBezTo>
                    <a:pt x="30000" y="104000"/>
                    <a:pt x="60000" y="120000"/>
                    <a:pt x="70000" y="120000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9" name="Shape 6943">
              <a:extLst>
                <a:ext uri="{FF2B5EF4-FFF2-40B4-BE49-F238E27FC236}">
                  <a16:creationId xmlns:a16="http://schemas.microsoft.com/office/drawing/2014/main" id="{A3EA27AE-6079-48A6-AE39-763B8B455D07}"/>
                </a:ext>
              </a:extLst>
            </p:cNvPr>
            <p:cNvSpPr/>
            <p:nvPr/>
          </p:nvSpPr>
          <p:spPr>
            <a:xfrm>
              <a:off x="4293196" y="2330529"/>
              <a:ext cx="34729" cy="1306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20000" y="51428"/>
                  </a:moveTo>
                  <a:cubicBezTo>
                    <a:pt x="40000" y="119999"/>
                    <a:pt x="60000" y="119999"/>
                    <a:pt x="73333" y="119999"/>
                  </a:cubicBezTo>
                  <a:cubicBezTo>
                    <a:pt x="93333" y="119999"/>
                    <a:pt x="120000" y="119999"/>
                    <a:pt x="113333" y="85714"/>
                  </a:cubicBezTo>
                  <a:cubicBezTo>
                    <a:pt x="106666" y="51428"/>
                    <a:pt x="66666" y="0"/>
                    <a:pt x="66666" y="0"/>
                  </a:cubicBezTo>
                  <a:cubicBezTo>
                    <a:pt x="46666" y="0"/>
                    <a:pt x="0" y="0"/>
                    <a:pt x="20000" y="51428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0" name="Shape 6944">
              <a:extLst>
                <a:ext uri="{FF2B5EF4-FFF2-40B4-BE49-F238E27FC236}">
                  <a16:creationId xmlns:a16="http://schemas.microsoft.com/office/drawing/2014/main" id="{973B0E14-0C3D-47C6-AE79-E477AF465C8C}"/>
                </a:ext>
              </a:extLst>
            </p:cNvPr>
            <p:cNvSpPr/>
            <p:nvPr/>
          </p:nvSpPr>
          <p:spPr>
            <a:xfrm>
              <a:off x="4503505" y="2171890"/>
              <a:ext cx="21223" cy="2426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9090" y="92307"/>
                  </a:moveTo>
                  <a:cubicBezTo>
                    <a:pt x="120000" y="73846"/>
                    <a:pt x="120000" y="36923"/>
                    <a:pt x="98181" y="27692"/>
                  </a:cubicBezTo>
                  <a:cubicBezTo>
                    <a:pt x="76363" y="18461"/>
                    <a:pt x="54545" y="0"/>
                    <a:pt x="32727" y="27692"/>
                  </a:cubicBezTo>
                  <a:cubicBezTo>
                    <a:pt x="21818" y="64615"/>
                    <a:pt x="0" y="92307"/>
                    <a:pt x="21818" y="110769"/>
                  </a:cubicBezTo>
                  <a:cubicBezTo>
                    <a:pt x="43636" y="120000"/>
                    <a:pt x="87272" y="120000"/>
                    <a:pt x="109090" y="92307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1" name="Shape 6945">
              <a:extLst>
                <a:ext uri="{FF2B5EF4-FFF2-40B4-BE49-F238E27FC236}">
                  <a16:creationId xmlns:a16="http://schemas.microsoft.com/office/drawing/2014/main" id="{26F1F6D2-4A67-489C-A5F3-7F25DA83D041}"/>
                </a:ext>
              </a:extLst>
            </p:cNvPr>
            <p:cNvSpPr/>
            <p:nvPr/>
          </p:nvSpPr>
          <p:spPr>
            <a:xfrm>
              <a:off x="4682943" y="2175624"/>
              <a:ext cx="42447" cy="4105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3636" y="21818"/>
                  </a:moveTo>
                  <a:cubicBezTo>
                    <a:pt x="87272" y="38181"/>
                    <a:pt x="76363" y="60000"/>
                    <a:pt x="60000" y="65454"/>
                  </a:cubicBezTo>
                  <a:cubicBezTo>
                    <a:pt x="49090" y="70909"/>
                    <a:pt x="0" y="65454"/>
                    <a:pt x="21818" y="87272"/>
                  </a:cubicBezTo>
                  <a:cubicBezTo>
                    <a:pt x="43636" y="103636"/>
                    <a:pt x="49090" y="120000"/>
                    <a:pt x="65454" y="109090"/>
                  </a:cubicBezTo>
                  <a:cubicBezTo>
                    <a:pt x="81818" y="103636"/>
                    <a:pt x="109090" y="76363"/>
                    <a:pt x="109090" y="76363"/>
                  </a:cubicBezTo>
                  <a:cubicBezTo>
                    <a:pt x="120000" y="60000"/>
                    <a:pt x="114545" y="0"/>
                    <a:pt x="103636" y="21818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2" name="Shape 6946">
              <a:extLst>
                <a:ext uri="{FF2B5EF4-FFF2-40B4-BE49-F238E27FC236}">
                  <a16:creationId xmlns:a16="http://schemas.microsoft.com/office/drawing/2014/main" id="{F57AC35B-0CEC-4B84-A61A-55AA8527C61D}"/>
                </a:ext>
              </a:extLst>
            </p:cNvPr>
            <p:cNvSpPr/>
            <p:nvPr/>
          </p:nvSpPr>
          <p:spPr>
            <a:xfrm>
              <a:off x="5014807" y="2112169"/>
              <a:ext cx="21223" cy="18662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9090" y="96000"/>
                  </a:moveTo>
                  <a:cubicBezTo>
                    <a:pt x="120000" y="84000"/>
                    <a:pt x="120000" y="24000"/>
                    <a:pt x="98181" y="12000"/>
                  </a:cubicBezTo>
                  <a:cubicBezTo>
                    <a:pt x="87272" y="0"/>
                    <a:pt x="0" y="0"/>
                    <a:pt x="21818" y="36000"/>
                  </a:cubicBezTo>
                  <a:cubicBezTo>
                    <a:pt x="54545" y="72000"/>
                    <a:pt x="87272" y="120000"/>
                    <a:pt x="109090" y="96000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3" name="Shape 6947">
              <a:extLst>
                <a:ext uri="{FF2B5EF4-FFF2-40B4-BE49-F238E27FC236}">
                  <a16:creationId xmlns:a16="http://schemas.microsoft.com/office/drawing/2014/main" id="{8CF823E7-7CAE-499E-A904-E3559865FDDC}"/>
                </a:ext>
              </a:extLst>
            </p:cNvPr>
            <p:cNvSpPr/>
            <p:nvPr/>
          </p:nvSpPr>
          <p:spPr>
            <a:xfrm>
              <a:off x="4962712" y="2008588"/>
              <a:ext cx="42447" cy="2052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6363" y="54545"/>
                  </a:moveTo>
                  <a:cubicBezTo>
                    <a:pt x="32727" y="76363"/>
                    <a:pt x="60000" y="120000"/>
                    <a:pt x="76363" y="120000"/>
                  </a:cubicBezTo>
                  <a:cubicBezTo>
                    <a:pt x="92727" y="120000"/>
                    <a:pt x="109090" y="98181"/>
                    <a:pt x="114545" y="65454"/>
                  </a:cubicBezTo>
                  <a:cubicBezTo>
                    <a:pt x="114545" y="32727"/>
                    <a:pt x="120000" y="0"/>
                    <a:pt x="109090" y="0"/>
                  </a:cubicBezTo>
                  <a:cubicBezTo>
                    <a:pt x="98181" y="10909"/>
                    <a:pt x="65454" y="10909"/>
                    <a:pt x="65454" y="10909"/>
                  </a:cubicBezTo>
                  <a:cubicBezTo>
                    <a:pt x="54545" y="10909"/>
                    <a:pt x="32727" y="0"/>
                    <a:pt x="21818" y="0"/>
                  </a:cubicBezTo>
                  <a:cubicBezTo>
                    <a:pt x="10909" y="0"/>
                    <a:pt x="0" y="32727"/>
                    <a:pt x="16363" y="54545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4" name="Shape 6948">
              <a:extLst>
                <a:ext uri="{FF2B5EF4-FFF2-40B4-BE49-F238E27FC236}">
                  <a16:creationId xmlns:a16="http://schemas.microsoft.com/office/drawing/2014/main" id="{0E2017B3-457B-4D02-9FC1-3539BB08870A}"/>
                </a:ext>
              </a:extLst>
            </p:cNvPr>
            <p:cNvSpPr/>
            <p:nvPr/>
          </p:nvSpPr>
          <p:spPr>
            <a:xfrm>
              <a:off x="4785203" y="1883543"/>
              <a:ext cx="152425" cy="1913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5189" y="117647"/>
                  </a:moveTo>
                  <a:cubicBezTo>
                    <a:pt x="18227" y="115294"/>
                    <a:pt x="57721" y="94117"/>
                    <a:pt x="63797" y="94117"/>
                  </a:cubicBezTo>
                  <a:cubicBezTo>
                    <a:pt x="68354" y="94117"/>
                    <a:pt x="75949" y="95294"/>
                    <a:pt x="82025" y="92941"/>
                  </a:cubicBezTo>
                  <a:cubicBezTo>
                    <a:pt x="86582" y="90588"/>
                    <a:pt x="100253" y="82352"/>
                    <a:pt x="103291" y="80000"/>
                  </a:cubicBezTo>
                  <a:cubicBezTo>
                    <a:pt x="104810" y="77647"/>
                    <a:pt x="120000" y="63529"/>
                    <a:pt x="120000" y="60000"/>
                  </a:cubicBezTo>
                  <a:cubicBezTo>
                    <a:pt x="118481" y="56470"/>
                    <a:pt x="109367" y="36470"/>
                    <a:pt x="104810" y="36470"/>
                  </a:cubicBezTo>
                  <a:cubicBezTo>
                    <a:pt x="98734" y="36470"/>
                    <a:pt x="94177" y="38823"/>
                    <a:pt x="91139" y="36470"/>
                  </a:cubicBezTo>
                  <a:cubicBezTo>
                    <a:pt x="88101" y="32941"/>
                    <a:pt x="77468" y="21176"/>
                    <a:pt x="77468" y="21176"/>
                  </a:cubicBezTo>
                  <a:cubicBezTo>
                    <a:pt x="77468" y="21176"/>
                    <a:pt x="69873" y="14117"/>
                    <a:pt x="65316" y="18823"/>
                  </a:cubicBezTo>
                  <a:cubicBezTo>
                    <a:pt x="60759" y="24705"/>
                    <a:pt x="56202" y="36470"/>
                    <a:pt x="54683" y="31764"/>
                  </a:cubicBezTo>
                  <a:cubicBezTo>
                    <a:pt x="53164" y="28235"/>
                    <a:pt x="54683" y="20000"/>
                    <a:pt x="53164" y="15294"/>
                  </a:cubicBezTo>
                  <a:cubicBezTo>
                    <a:pt x="53164" y="10588"/>
                    <a:pt x="50126" y="4705"/>
                    <a:pt x="48607" y="2352"/>
                  </a:cubicBezTo>
                  <a:cubicBezTo>
                    <a:pt x="48607" y="1176"/>
                    <a:pt x="45569" y="0"/>
                    <a:pt x="42531" y="0"/>
                  </a:cubicBezTo>
                  <a:cubicBezTo>
                    <a:pt x="37974" y="0"/>
                    <a:pt x="25822" y="7058"/>
                    <a:pt x="24303" y="12941"/>
                  </a:cubicBezTo>
                  <a:cubicBezTo>
                    <a:pt x="24303" y="17647"/>
                    <a:pt x="28860" y="20000"/>
                    <a:pt x="25822" y="24705"/>
                  </a:cubicBezTo>
                  <a:cubicBezTo>
                    <a:pt x="22784" y="29411"/>
                    <a:pt x="16708" y="29411"/>
                    <a:pt x="18227" y="32941"/>
                  </a:cubicBezTo>
                  <a:cubicBezTo>
                    <a:pt x="19746" y="36470"/>
                    <a:pt x="22784" y="52941"/>
                    <a:pt x="19746" y="55294"/>
                  </a:cubicBezTo>
                  <a:cubicBezTo>
                    <a:pt x="15189" y="56470"/>
                    <a:pt x="12151" y="60000"/>
                    <a:pt x="12151" y="63529"/>
                  </a:cubicBezTo>
                  <a:cubicBezTo>
                    <a:pt x="12151" y="65882"/>
                    <a:pt x="13670" y="78823"/>
                    <a:pt x="12151" y="82352"/>
                  </a:cubicBezTo>
                  <a:cubicBezTo>
                    <a:pt x="10632" y="85882"/>
                    <a:pt x="0" y="114117"/>
                    <a:pt x="3037" y="117647"/>
                  </a:cubicBezTo>
                  <a:cubicBezTo>
                    <a:pt x="6075" y="120000"/>
                    <a:pt x="10632" y="120000"/>
                    <a:pt x="15189" y="117647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5" name="Shape 6949">
              <a:extLst>
                <a:ext uri="{FF2B5EF4-FFF2-40B4-BE49-F238E27FC236}">
                  <a16:creationId xmlns:a16="http://schemas.microsoft.com/office/drawing/2014/main" id="{DB70EAB4-E5AD-4B67-A24D-31AAE6C69557}"/>
                </a:ext>
              </a:extLst>
            </p:cNvPr>
            <p:cNvSpPr/>
            <p:nvPr/>
          </p:nvSpPr>
          <p:spPr>
            <a:xfrm>
              <a:off x="4603836" y="1799559"/>
              <a:ext cx="181368" cy="17916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26808" y="17500"/>
                  </a:moveTo>
                  <a:cubicBezTo>
                    <a:pt x="26808" y="21250"/>
                    <a:pt x="22978" y="32500"/>
                    <a:pt x="19148" y="36250"/>
                  </a:cubicBezTo>
                  <a:cubicBezTo>
                    <a:pt x="16595" y="40000"/>
                    <a:pt x="14042" y="42500"/>
                    <a:pt x="14042" y="45000"/>
                  </a:cubicBezTo>
                  <a:cubicBezTo>
                    <a:pt x="14042" y="48750"/>
                    <a:pt x="16595" y="53750"/>
                    <a:pt x="14042" y="56250"/>
                  </a:cubicBezTo>
                  <a:cubicBezTo>
                    <a:pt x="11489" y="57500"/>
                    <a:pt x="0" y="62500"/>
                    <a:pt x="3829" y="67500"/>
                  </a:cubicBezTo>
                  <a:cubicBezTo>
                    <a:pt x="7659" y="71250"/>
                    <a:pt x="10212" y="70000"/>
                    <a:pt x="14042" y="70000"/>
                  </a:cubicBezTo>
                  <a:cubicBezTo>
                    <a:pt x="16595" y="70000"/>
                    <a:pt x="20425" y="67500"/>
                    <a:pt x="21702" y="72500"/>
                  </a:cubicBezTo>
                  <a:cubicBezTo>
                    <a:pt x="24255" y="77500"/>
                    <a:pt x="22978" y="83750"/>
                    <a:pt x="25531" y="87500"/>
                  </a:cubicBezTo>
                  <a:cubicBezTo>
                    <a:pt x="26808" y="91250"/>
                    <a:pt x="30638" y="97500"/>
                    <a:pt x="34468" y="97500"/>
                  </a:cubicBezTo>
                  <a:cubicBezTo>
                    <a:pt x="37021" y="98750"/>
                    <a:pt x="53617" y="97500"/>
                    <a:pt x="53617" y="101250"/>
                  </a:cubicBezTo>
                  <a:cubicBezTo>
                    <a:pt x="53617" y="105000"/>
                    <a:pt x="52340" y="112500"/>
                    <a:pt x="56170" y="110000"/>
                  </a:cubicBezTo>
                  <a:cubicBezTo>
                    <a:pt x="60000" y="108750"/>
                    <a:pt x="67659" y="102500"/>
                    <a:pt x="70212" y="106250"/>
                  </a:cubicBezTo>
                  <a:cubicBezTo>
                    <a:pt x="74042" y="111250"/>
                    <a:pt x="79148" y="112500"/>
                    <a:pt x="80425" y="115000"/>
                  </a:cubicBezTo>
                  <a:cubicBezTo>
                    <a:pt x="82978" y="116250"/>
                    <a:pt x="93191" y="120000"/>
                    <a:pt x="95744" y="118750"/>
                  </a:cubicBezTo>
                  <a:cubicBezTo>
                    <a:pt x="98297" y="118750"/>
                    <a:pt x="107234" y="116250"/>
                    <a:pt x="111063" y="113750"/>
                  </a:cubicBezTo>
                  <a:cubicBezTo>
                    <a:pt x="114893" y="110000"/>
                    <a:pt x="120000" y="106250"/>
                    <a:pt x="118723" y="102500"/>
                  </a:cubicBezTo>
                  <a:cubicBezTo>
                    <a:pt x="117446" y="98750"/>
                    <a:pt x="98297" y="75000"/>
                    <a:pt x="102127" y="72500"/>
                  </a:cubicBezTo>
                  <a:cubicBezTo>
                    <a:pt x="105957" y="70000"/>
                    <a:pt x="108510" y="66250"/>
                    <a:pt x="111063" y="62500"/>
                  </a:cubicBezTo>
                  <a:cubicBezTo>
                    <a:pt x="112340" y="57500"/>
                    <a:pt x="113617" y="55000"/>
                    <a:pt x="112340" y="51250"/>
                  </a:cubicBezTo>
                  <a:cubicBezTo>
                    <a:pt x="111063" y="47500"/>
                    <a:pt x="109787" y="41250"/>
                    <a:pt x="109787" y="37500"/>
                  </a:cubicBezTo>
                  <a:cubicBezTo>
                    <a:pt x="109787" y="35000"/>
                    <a:pt x="111063" y="25000"/>
                    <a:pt x="108510" y="23750"/>
                  </a:cubicBezTo>
                  <a:cubicBezTo>
                    <a:pt x="107234" y="21250"/>
                    <a:pt x="91914" y="11250"/>
                    <a:pt x="89361" y="15000"/>
                  </a:cubicBezTo>
                  <a:cubicBezTo>
                    <a:pt x="85531" y="18750"/>
                    <a:pt x="77872" y="35000"/>
                    <a:pt x="74042" y="33750"/>
                  </a:cubicBezTo>
                  <a:cubicBezTo>
                    <a:pt x="70212" y="32500"/>
                    <a:pt x="74042" y="30000"/>
                    <a:pt x="74042" y="23750"/>
                  </a:cubicBezTo>
                  <a:cubicBezTo>
                    <a:pt x="74042" y="17500"/>
                    <a:pt x="75319" y="10000"/>
                    <a:pt x="75319" y="10000"/>
                  </a:cubicBezTo>
                  <a:cubicBezTo>
                    <a:pt x="75319" y="5000"/>
                    <a:pt x="76595" y="0"/>
                    <a:pt x="71489" y="1250"/>
                  </a:cubicBezTo>
                  <a:cubicBezTo>
                    <a:pt x="65106" y="2500"/>
                    <a:pt x="42127" y="10000"/>
                    <a:pt x="38297" y="11250"/>
                  </a:cubicBezTo>
                  <a:cubicBezTo>
                    <a:pt x="34468" y="12500"/>
                    <a:pt x="28085" y="13750"/>
                    <a:pt x="26808" y="17500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6" name="Shape 6950">
              <a:extLst>
                <a:ext uri="{FF2B5EF4-FFF2-40B4-BE49-F238E27FC236}">
                  <a16:creationId xmlns:a16="http://schemas.microsoft.com/office/drawing/2014/main" id="{7C1AD92A-7255-4FFD-8734-9AFDB8971C6F}"/>
                </a:ext>
              </a:extLst>
            </p:cNvPr>
            <p:cNvSpPr/>
            <p:nvPr/>
          </p:nvSpPr>
          <p:spPr>
            <a:xfrm>
              <a:off x="4559459" y="1818220"/>
              <a:ext cx="63671" cy="5598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909" y="84000"/>
                  </a:moveTo>
                  <a:cubicBezTo>
                    <a:pt x="21818" y="88000"/>
                    <a:pt x="40000" y="84000"/>
                    <a:pt x="47272" y="96000"/>
                  </a:cubicBezTo>
                  <a:cubicBezTo>
                    <a:pt x="54545" y="108000"/>
                    <a:pt x="61818" y="120000"/>
                    <a:pt x="69090" y="112000"/>
                  </a:cubicBezTo>
                  <a:cubicBezTo>
                    <a:pt x="76363" y="108000"/>
                    <a:pt x="90909" y="96000"/>
                    <a:pt x="98181" y="80000"/>
                  </a:cubicBezTo>
                  <a:cubicBezTo>
                    <a:pt x="101818" y="64000"/>
                    <a:pt x="120000" y="52000"/>
                    <a:pt x="105454" y="40000"/>
                  </a:cubicBezTo>
                  <a:cubicBezTo>
                    <a:pt x="90909" y="28000"/>
                    <a:pt x="47272" y="12000"/>
                    <a:pt x="47272" y="12000"/>
                  </a:cubicBezTo>
                  <a:cubicBezTo>
                    <a:pt x="32727" y="12000"/>
                    <a:pt x="3636" y="0"/>
                    <a:pt x="3636" y="20000"/>
                  </a:cubicBezTo>
                  <a:cubicBezTo>
                    <a:pt x="3636" y="36000"/>
                    <a:pt x="0" y="76000"/>
                    <a:pt x="10909" y="84000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7" name="Shape 6951">
              <a:extLst>
                <a:ext uri="{FF2B5EF4-FFF2-40B4-BE49-F238E27FC236}">
                  <a16:creationId xmlns:a16="http://schemas.microsoft.com/office/drawing/2014/main" id="{3F447505-E2D2-4F27-A063-A8A9BF88859C}"/>
                </a:ext>
              </a:extLst>
            </p:cNvPr>
            <p:cNvSpPr/>
            <p:nvPr/>
          </p:nvSpPr>
          <p:spPr>
            <a:xfrm>
              <a:off x="4572964" y="1657717"/>
              <a:ext cx="135061" cy="171702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3714" y="93913"/>
                  </a:moveTo>
                  <a:cubicBezTo>
                    <a:pt x="15428" y="97826"/>
                    <a:pt x="18857" y="104347"/>
                    <a:pt x="22285" y="106956"/>
                  </a:cubicBezTo>
                  <a:cubicBezTo>
                    <a:pt x="25714" y="109565"/>
                    <a:pt x="36000" y="120000"/>
                    <a:pt x="42857" y="116086"/>
                  </a:cubicBezTo>
                  <a:cubicBezTo>
                    <a:pt x="48000" y="112173"/>
                    <a:pt x="49714" y="105652"/>
                    <a:pt x="58285" y="105652"/>
                  </a:cubicBezTo>
                  <a:cubicBezTo>
                    <a:pt x="66857" y="105652"/>
                    <a:pt x="70285" y="104347"/>
                    <a:pt x="77142" y="101739"/>
                  </a:cubicBezTo>
                  <a:cubicBezTo>
                    <a:pt x="82285" y="100434"/>
                    <a:pt x="92571" y="95217"/>
                    <a:pt x="101142" y="93913"/>
                  </a:cubicBezTo>
                  <a:cubicBezTo>
                    <a:pt x="108000" y="92608"/>
                    <a:pt x="113142" y="92608"/>
                    <a:pt x="111428" y="88695"/>
                  </a:cubicBezTo>
                  <a:cubicBezTo>
                    <a:pt x="111428" y="83478"/>
                    <a:pt x="106285" y="71739"/>
                    <a:pt x="106285" y="67826"/>
                  </a:cubicBezTo>
                  <a:cubicBezTo>
                    <a:pt x="106285" y="63913"/>
                    <a:pt x="106285" y="56086"/>
                    <a:pt x="111428" y="52173"/>
                  </a:cubicBezTo>
                  <a:cubicBezTo>
                    <a:pt x="116571" y="46956"/>
                    <a:pt x="120000" y="45652"/>
                    <a:pt x="114857" y="40434"/>
                  </a:cubicBezTo>
                  <a:cubicBezTo>
                    <a:pt x="109714" y="35217"/>
                    <a:pt x="87428" y="26086"/>
                    <a:pt x="85714" y="20869"/>
                  </a:cubicBezTo>
                  <a:cubicBezTo>
                    <a:pt x="84000" y="15652"/>
                    <a:pt x="80571" y="9130"/>
                    <a:pt x="75428" y="7826"/>
                  </a:cubicBezTo>
                  <a:cubicBezTo>
                    <a:pt x="68571" y="5217"/>
                    <a:pt x="58285" y="0"/>
                    <a:pt x="56571" y="5217"/>
                  </a:cubicBezTo>
                  <a:cubicBezTo>
                    <a:pt x="54857" y="10434"/>
                    <a:pt x="56571" y="14347"/>
                    <a:pt x="53142" y="16956"/>
                  </a:cubicBezTo>
                  <a:cubicBezTo>
                    <a:pt x="48000" y="20869"/>
                    <a:pt x="15428" y="31304"/>
                    <a:pt x="15428" y="33913"/>
                  </a:cubicBezTo>
                  <a:cubicBezTo>
                    <a:pt x="15428" y="36521"/>
                    <a:pt x="13714" y="46956"/>
                    <a:pt x="15428" y="49565"/>
                  </a:cubicBezTo>
                  <a:cubicBezTo>
                    <a:pt x="18857" y="52173"/>
                    <a:pt x="27428" y="56086"/>
                    <a:pt x="22285" y="58695"/>
                  </a:cubicBezTo>
                  <a:cubicBezTo>
                    <a:pt x="15428" y="62608"/>
                    <a:pt x="12000" y="66521"/>
                    <a:pt x="8571" y="70434"/>
                  </a:cubicBezTo>
                  <a:cubicBezTo>
                    <a:pt x="5142" y="73043"/>
                    <a:pt x="0" y="79565"/>
                    <a:pt x="5142" y="83478"/>
                  </a:cubicBezTo>
                  <a:cubicBezTo>
                    <a:pt x="12000" y="87391"/>
                    <a:pt x="12000" y="90000"/>
                    <a:pt x="13714" y="93913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8" name="Shape 6952">
              <a:extLst>
                <a:ext uri="{FF2B5EF4-FFF2-40B4-BE49-F238E27FC236}">
                  <a16:creationId xmlns:a16="http://schemas.microsoft.com/office/drawing/2014/main" id="{498715C9-78A8-4805-8F5D-61A48DAB7BCF}"/>
                </a:ext>
              </a:extLst>
            </p:cNvPr>
            <p:cNvSpPr/>
            <p:nvPr/>
          </p:nvSpPr>
          <p:spPr>
            <a:xfrm>
              <a:off x="4196723" y="1840618"/>
              <a:ext cx="28943" cy="2986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40000" y="90000"/>
                  </a:moveTo>
                  <a:cubicBezTo>
                    <a:pt x="64000" y="112500"/>
                    <a:pt x="88000" y="120000"/>
                    <a:pt x="96000" y="97500"/>
                  </a:cubicBezTo>
                  <a:cubicBezTo>
                    <a:pt x="104000" y="75000"/>
                    <a:pt x="120000" y="97500"/>
                    <a:pt x="104000" y="75000"/>
                  </a:cubicBezTo>
                  <a:cubicBezTo>
                    <a:pt x="88000" y="45000"/>
                    <a:pt x="56000" y="37500"/>
                    <a:pt x="56000" y="37500"/>
                  </a:cubicBezTo>
                  <a:cubicBezTo>
                    <a:pt x="32000" y="22500"/>
                    <a:pt x="8000" y="0"/>
                    <a:pt x="0" y="30000"/>
                  </a:cubicBezTo>
                  <a:cubicBezTo>
                    <a:pt x="0" y="60000"/>
                    <a:pt x="16000" y="60000"/>
                    <a:pt x="40000" y="90000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9" name="Shape 6953">
              <a:extLst>
                <a:ext uri="{FF2B5EF4-FFF2-40B4-BE49-F238E27FC236}">
                  <a16:creationId xmlns:a16="http://schemas.microsoft.com/office/drawing/2014/main" id="{CC5F3276-CF66-4475-BC89-DC635398C790}"/>
                </a:ext>
              </a:extLst>
            </p:cNvPr>
            <p:cNvSpPr/>
            <p:nvPr/>
          </p:nvSpPr>
          <p:spPr>
            <a:xfrm>
              <a:off x="4536304" y="1670782"/>
              <a:ext cx="28943" cy="2613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40000" y="111428"/>
                  </a:moveTo>
                  <a:cubicBezTo>
                    <a:pt x="56000" y="94285"/>
                    <a:pt x="88000" y="85714"/>
                    <a:pt x="104000" y="59999"/>
                  </a:cubicBezTo>
                  <a:cubicBezTo>
                    <a:pt x="120000" y="25714"/>
                    <a:pt x="88000" y="17142"/>
                    <a:pt x="72000" y="8571"/>
                  </a:cubicBezTo>
                  <a:cubicBezTo>
                    <a:pt x="56000" y="0"/>
                    <a:pt x="0" y="17142"/>
                    <a:pt x="0" y="51428"/>
                  </a:cubicBezTo>
                  <a:cubicBezTo>
                    <a:pt x="8000" y="85714"/>
                    <a:pt x="16000" y="119999"/>
                    <a:pt x="40000" y="111428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0" name="Shape 6954">
              <a:extLst>
                <a:ext uri="{FF2B5EF4-FFF2-40B4-BE49-F238E27FC236}">
                  <a16:creationId xmlns:a16="http://schemas.microsoft.com/office/drawing/2014/main" id="{47235546-DCFF-464D-A089-D2053BCBC59B}"/>
                </a:ext>
              </a:extLst>
            </p:cNvPr>
            <p:cNvSpPr/>
            <p:nvPr/>
          </p:nvSpPr>
          <p:spPr>
            <a:xfrm>
              <a:off x="5257917" y="2408915"/>
              <a:ext cx="67530" cy="5319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3714" y="47142"/>
                  </a:moveTo>
                  <a:cubicBezTo>
                    <a:pt x="13714" y="64285"/>
                    <a:pt x="0" y="85714"/>
                    <a:pt x="13714" y="89999"/>
                  </a:cubicBezTo>
                  <a:cubicBezTo>
                    <a:pt x="27428" y="89999"/>
                    <a:pt x="44571" y="72857"/>
                    <a:pt x="44571" y="89999"/>
                  </a:cubicBezTo>
                  <a:cubicBezTo>
                    <a:pt x="48000" y="107142"/>
                    <a:pt x="41142" y="119999"/>
                    <a:pt x="54857" y="115714"/>
                  </a:cubicBezTo>
                  <a:cubicBezTo>
                    <a:pt x="68571" y="115714"/>
                    <a:pt x="102857" y="89999"/>
                    <a:pt x="109714" y="72857"/>
                  </a:cubicBezTo>
                  <a:cubicBezTo>
                    <a:pt x="120000" y="59999"/>
                    <a:pt x="120000" y="38571"/>
                    <a:pt x="120000" y="25714"/>
                  </a:cubicBezTo>
                  <a:cubicBezTo>
                    <a:pt x="120000" y="17142"/>
                    <a:pt x="109714" y="0"/>
                    <a:pt x="102857" y="4285"/>
                  </a:cubicBezTo>
                  <a:cubicBezTo>
                    <a:pt x="96000" y="4285"/>
                    <a:pt x="61714" y="4285"/>
                    <a:pt x="54857" y="8571"/>
                  </a:cubicBezTo>
                  <a:cubicBezTo>
                    <a:pt x="44571" y="12857"/>
                    <a:pt x="17142" y="34285"/>
                    <a:pt x="13714" y="47142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1" name="Shape 6955">
              <a:extLst>
                <a:ext uri="{FF2B5EF4-FFF2-40B4-BE49-F238E27FC236}">
                  <a16:creationId xmlns:a16="http://schemas.microsoft.com/office/drawing/2014/main" id="{4193B4BC-D714-47E3-9B52-EA24E1E3002A}"/>
                </a:ext>
              </a:extLst>
            </p:cNvPr>
            <p:cNvSpPr/>
            <p:nvPr/>
          </p:nvSpPr>
          <p:spPr>
            <a:xfrm>
              <a:off x="4378090" y="4747432"/>
              <a:ext cx="283628" cy="46938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2448" y="111394"/>
                  </a:moveTo>
                  <a:cubicBezTo>
                    <a:pt x="1632" y="111872"/>
                    <a:pt x="0" y="112828"/>
                    <a:pt x="0" y="112828"/>
                  </a:cubicBezTo>
                  <a:cubicBezTo>
                    <a:pt x="816" y="113784"/>
                    <a:pt x="8979" y="119043"/>
                    <a:pt x="10612" y="119521"/>
                  </a:cubicBezTo>
                  <a:cubicBezTo>
                    <a:pt x="11428" y="119521"/>
                    <a:pt x="12244" y="119521"/>
                    <a:pt x="13061" y="119521"/>
                  </a:cubicBezTo>
                  <a:cubicBezTo>
                    <a:pt x="13877" y="119521"/>
                    <a:pt x="16326" y="120000"/>
                    <a:pt x="17142" y="120000"/>
                  </a:cubicBezTo>
                  <a:cubicBezTo>
                    <a:pt x="17959" y="120000"/>
                    <a:pt x="17959" y="119521"/>
                    <a:pt x="17959" y="119043"/>
                  </a:cubicBezTo>
                  <a:cubicBezTo>
                    <a:pt x="21224" y="114262"/>
                    <a:pt x="23673" y="111872"/>
                    <a:pt x="26122" y="112350"/>
                  </a:cubicBezTo>
                  <a:cubicBezTo>
                    <a:pt x="26938" y="112350"/>
                    <a:pt x="27755" y="112350"/>
                    <a:pt x="27755" y="112350"/>
                  </a:cubicBezTo>
                  <a:cubicBezTo>
                    <a:pt x="29387" y="112350"/>
                    <a:pt x="30204" y="112350"/>
                    <a:pt x="31836" y="112828"/>
                  </a:cubicBezTo>
                  <a:cubicBezTo>
                    <a:pt x="35918" y="109960"/>
                    <a:pt x="35918" y="109960"/>
                    <a:pt x="35918" y="109960"/>
                  </a:cubicBezTo>
                  <a:cubicBezTo>
                    <a:pt x="35918" y="109960"/>
                    <a:pt x="36734" y="109482"/>
                    <a:pt x="37551" y="109960"/>
                  </a:cubicBezTo>
                  <a:cubicBezTo>
                    <a:pt x="45714" y="110916"/>
                    <a:pt x="55510" y="112350"/>
                    <a:pt x="57142" y="111872"/>
                  </a:cubicBezTo>
                  <a:cubicBezTo>
                    <a:pt x="58775" y="111872"/>
                    <a:pt x="66122" y="107091"/>
                    <a:pt x="66938" y="106135"/>
                  </a:cubicBezTo>
                  <a:cubicBezTo>
                    <a:pt x="66938" y="105657"/>
                    <a:pt x="67755" y="101354"/>
                    <a:pt x="67755" y="99442"/>
                  </a:cubicBezTo>
                  <a:cubicBezTo>
                    <a:pt x="67755" y="98007"/>
                    <a:pt x="71020" y="97051"/>
                    <a:pt x="75918" y="95617"/>
                  </a:cubicBezTo>
                  <a:cubicBezTo>
                    <a:pt x="77551" y="95139"/>
                    <a:pt x="79183" y="94661"/>
                    <a:pt x="80000" y="94183"/>
                  </a:cubicBezTo>
                  <a:cubicBezTo>
                    <a:pt x="81632" y="93227"/>
                    <a:pt x="85714" y="87968"/>
                    <a:pt x="88163" y="86055"/>
                  </a:cubicBezTo>
                  <a:cubicBezTo>
                    <a:pt x="88979" y="84621"/>
                    <a:pt x="89795" y="84143"/>
                    <a:pt x="89795" y="83665"/>
                  </a:cubicBezTo>
                  <a:cubicBezTo>
                    <a:pt x="91428" y="82709"/>
                    <a:pt x="99591" y="80796"/>
                    <a:pt x="99591" y="80796"/>
                  </a:cubicBezTo>
                  <a:cubicBezTo>
                    <a:pt x="100408" y="80318"/>
                    <a:pt x="104489" y="77928"/>
                    <a:pt x="106122" y="76972"/>
                  </a:cubicBezTo>
                  <a:cubicBezTo>
                    <a:pt x="106122" y="76494"/>
                    <a:pt x="106938" y="76494"/>
                    <a:pt x="107755" y="76015"/>
                  </a:cubicBezTo>
                  <a:cubicBezTo>
                    <a:pt x="108571" y="75537"/>
                    <a:pt x="107755" y="71235"/>
                    <a:pt x="106938" y="69322"/>
                  </a:cubicBezTo>
                  <a:cubicBezTo>
                    <a:pt x="106938" y="67888"/>
                    <a:pt x="108571" y="66932"/>
                    <a:pt x="114285" y="64541"/>
                  </a:cubicBezTo>
                  <a:cubicBezTo>
                    <a:pt x="115918" y="64063"/>
                    <a:pt x="116734" y="63585"/>
                    <a:pt x="116734" y="63585"/>
                  </a:cubicBezTo>
                  <a:cubicBezTo>
                    <a:pt x="117551" y="62629"/>
                    <a:pt x="119183" y="58326"/>
                    <a:pt x="120000" y="56414"/>
                  </a:cubicBezTo>
                  <a:cubicBezTo>
                    <a:pt x="120000" y="55936"/>
                    <a:pt x="119183" y="54501"/>
                    <a:pt x="117551" y="53067"/>
                  </a:cubicBezTo>
                  <a:cubicBezTo>
                    <a:pt x="117551" y="52589"/>
                    <a:pt x="116734" y="51633"/>
                    <a:pt x="116734" y="51155"/>
                  </a:cubicBezTo>
                  <a:cubicBezTo>
                    <a:pt x="115102" y="49243"/>
                    <a:pt x="115918" y="46852"/>
                    <a:pt x="115918" y="45418"/>
                  </a:cubicBezTo>
                  <a:cubicBezTo>
                    <a:pt x="115918" y="44940"/>
                    <a:pt x="116734" y="44462"/>
                    <a:pt x="116734" y="44462"/>
                  </a:cubicBezTo>
                  <a:cubicBezTo>
                    <a:pt x="115918" y="43505"/>
                    <a:pt x="108571" y="39681"/>
                    <a:pt x="106122" y="38247"/>
                  </a:cubicBezTo>
                  <a:cubicBezTo>
                    <a:pt x="103673" y="37290"/>
                    <a:pt x="102857" y="34422"/>
                    <a:pt x="101224" y="30597"/>
                  </a:cubicBezTo>
                  <a:cubicBezTo>
                    <a:pt x="101224" y="30119"/>
                    <a:pt x="101224" y="29641"/>
                    <a:pt x="101224" y="29641"/>
                  </a:cubicBezTo>
                  <a:cubicBezTo>
                    <a:pt x="100408" y="29163"/>
                    <a:pt x="98775" y="28207"/>
                    <a:pt x="97142" y="27250"/>
                  </a:cubicBezTo>
                  <a:cubicBezTo>
                    <a:pt x="93061" y="24860"/>
                    <a:pt x="89795" y="23426"/>
                    <a:pt x="88979" y="22470"/>
                  </a:cubicBezTo>
                  <a:cubicBezTo>
                    <a:pt x="87346" y="20557"/>
                    <a:pt x="89795" y="17689"/>
                    <a:pt x="92244" y="14342"/>
                  </a:cubicBezTo>
                  <a:cubicBezTo>
                    <a:pt x="93061" y="13386"/>
                    <a:pt x="93061" y="13386"/>
                    <a:pt x="93061" y="13386"/>
                  </a:cubicBezTo>
                  <a:cubicBezTo>
                    <a:pt x="93877" y="12430"/>
                    <a:pt x="92244" y="10996"/>
                    <a:pt x="90612" y="10517"/>
                  </a:cubicBezTo>
                  <a:cubicBezTo>
                    <a:pt x="88163" y="10996"/>
                    <a:pt x="83265" y="12430"/>
                    <a:pt x="80816" y="12430"/>
                  </a:cubicBezTo>
                  <a:cubicBezTo>
                    <a:pt x="77551" y="13386"/>
                    <a:pt x="65306" y="11474"/>
                    <a:pt x="65306" y="11474"/>
                  </a:cubicBezTo>
                  <a:cubicBezTo>
                    <a:pt x="64489" y="11474"/>
                    <a:pt x="62857" y="11952"/>
                    <a:pt x="61224" y="12908"/>
                  </a:cubicBezTo>
                  <a:cubicBezTo>
                    <a:pt x="60408" y="13386"/>
                    <a:pt x="59591" y="13864"/>
                    <a:pt x="58775" y="14342"/>
                  </a:cubicBezTo>
                  <a:cubicBezTo>
                    <a:pt x="55510" y="15776"/>
                    <a:pt x="48163" y="13864"/>
                    <a:pt x="45714" y="12908"/>
                  </a:cubicBezTo>
                  <a:cubicBezTo>
                    <a:pt x="43265" y="11952"/>
                    <a:pt x="40000" y="10039"/>
                    <a:pt x="36734" y="7649"/>
                  </a:cubicBezTo>
                  <a:cubicBezTo>
                    <a:pt x="35102" y="6215"/>
                    <a:pt x="31020" y="1912"/>
                    <a:pt x="29387" y="0"/>
                  </a:cubicBezTo>
                  <a:cubicBezTo>
                    <a:pt x="22857" y="2868"/>
                    <a:pt x="22040" y="3824"/>
                    <a:pt x="22040" y="3824"/>
                  </a:cubicBezTo>
                  <a:cubicBezTo>
                    <a:pt x="22857" y="4302"/>
                    <a:pt x="24489" y="6215"/>
                    <a:pt x="26122" y="8127"/>
                  </a:cubicBezTo>
                  <a:cubicBezTo>
                    <a:pt x="28571" y="10996"/>
                    <a:pt x="30204" y="12908"/>
                    <a:pt x="30204" y="13864"/>
                  </a:cubicBezTo>
                  <a:cubicBezTo>
                    <a:pt x="31020" y="14342"/>
                    <a:pt x="31020" y="14342"/>
                    <a:pt x="31020" y="14342"/>
                  </a:cubicBezTo>
                  <a:cubicBezTo>
                    <a:pt x="31020" y="15298"/>
                    <a:pt x="31836" y="16733"/>
                    <a:pt x="31020" y="18167"/>
                  </a:cubicBezTo>
                  <a:cubicBezTo>
                    <a:pt x="31020" y="18645"/>
                    <a:pt x="31020" y="19601"/>
                    <a:pt x="31020" y="20079"/>
                  </a:cubicBezTo>
                  <a:cubicBezTo>
                    <a:pt x="30204" y="21035"/>
                    <a:pt x="30204" y="21992"/>
                    <a:pt x="30204" y="22948"/>
                  </a:cubicBezTo>
                  <a:cubicBezTo>
                    <a:pt x="30204" y="23904"/>
                    <a:pt x="28571" y="28685"/>
                    <a:pt x="26122" y="29163"/>
                  </a:cubicBezTo>
                  <a:cubicBezTo>
                    <a:pt x="25306" y="29641"/>
                    <a:pt x="25306" y="29641"/>
                    <a:pt x="24489" y="29641"/>
                  </a:cubicBezTo>
                  <a:cubicBezTo>
                    <a:pt x="23673" y="29641"/>
                    <a:pt x="22040" y="30119"/>
                    <a:pt x="21224" y="30119"/>
                  </a:cubicBezTo>
                  <a:cubicBezTo>
                    <a:pt x="23673" y="32509"/>
                    <a:pt x="25306" y="33466"/>
                    <a:pt x="26122" y="33466"/>
                  </a:cubicBezTo>
                  <a:cubicBezTo>
                    <a:pt x="26938" y="33466"/>
                    <a:pt x="26938" y="32988"/>
                    <a:pt x="26938" y="32988"/>
                  </a:cubicBezTo>
                  <a:cubicBezTo>
                    <a:pt x="28571" y="31553"/>
                    <a:pt x="30204" y="30119"/>
                    <a:pt x="32653" y="30119"/>
                  </a:cubicBezTo>
                  <a:cubicBezTo>
                    <a:pt x="35918" y="30119"/>
                    <a:pt x="44081" y="30119"/>
                    <a:pt x="44081" y="32988"/>
                  </a:cubicBezTo>
                  <a:cubicBezTo>
                    <a:pt x="44081" y="34900"/>
                    <a:pt x="43265" y="36334"/>
                    <a:pt x="41632" y="37768"/>
                  </a:cubicBezTo>
                  <a:cubicBezTo>
                    <a:pt x="40816" y="38247"/>
                    <a:pt x="40816" y="39681"/>
                    <a:pt x="40000" y="40637"/>
                  </a:cubicBezTo>
                  <a:cubicBezTo>
                    <a:pt x="40000" y="41115"/>
                    <a:pt x="40000" y="41115"/>
                    <a:pt x="40000" y="41115"/>
                  </a:cubicBezTo>
                  <a:cubicBezTo>
                    <a:pt x="40000" y="41593"/>
                    <a:pt x="40000" y="42549"/>
                    <a:pt x="40000" y="43505"/>
                  </a:cubicBezTo>
                  <a:cubicBezTo>
                    <a:pt x="40000" y="46374"/>
                    <a:pt x="39183" y="48286"/>
                    <a:pt x="38367" y="49243"/>
                  </a:cubicBezTo>
                  <a:cubicBezTo>
                    <a:pt x="38367" y="49721"/>
                    <a:pt x="36734" y="50677"/>
                    <a:pt x="35918" y="51633"/>
                  </a:cubicBezTo>
                  <a:cubicBezTo>
                    <a:pt x="34285" y="53067"/>
                    <a:pt x="30204" y="55936"/>
                    <a:pt x="30204" y="56414"/>
                  </a:cubicBezTo>
                  <a:cubicBezTo>
                    <a:pt x="31020" y="56892"/>
                    <a:pt x="31836" y="57370"/>
                    <a:pt x="32653" y="57848"/>
                  </a:cubicBezTo>
                  <a:cubicBezTo>
                    <a:pt x="38367" y="61673"/>
                    <a:pt x="41632" y="63585"/>
                    <a:pt x="40816" y="65019"/>
                  </a:cubicBezTo>
                  <a:cubicBezTo>
                    <a:pt x="40816" y="65498"/>
                    <a:pt x="40816" y="65498"/>
                    <a:pt x="40000" y="65976"/>
                  </a:cubicBezTo>
                  <a:cubicBezTo>
                    <a:pt x="38367" y="66454"/>
                    <a:pt x="36734" y="67888"/>
                    <a:pt x="36734" y="68366"/>
                  </a:cubicBezTo>
                  <a:cubicBezTo>
                    <a:pt x="36734" y="71713"/>
                    <a:pt x="36734" y="72669"/>
                    <a:pt x="37551" y="72669"/>
                  </a:cubicBezTo>
                  <a:cubicBezTo>
                    <a:pt x="37551" y="73147"/>
                    <a:pt x="37551" y="73147"/>
                    <a:pt x="37551" y="73147"/>
                  </a:cubicBezTo>
                  <a:cubicBezTo>
                    <a:pt x="41632" y="76015"/>
                    <a:pt x="43265" y="77928"/>
                    <a:pt x="43265" y="78884"/>
                  </a:cubicBezTo>
                  <a:cubicBezTo>
                    <a:pt x="43265" y="79362"/>
                    <a:pt x="42448" y="79840"/>
                    <a:pt x="42448" y="79840"/>
                  </a:cubicBezTo>
                  <a:cubicBezTo>
                    <a:pt x="40000" y="80796"/>
                    <a:pt x="29387" y="86533"/>
                    <a:pt x="28571" y="87968"/>
                  </a:cubicBezTo>
                  <a:cubicBezTo>
                    <a:pt x="28571" y="88924"/>
                    <a:pt x="29387" y="94183"/>
                    <a:pt x="27755" y="95139"/>
                  </a:cubicBezTo>
                  <a:cubicBezTo>
                    <a:pt x="26938" y="95617"/>
                    <a:pt x="26122" y="95617"/>
                    <a:pt x="26122" y="95617"/>
                  </a:cubicBezTo>
                  <a:cubicBezTo>
                    <a:pt x="25306" y="95617"/>
                    <a:pt x="24489" y="96095"/>
                    <a:pt x="24489" y="96095"/>
                  </a:cubicBezTo>
                  <a:cubicBezTo>
                    <a:pt x="22857" y="96095"/>
                    <a:pt x="19591" y="96573"/>
                    <a:pt x="17959" y="95617"/>
                  </a:cubicBezTo>
                  <a:cubicBezTo>
                    <a:pt x="11428" y="98964"/>
                    <a:pt x="4897" y="102788"/>
                    <a:pt x="4081" y="103745"/>
                  </a:cubicBezTo>
                  <a:cubicBezTo>
                    <a:pt x="4081" y="104223"/>
                    <a:pt x="4081" y="104701"/>
                    <a:pt x="4081" y="104701"/>
                  </a:cubicBezTo>
                  <a:cubicBezTo>
                    <a:pt x="4897" y="106613"/>
                    <a:pt x="6530" y="109482"/>
                    <a:pt x="4081" y="110438"/>
                  </a:cubicBezTo>
                  <a:cubicBezTo>
                    <a:pt x="4081" y="110916"/>
                    <a:pt x="3265" y="111394"/>
                    <a:pt x="2448" y="111394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2" name="Shape 6956">
              <a:extLst>
                <a:ext uri="{FF2B5EF4-FFF2-40B4-BE49-F238E27FC236}">
                  <a16:creationId xmlns:a16="http://schemas.microsoft.com/office/drawing/2014/main" id="{02B9F4A9-7293-49F6-A291-B89521CEE579}"/>
                </a:ext>
              </a:extLst>
            </p:cNvPr>
            <p:cNvSpPr/>
            <p:nvPr/>
          </p:nvSpPr>
          <p:spPr>
            <a:xfrm>
              <a:off x="4920265" y="3639763"/>
              <a:ext cx="1365081" cy="148746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830" y="35320"/>
                  </a:moveTo>
                  <a:cubicBezTo>
                    <a:pt x="119830" y="35169"/>
                    <a:pt x="120000" y="34867"/>
                    <a:pt x="120000" y="34566"/>
                  </a:cubicBezTo>
                  <a:cubicBezTo>
                    <a:pt x="120000" y="34415"/>
                    <a:pt x="119490" y="33811"/>
                    <a:pt x="117284" y="32000"/>
                  </a:cubicBezTo>
                  <a:cubicBezTo>
                    <a:pt x="117114" y="31849"/>
                    <a:pt x="117114" y="31849"/>
                    <a:pt x="117114" y="31849"/>
                  </a:cubicBezTo>
                  <a:cubicBezTo>
                    <a:pt x="116775" y="31547"/>
                    <a:pt x="116435" y="30943"/>
                    <a:pt x="116265" y="30339"/>
                  </a:cubicBezTo>
                  <a:cubicBezTo>
                    <a:pt x="116096" y="30037"/>
                    <a:pt x="115926" y="29735"/>
                    <a:pt x="115756" y="29584"/>
                  </a:cubicBezTo>
                  <a:cubicBezTo>
                    <a:pt x="115586" y="29283"/>
                    <a:pt x="115247" y="29132"/>
                    <a:pt x="114908" y="29132"/>
                  </a:cubicBezTo>
                  <a:cubicBezTo>
                    <a:pt x="114738" y="29132"/>
                    <a:pt x="114568" y="29132"/>
                    <a:pt x="114398" y="28981"/>
                  </a:cubicBezTo>
                  <a:cubicBezTo>
                    <a:pt x="114059" y="28830"/>
                    <a:pt x="114059" y="28226"/>
                    <a:pt x="114059" y="27622"/>
                  </a:cubicBezTo>
                  <a:cubicBezTo>
                    <a:pt x="114229" y="27471"/>
                    <a:pt x="114229" y="27471"/>
                    <a:pt x="114229" y="27471"/>
                  </a:cubicBezTo>
                  <a:cubicBezTo>
                    <a:pt x="114059" y="27320"/>
                    <a:pt x="113210" y="26566"/>
                    <a:pt x="112701" y="26113"/>
                  </a:cubicBezTo>
                  <a:cubicBezTo>
                    <a:pt x="112192" y="25811"/>
                    <a:pt x="111852" y="25509"/>
                    <a:pt x="111683" y="25207"/>
                  </a:cubicBezTo>
                  <a:cubicBezTo>
                    <a:pt x="111513" y="24905"/>
                    <a:pt x="111173" y="25056"/>
                    <a:pt x="110664" y="25056"/>
                  </a:cubicBezTo>
                  <a:cubicBezTo>
                    <a:pt x="110325" y="25056"/>
                    <a:pt x="110155" y="25056"/>
                    <a:pt x="110155" y="25056"/>
                  </a:cubicBezTo>
                  <a:cubicBezTo>
                    <a:pt x="109985" y="25056"/>
                    <a:pt x="109985" y="25509"/>
                    <a:pt x="109985" y="25660"/>
                  </a:cubicBezTo>
                  <a:cubicBezTo>
                    <a:pt x="109985" y="25962"/>
                    <a:pt x="109985" y="26264"/>
                    <a:pt x="109816" y="26415"/>
                  </a:cubicBezTo>
                  <a:cubicBezTo>
                    <a:pt x="109646" y="26716"/>
                    <a:pt x="108797" y="27622"/>
                    <a:pt x="108288" y="27924"/>
                  </a:cubicBezTo>
                  <a:cubicBezTo>
                    <a:pt x="107779" y="28226"/>
                    <a:pt x="106082" y="27924"/>
                    <a:pt x="105572" y="27622"/>
                  </a:cubicBezTo>
                  <a:cubicBezTo>
                    <a:pt x="104893" y="27471"/>
                    <a:pt x="104893" y="26867"/>
                    <a:pt x="105063" y="26415"/>
                  </a:cubicBezTo>
                  <a:cubicBezTo>
                    <a:pt x="105063" y="26264"/>
                    <a:pt x="105063" y="25962"/>
                    <a:pt x="105063" y="25962"/>
                  </a:cubicBezTo>
                  <a:cubicBezTo>
                    <a:pt x="104893" y="25811"/>
                    <a:pt x="104724" y="25660"/>
                    <a:pt x="104554" y="25358"/>
                  </a:cubicBezTo>
                  <a:cubicBezTo>
                    <a:pt x="104384" y="25358"/>
                    <a:pt x="104214" y="25207"/>
                    <a:pt x="104045" y="25056"/>
                  </a:cubicBezTo>
                  <a:cubicBezTo>
                    <a:pt x="103875" y="24754"/>
                    <a:pt x="103875" y="24301"/>
                    <a:pt x="103875" y="23849"/>
                  </a:cubicBezTo>
                  <a:cubicBezTo>
                    <a:pt x="103875" y="23698"/>
                    <a:pt x="104045" y="23547"/>
                    <a:pt x="104045" y="23396"/>
                  </a:cubicBezTo>
                  <a:cubicBezTo>
                    <a:pt x="103875" y="23245"/>
                    <a:pt x="103536" y="23245"/>
                    <a:pt x="103366" y="23245"/>
                  </a:cubicBezTo>
                  <a:cubicBezTo>
                    <a:pt x="103196" y="23245"/>
                    <a:pt x="103026" y="23245"/>
                    <a:pt x="103026" y="23245"/>
                  </a:cubicBezTo>
                  <a:cubicBezTo>
                    <a:pt x="102857" y="23245"/>
                    <a:pt x="102687" y="23094"/>
                    <a:pt x="102517" y="23094"/>
                  </a:cubicBezTo>
                  <a:cubicBezTo>
                    <a:pt x="102347" y="23094"/>
                    <a:pt x="102178" y="22943"/>
                    <a:pt x="101838" y="22943"/>
                  </a:cubicBezTo>
                  <a:cubicBezTo>
                    <a:pt x="101329" y="22943"/>
                    <a:pt x="100820" y="22792"/>
                    <a:pt x="99971" y="22339"/>
                  </a:cubicBezTo>
                  <a:cubicBezTo>
                    <a:pt x="99632" y="22188"/>
                    <a:pt x="99462" y="22188"/>
                    <a:pt x="99292" y="22037"/>
                  </a:cubicBezTo>
                  <a:cubicBezTo>
                    <a:pt x="98953" y="22037"/>
                    <a:pt x="98104" y="22188"/>
                    <a:pt x="97595" y="22188"/>
                  </a:cubicBezTo>
                  <a:cubicBezTo>
                    <a:pt x="97256" y="22188"/>
                    <a:pt x="96916" y="22188"/>
                    <a:pt x="96746" y="22188"/>
                  </a:cubicBezTo>
                  <a:cubicBezTo>
                    <a:pt x="96407" y="22188"/>
                    <a:pt x="95898" y="22188"/>
                    <a:pt x="95219" y="22188"/>
                  </a:cubicBezTo>
                  <a:cubicBezTo>
                    <a:pt x="94879" y="22188"/>
                    <a:pt x="94370" y="22037"/>
                    <a:pt x="94370" y="22037"/>
                  </a:cubicBezTo>
                  <a:cubicBezTo>
                    <a:pt x="94031" y="22188"/>
                    <a:pt x="93182" y="23396"/>
                    <a:pt x="93012" y="23547"/>
                  </a:cubicBezTo>
                  <a:cubicBezTo>
                    <a:pt x="93012" y="23547"/>
                    <a:pt x="93012" y="23698"/>
                    <a:pt x="93012" y="23849"/>
                  </a:cubicBezTo>
                  <a:cubicBezTo>
                    <a:pt x="92673" y="24603"/>
                    <a:pt x="92503" y="25358"/>
                    <a:pt x="92333" y="25660"/>
                  </a:cubicBezTo>
                  <a:cubicBezTo>
                    <a:pt x="92164" y="25811"/>
                    <a:pt x="91994" y="26113"/>
                    <a:pt x="90636" y="26867"/>
                  </a:cubicBezTo>
                  <a:cubicBezTo>
                    <a:pt x="90636" y="27018"/>
                    <a:pt x="90975" y="27924"/>
                    <a:pt x="90975" y="28226"/>
                  </a:cubicBezTo>
                  <a:cubicBezTo>
                    <a:pt x="91145" y="28679"/>
                    <a:pt x="91315" y="28830"/>
                    <a:pt x="91315" y="28981"/>
                  </a:cubicBezTo>
                  <a:cubicBezTo>
                    <a:pt x="91315" y="29132"/>
                    <a:pt x="91145" y="29735"/>
                    <a:pt x="90975" y="30490"/>
                  </a:cubicBezTo>
                  <a:cubicBezTo>
                    <a:pt x="90806" y="30641"/>
                    <a:pt x="90806" y="30792"/>
                    <a:pt x="90806" y="30943"/>
                  </a:cubicBezTo>
                  <a:cubicBezTo>
                    <a:pt x="90806" y="31094"/>
                    <a:pt x="90636" y="31396"/>
                    <a:pt x="88260" y="33207"/>
                  </a:cubicBezTo>
                  <a:cubicBezTo>
                    <a:pt x="87920" y="33660"/>
                    <a:pt x="88090" y="35320"/>
                    <a:pt x="88090" y="35924"/>
                  </a:cubicBezTo>
                  <a:cubicBezTo>
                    <a:pt x="88090" y="36075"/>
                    <a:pt x="88090" y="36075"/>
                    <a:pt x="88090" y="36226"/>
                  </a:cubicBezTo>
                  <a:cubicBezTo>
                    <a:pt x="88090" y="36679"/>
                    <a:pt x="88090" y="37132"/>
                    <a:pt x="87751" y="37584"/>
                  </a:cubicBezTo>
                  <a:cubicBezTo>
                    <a:pt x="87241" y="38037"/>
                    <a:pt x="85544" y="39094"/>
                    <a:pt x="85205" y="39245"/>
                  </a:cubicBezTo>
                  <a:cubicBezTo>
                    <a:pt x="85035" y="39396"/>
                    <a:pt x="85035" y="39849"/>
                    <a:pt x="85035" y="40150"/>
                  </a:cubicBezTo>
                  <a:cubicBezTo>
                    <a:pt x="85035" y="40452"/>
                    <a:pt x="85035" y="40754"/>
                    <a:pt x="85035" y="41056"/>
                  </a:cubicBezTo>
                  <a:cubicBezTo>
                    <a:pt x="84865" y="41207"/>
                    <a:pt x="84695" y="41207"/>
                    <a:pt x="84695" y="41358"/>
                  </a:cubicBezTo>
                  <a:cubicBezTo>
                    <a:pt x="84356" y="41358"/>
                    <a:pt x="84016" y="41056"/>
                    <a:pt x="83677" y="40603"/>
                  </a:cubicBezTo>
                  <a:cubicBezTo>
                    <a:pt x="83507" y="40452"/>
                    <a:pt x="83338" y="40150"/>
                    <a:pt x="83168" y="40000"/>
                  </a:cubicBezTo>
                  <a:cubicBezTo>
                    <a:pt x="82828" y="39547"/>
                    <a:pt x="82828" y="38641"/>
                    <a:pt x="82998" y="38037"/>
                  </a:cubicBezTo>
                  <a:cubicBezTo>
                    <a:pt x="82998" y="37886"/>
                    <a:pt x="82998" y="37735"/>
                    <a:pt x="82998" y="37584"/>
                  </a:cubicBezTo>
                  <a:cubicBezTo>
                    <a:pt x="82998" y="37433"/>
                    <a:pt x="82489" y="36981"/>
                    <a:pt x="82149" y="36830"/>
                  </a:cubicBezTo>
                  <a:cubicBezTo>
                    <a:pt x="81980" y="36679"/>
                    <a:pt x="81640" y="36830"/>
                    <a:pt x="81301" y="36830"/>
                  </a:cubicBezTo>
                  <a:cubicBezTo>
                    <a:pt x="81131" y="36981"/>
                    <a:pt x="80961" y="36981"/>
                    <a:pt x="80622" y="36981"/>
                  </a:cubicBezTo>
                  <a:cubicBezTo>
                    <a:pt x="80622" y="36981"/>
                    <a:pt x="80452" y="37132"/>
                    <a:pt x="80452" y="38188"/>
                  </a:cubicBezTo>
                  <a:cubicBezTo>
                    <a:pt x="80452" y="38188"/>
                    <a:pt x="80452" y="38188"/>
                    <a:pt x="80452" y="38188"/>
                  </a:cubicBezTo>
                  <a:cubicBezTo>
                    <a:pt x="80452" y="38641"/>
                    <a:pt x="80113" y="38943"/>
                    <a:pt x="76888" y="39849"/>
                  </a:cubicBezTo>
                  <a:cubicBezTo>
                    <a:pt x="76718" y="39849"/>
                    <a:pt x="76718" y="39849"/>
                    <a:pt x="76718" y="39849"/>
                  </a:cubicBezTo>
                  <a:cubicBezTo>
                    <a:pt x="76209" y="40000"/>
                    <a:pt x="74851" y="40301"/>
                    <a:pt x="74512" y="40301"/>
                  </a:cubicBezTo>
                  <a:cubicBezTo>
                    <a:pt x="74342" y="40301"/>
                    <a:pt x="74172" y="40452"/>
                    <a:pt x="73493" y="41811"/>
                  </a:cubicBezTo>
                  <a:cubicBezTo>
                    <a:pt x="73493" y="41962"/>
                    <a:pt x="73493" y="41962"/>
                    <a:pt x="73493" y="41962"/>
                  </a:cubicBezTo>
                  <a:cubicBezTo>
                    <a:pt x="73323" y="42566"/>
                    <a:pt x="72984" y="43320"/>
                    <a:pt x="72475" y="43773"/>
                  </a:cubicBezTo>
                  <a:cubicBezTo>
                    <a:pt x="71966" y="43924"/>
                    <a:pt x="71287" y="43924"/>
                    <a:pt x="70438" y="43924"/>
                  </a:cubicBezTo>
                  <a:cubicBezTo>
                    <a:pt x="70099" y="43924"/>
                    <a:pt x="70099" y="43773"/>
                    <a:pt x="69929" y="43773"/>
                  </a:cubicBezTo>
                  <a:cubicBezTo>
                    <a:pt x="69589" y="43773"/>
                    <a:pt x="68910" y="43320"/>
                    <a:pt x="67213" y="41660"/>
                  </a:cubicBezTo>
                  <a:cubicBezTo>
                    <a:pt x="66874" y="41358"/>
                    <a:pt x="66704" y="41207"/>
                    <a:pt x="66704" y="41056"/>
                  </a:cubicBezTo>
                  <a:cubicBezTo>
                    <a:pt x="66364" y="40754"/>
                    <a:pt x="66195" y="40000"/>
                    <a:pt x="66195" y="37886"/>
                  </a:cubicBezTo>
                  <a:cubicBezTo>
                    <a:pt x="66195" y="37735"/>
                    <a:pt x="66364" y="37584"/>
                    <a:pt x="66364" y="37584"/>
                  </a:cubicBezTo>
                  <a:cubicBezTo>
                    <a:pt x="66364" y="33660"/>
                    <a:pt x="66364" y="33660"/>
                    <a:pt x="66364" y="33660"/>
                  </a:cubicBezTo>
                  <a:cubicBezTo>
                    <a:pt x="66364" y="33358"/>
                    <a:pt x="66364" y="32000"/>
                    <a:pt x="66534" y="30641"/>
                  </a:cubicBezTo>
                  <a:cubicBezTo>
                    <a:pt x="66704" y="29584"/>
                    <a:pt x="66874" y="28528"/>
                    <a:pt x="66874" y="28226"/>
                  </a:cubicBezTo>
                  <a:cubicBezTo>
                    <a:pt x="66874" y="28075"/>
                    <a:pt x="66874" y="27018"/>
                    <a:pt x="66874" y="26113"/>
                  </a:cubicBezTo>
                  <a:cubicBezTo>
                    <a:pt x="66874" y="25358"/>
                    <a:pt x="66874" y="24754"/>
                    <a:pt x="66874" y="24452"/>
                  </a:cubicBezTo>
                  <a:cubicBezTo>
                    <a:pt x="66534" y="24301"/>
                    <a:pt x="65176" y="23849"/>
                    <a:pt x="64497" y="23698"/>
                  </a:cubicBezTo>
                  <a:cubicBezTo>
                    <a:pt x="64158" y="23698"/>
                    <a:pt x="63988" y="23547"/>
                    <a:pt x="63818" y="23547"/>
                  </a:cubicBezTo>
                  <a:cubicBezTo>
                    <a:pt x="63479" y="23396"/>
                    <a:pt x="63309" y="22792"/>
                    <a:pt x="62800" y="21584"/>
                  </a:cubicBezTo>
                  <a:cubicBezTo>
                    <a:pt x="62630" y="21283"/>
                    <a:pt x="62630" y="20981"/>
                    <a:pt x="62461" y="20679"/>
                  </a:cubicBezTo>
                  <a:cubicBezTo>
                    <a:pt x="62121" y="20075"/>
                    <a:pt x="61782" y="19622"/>
                    <a:pt x="61442" y="19320"/>
                  </a:cubicBezTo>
                  <a:cubicBezTo>
                    <a:pt x="61103" y="19018"/>
                    <a:pt x="61103" y="18415"/>
                    <a:pt x="61103" y="17962"/>
                  </a:cubicBezTo>
                  <a:cubicBezTo>
                    <a:pt x="61103" y="17962"/>
                    <a:pt x="61272" y="17811"/>
                    <a:pt x="61272" y="17811"/>
                  </a:cubicBezTo>
                  <a:cubicBezTo>
                    <a:pt x="61272" y="17358"/>
                    <a:pt x="61782" y="16905"/>
                    <a:pt x="62121" y="16603"/>
                  </a:cubicBezTo>
                  <a:cubicBezTo>
                    <a:pt x="62121" y="16603"/>
                    <a:pt x="62291" y="16301"/>
                    <a:pt x="62291" y="15245"/>
                  </a:cubicBezTo>
                  <a:cubicBezTo>
                    <a:pt x="62291" y="15094"/>
                    <a:pt x="62291" y="15094"/>
                    <a:pt x="62291" y="15094"/>
                  </a:cubicBezTo>
                  <a:cubicBezTo>
                    <a:pt x="62121" y="14943"/>
                    <a:pt x="61782" y="14490"/>
                    <a:pt x="61103" y="14188"/>
                  </a:cubicBezTo>
                  <a:cubicBezTo>
                    <a:pt x="60763" y="13886"/>
                    <a:pt x="60254" y="13886"/>
                    <a:pt x="59915" y="13886"/>
                  </a:cubicBezTo>
                  <a:cubicBezTo>
                    <a:pt x="59915" y="13886"/>
                    <a:pt x="59745" y="13886"/>
                    <a:pt x="59745" y="13886"/>
                  </a:cubicBezTo>
                  <a:cubicBezTo>
                    <a:pt x="59236" y="13886"/>
                    <a:pt x="58727" y="13584"/>
                    <a:pt x="58217" y="13433"/>
                  </a:cubicBezTo>
                  <a:cubicBezTo>
                    <a:pt x="58048" y="13283"/>
                    <a:pt x="58048" y="13283"/>
                    <a:pt x="57878" y="13132"/>
                  </a:cubicBezTo>
                  <a:cubicBezTo>
                    <a:pt x="57369" y="12981"/>
                    <a:pt x="57369" y="12377"/>
                    <a:pt x="57369" y="11773"/>
                  </a:cubicBezTo>
                  <a:cubicBezTo>
                    <a:pt x="57369" y="11320"/>
                    <a:pt x="57538" y="11018"/>
                    <a:pt x="57878" y="10867"/>
                  </a:cubicBezTo>
                  <a:cubicBezTo>
                    <a:pt x="57878" y="10867"/>
                    <a:pt x="58048" y="10716"/>
                    <a:pt x="58048" y="10716"/>
                  </a:cubicBezTo>
                  <a:cubicBezTo>
                    <a:pt x="58048" y="10566"/>
                    <a:pt x="58048" y="10566"/>
                    <a:pt x="58048" y="10566"/>
                  </a:cubicBezTo>
                  <a:cubicBezTo>
                    <a:pt x="58048" y="10566"/>
                    <a:pt x="57878" y="10415"/>
                    <a:pt x="57878" y="10415"/>
                  </a:cubicBezTo>
                  <a:cubicBezTo>
                    <a:pt x="57708" y="10415"/>
                    <a:pt x="57538" y="10264"/>
                    <a:pt x="57369" y="10264"/>
                  </a:cubicBezTo>
                  <a:cubicBezTo>
                    <a:pt x="57029" y="9962"/>
                    <a:pt x="56859" y="9207"/>
                    <a:pt x="56690" y="8603"/>
                  </a:cubicBezTo>
                  <a:cubicBezTo>
                    <a:pt x="56690" y="8301"/>
                    <a:pt x="56690" y="8150"/>
                    <a:pt x="56690" y="8000"/>
                  </a:cubicBezTo>
                  <a:cubicBezTo>
                    <a:pt x="56520" y="7547"/>
                    <a:pt x="55671" y="5886"/>
                    <a:pt x="55502" y="5584"/>
                  </a:cubicBezTo>
                  <a:cubicBezTo>
                    <a:pt x="55332" y="5433"/>
                    <a:pt x="54314" y="4830"/>
                    <a:pt x="53635" y="4528"/>
                  </a:cubicBezTo>
                  <a:cubicBezTo>
                    <a:pt x="53295" y="4377"/>
                    <a:pt x="53125" y="4528"/>
                    <a:pt x="52956" y="4528"/>
                  </a:cubicBezTo>
                  <a:cubicBezTo>
                    <a:pt x="52786" y="4528"/>
                    <a:pt x="52786" y="4679"/>
                    <a:pt x="52616" y="4679"/>
                  </a:cubicBezTo>
                  <a:cubicBezTo>
                    <a:pt x="52107" y="4830"/>
                    <a:pt x="50410" y="4981"/>
                    <a:pt x="50070" y="4981"/>
                  </a:cubicBezTo>
                  <a:cubicBezTo>
                    <a:pt x="49900" y="4981"/>
                    <a:pt x="49731" y="4981"/>
                    <a:pt x="49731" y="4830"/>
                  </a:cubicBezTo>
                  <a:cubicBezTo>
                    <a:pt x="49391" y="4528"/>
                    <a:pt x="49561" y="3018"/>
                    <a:pt x="49561" y="2867"/>
                  </a:cubicBezTo>
                  <a:cubicBezTo>
                    <a:pt x="49731" y="2566"/>
                    <a:pt x="50240" y="2264"/>
                    <a:pt x="50749" y="2113"/>
                  </a:cubicBezTo>
                  <a:cubicBezTo>
                    <a:pt x="50919" y="2113"/>
                    <a:pt x="51089" y="1962"/>
                    <a:pt x="51089" y="1962"/>
                  </a:cubicBezTo>
                  <a:cubicBezTo>
                    <a:pt x="51089" y="1962"/>
                    <a:pt x="51089" y="1660"/>
                    <a:pt x="51089" y="1358"/>
                  </a:cubicBezTo>
                  <a:cubicBezTo>
                    <a:pt x="51089" y="1358"/>
                    <a:pt x="51089" y="1207"/>
                    <a:pt x="51089" y="1056"/>
                  </a:cubicBezTo>
                  <a:cubicBezTo>
                    <a:pt x="51089" y="905"/>
                    <a:pt x="50410" y="452"/>
                    <a:pt x="49561" y="0"/>
                  </a:cubicBezTo>
                  <a:cubicBezTo>
                    <a:pt x="49561" y="150"/>
                    <a:pt x="49561" y="452"/>
                    <a:pt x="49391" y="603"/>
                  </a:cubicBezTo>
                  <a:cubicBezTo>
                    <a:pt x="49391" y="603"/>
                    <a:pt x="49391" y="754"/>
                    <a:pt x="49222" y="754"/>
                  </a:cubicBezTo>
                  <a:cubicBezTo>
                    <a:pt x="49052" y="1207"/>
                    <a:pt x="48712" y="1962"/>
                    <a:pt x="48033" y="1811"/>
                  </a:cubicBezTo>
                  <a:cubicBezTo>
                    <a:pt x="47864" y="1811"/>
                    <a:pt x="47694" y="1811"/>
                    <a:pt x="47524" y="1811"/>
                  </a:cubicBezTo>
                  <a:cubicBezTo>
                    <a:pt x="47355" y="1660"/>
                    <a:pt x="46845" y="1660"/>
                    <a:pt x="46845" y="1660"/>
                  </a:cubicBezTo>
                  <a:cubicBezTo>
                    <a:pt x="46676" y="1811"/>
                    <a:pt x="45487" y="3018"/>
                    <a:pt x="44978" y="3169"/>
                  </a:cubicBezTo>
                  <a:cubicBezTo>
                    <a:pt x="44809" y="3169"/>
                    <a:pt x="44809" y="3169"/>
                    <a:pt x="44809" y="3169"/>
                  </a:cubicBezTo>
                  <a:cubicBezTo>
                    <a:pt x="44469" y="3320"/>
                    <a:pt x="44130" y="3320"/>
                    <a:pt x="43790" y="3471"/>
                  </a:cubicBezTo>
                  <a:cubicBezTo>
                    <a:pt x="43451" y="3773"/>
                    <a:pt x="42772" y="4981"/>
                    <a:pt x="42772" y="5433"/>
                  </a:cubicBezTo>
                  <a:cubicBezTo>
                    <a:pt x="42772" y="5584"/>
                    <a:pt x="42602" y="5735"/>
                    <a:pt x="42602" y="5886"/>
                  </a:cubicBezTo>
                  <a:cubicBezTo>
                    <a:pt x="42602" y="6490"/>
                    <a:pt x="42602" y="7094"/>
                    <a:pt x="42942" y="7396"/>
                  </a:cubicBezTo>
                  <a:cubicBezTo>
                    <a:pt x="43620" y="8301"/>
                    <a:pt x="43790" y="9056"/>
                    <a:pt x="43620" y="9358"/>
                  </a:cubicBezTo>
                  <a:cubicBezTo>
                    <a:pt x="43281" y="9811"/>
                    <a:pt x="43281" y="10264"/>
                    <a:pt x="43281" y="10415"/>
                  </a:cubicBezTo>
                  <a:cubicBezTo>
                    <a:pt x="43281" y="10566"/>
                    <a:pt x="43111" y="10716"/>
                    <a:pt x="43111" y="11018"/>
                  </a:cubicBezTo>
                  <a:cubicBezTo>
                    <a:pt x="42942" y="11471"/>
                    <a:pt x="42772" y="12226"/>
                    <a:pt x="43111" y="12528"/>
                  </a:cubicBezTo>
                  <a:cubicBezTo>
                    <a:pt x="43281" y="12679"/>
                    <a:pt x="43620" y="12981"/>
                    <a:pt x="43960" y="13433"/>
                  </a:cubicBezTo>
                  <a:cubicBezTo>
                    <a:pt x="45827" y="14943"/>
                    <a:pt x="46166" y="15396"/>
                    <a:pt x="45997" y="15698"/>
                  </a:cubicBezTo>
                  <a:cubicBezTo>
                    <a:pt x="45997" y="15849"/>
                    <a:pt x="45997" y="16150"/>
                    <a:pt x="45657" y="16452"/>
                  </a:cubicBezTo>
                  <a:cubicBezTo>
                    <a:pt x="45487" y="16905"/>
                    <a:pt x="44978" y="17962"/>
                    <a:pt x="44978" y="18113"/>
                  </a:cubicBezTo>
                  <a:cubicBezTo>
                    <a:pt x="46506" y="19471"/>
                    <a:pt x="46166" y="19924"/>
                    <a:pt x="45997" y="20075"/>
                  </a:cubicBezTo>
                  <a:cubicBezTo>
                    <a:pt x="45997" y="20226"/>
                    <a:pt x="45657" y="20528"/>
                    <a:pt x="45148" y="20981"/>
                  </a:cubicBezTo>
                  <a:cubicBezTo>
                    <a:pt x="44639" y="21283"/>
                    <a:pt x="43960" y="21886"/>
                    <a:pt x="43790" y="22037"/>
                  </a:cubicBezTo>
                  <a:cubicBezTo>
                    <a:pt x="43960" y="22188"/>
                    <a:pt x="43960" y="22339"/>
                    <a:pt x="43960" y="22490"/>
                  </a:cubicBezTo>
                  <a:cubicBezTo>
                    <a:pt x="44130" y="24150"/>
                    <a:pt x="43960" y="24603"/>
                    <a:pt x="43790" y="24754"/>
                  </a:cubicBezTo>
                  <a:cubicBezTo>
                    <a:pt x="43620" y="24754"/>
                    <a:pt x="43620" y="24905"/>
                    <a:pt x="43451" y="24905"/>
                  </a:cubicBezTo>
                  <a:cubicBezTo>
                    <a:pt x="43451" y="24905"/>
                    <a:pt x="42942" y="25207"/>
                    <a:pt x="42772" y="25358"/>
                  </a:cubicBezTo>
                  <a:cubicBezTo>
                    <a:pt x="42432" y="26566"/>
                    <a:pt x="42093" y="27320"/>
                    <a:pt x="41753" y="27471"/>
                  </a:cubicBezTo>
                  <a:cubicBezTo>
                    <a:pt x="41584" y="27471"/>
                    <a:pt x="41584" y="27471"/>
                    <a:pt x="41414" y="27471"/>
                  </a:cubicBezTo>
                  <a:cubicBezTo>
                    <a:pt x="40396" y="27924"/>
                    <a:pt x="40056" y="28075"/>
                    <a:pt x="40056" y="28226"/>
                  </a:cubicBezTo>
                  <a:cubicBezTo>
                    <a:pt x="40226" y="28377"/>
                    <a:pt x="40226" y="28679"/>
                    <a:pt x="40226" y="28830"/>
                  </a:cubicBezTo>
                  <a:cubicBezTo>
                    <a:pt x="40565" y="29886"/>
                    <a:pt x="40565" y="30490"/>
                    <a:pt x="40226" y="30792"/>
                  </a:cubicBezTo>
                  <a:cubicBezTo>
                    <a:pt x="39886" y="31094"/>
                    <a:pt x="39717" y="31396"/>
                    <a:pt x="39547" y="31698"/>
                  </a:cubicBezTo>
                  <a:cubicBezTo>
                    <a:pt x="39547" y="32150"/>
                    <a:pt x="39547" y="33660"/>
                    <a:pt x="39547" y="34113"/>
                  </a:cubicBezTo>
                  <a:cubicBezTo>
                    <a:pt x="39547" y="34716"/>
                    <a:pt x="39717" y="35169"/>
                    <a:pt x="39886" y="35320"/>
                  </a:cubicBezTo>
                  <a:cubicBezTo>
                    <a:pt x="40056" y="35471"/>
                    <a:pt x="40226" y="35471"/>
                    <a:pt x="40396" y="35471"/>
                  </a:cubicBezTo>
                  <a:cubicBezTo>
                    <a:pt x="40565" y="35622"/>
                    <a:pt x="40905" y="35773"/>
                    <a:pt x="41074" y="36075"/>
                  </a:cubicBezTo>
                  <a:cubicBezTo>
                    <a:pt x="41074" y="36075"/>
                    <a:pt x="41244" y="36226"/>
                    <a:pt x="41244" y="36226"/>
                  </a:cubicBezTo>
                  <a:cubicBezTo>
                    <a:pt x="41584" y="36528"/>
                    <a:pt x="42263" y="37433"/>
                    <a:pt x="42602" y="37584"/>
                  </a:cubicBezTo>
                  <a:cubicBezTo>
                    <a:pt x="42602" y="37584"/>
                    <a:pt x="42602" y="37433"/>
                    <a:pt x="42602" y="37433"/>
                  </a:cubicBezTo>
                  <a:cubicBezTo>
                    <a:pt x="42772" y="37283"/>
                    <a:pt x="43111" y="36830"/>
                    <a:pt x="43620" y="36981"/>
                  </a:cubicBezTo>
                  <a:cubicBezTo>
                    <a:pt x="43620" y="36981"/>
                    <a:pt x="43960" y="37132"/>
                    <a:pt x="44130" y="37132"/>
                  </a:cubicBezTo>
                  <a:cubicBezTo>
                    <a:pt x="44978" y="37283"/>
                    <a:pt x="45997" y="37433"/>
                    <a:pt x="45827" y="38037"/>
                  </a:cubicBezTo>
                  <a:cubicBezTo>
                    <a:pt x="45827" y="38490"/>
                    <a:pt x="45827" y="40000"/>
                    <a:pt x="45997" y="40150"/>
                  </a:cubicBezTo>
                  <a:cubicBezTo>
                    <a:pt x="46166" y="40301"/>
                    <a:pt x="46166" y="40452"/>
                    <a:pt x="46336" y="40603"/>
                  </a:cubicBezTo>
                  <a:cubicBezTo>
                    <a:pt x="46676" y="40905"/>
                    <a:pt x="46845" y="41207"/>
                    <a:pt x="46676" y="41358"/>
                  </a:cubicBezTo>
                  <a:cubicBezTo>
                    <a:pt x="46676" y="41509"/>
                    <a:pt x="46506" y="41660"/>
                    <a:pt x="46336" y="41660"/>
                  </a:cubicBezTo>
                  <a:cubicBezTo>
                    <a:pt x="46166" y="41660"/>
                    <a:pt x="45997" y="41660"/>
                    <a:pt x="45827" y="41660"/>
                  </a:cubicBezTo>
                  <a:cubicBezTo>
                    <a:pt x="45487" y="41660"/>
                    <a:pt x="44978" y="41509"/>
                    <a:pt x="44809" y="41660"/>
                  </a:cubicBezTo>
                  <a:cubicBezTo>
                    <a:pt x="44639" y="41962"/>
                    <a:pt x="43620" y="43773"/>
                    <a:pt x="43620" y="44075"/>
                  </a:cubicBezTo>
                  <a:cubicBezTo>
                    <a:pt x="43620" y="44226"/>
                    <a:pt x="43620" y="44377"/>
                    <a:pt x="43960" y="44528"/>
                  </a:cubicBezTo>
                  <a:cubicBezTo>
                    <a:pt x="44130" y="44528"/>
                    <a:pt x="44299" y="44528"/>
                    <a:pt x="44469" y="44377"/>
                  </a:cubicBezTo>
                  <a:cubicBezTo>
                    <a:pt x="44809" y="44377"/>
                    <a:pt x="45318" y="44226"/>
                    <a:pt x="45487" y="44679"/>
                  </a:cubicBezTo>
                  <a:cubicBezTo>
                    <a:pt x="46336" y="45886"/>
                    <a:pt x="47694" y="48000"/>
                    <a:pt x="47185" y="48452"/>
                  </a:cubicBezTo>
                  <a:cubicBezTo>
                    <a:pt x="46676" y="48905"/>
                    <a:pt x="45318" y="50415"/>
                    <a:pt x="45318" y="50716"/>
                  </a:cubicBezTo>
                  <a:cubicBezTo>
                    <a:pt x="45318" y="50867"/>
                    <a:pt x="45148" y="53433"/>
                    <a:pt x="44299" y="53584"/>
                  </a:cubicBezTo>
                  <a:cubicBezTo>
                    <a:pt x="44299" y="53584"/>
                    <a:pt x="44130" y="53584"/>
                    <a:pt x="44130" y="53584"/>
                  </a:cubicBezTo>
                  <a:cubicBezTo>
                    <a:pt x="43451" y="53735"/>
                    <a:pt x="42602" y="54037"/>
                    <a:pt x="42263" y="53433"/>
                  </a:cubicBezTo>
                  <a:cubicBezTo>
                    <a:pt x="41923" y="52830"/>
                    <a:pt x="41414" y="52226"/>
                    <a:pt x="41074" y="52226"/>
                  </a:cubicBezTo>
                  <a:cubicBezTo>
                    <a:pt x="40905" y="52226"/>
                    <a:pt x="40735" y="52226"/>
                    <a:pt x="40565" y="52377"/>
                  </a:cubicBezTo>
                  <a:cubicBezTo>
                    <a:pt x="39547" y="52377"/>
                    <a:pt x="38868" y="52377"/>
                    <a:pt x="38698" y="51924"/>
                  </a:cubicBezTo>
                  <a:cubicBezTo>
                    <a:pt x="38189" y="51169"/>
                    <a:pt x="38019" y="51018"/>
                    <a:pt x="37850" y="51018"/>
                  </a:cubicBezTo>
                  <a:cubicBezTo>
                    <a:pt x="37340" y="50867"/>
                    <a:pt x="35983" y="49811"/>
                    <a:pt x="35813" y="49509"/>
                  </a:cubicBezTo>
                  <a:cubicBezTo>
                    <a:pt x="35813" y="49358"/>
                    <a:pt x="34964" y="49056"/>
                    <a:pt x="34794" y="48905"/>
                  </a:cubicBezTo>
                  <a:cubicBezTo>
                    <a:pt x="34455" y="48905"/>
                    <a:pt x="33437" y="49207"/>
                    <a:pt x="33097" y="49509"/>
                  </a:cubicBezTo>
                  <a:cubicBezTo>
                    <a:pt x="32927" y="49660"/>
                    <a:pt x="32927" y="49660"/>
                    <a:pt x="32927" y="49660"/>
                  </a:cubicBezTo>
                  <a:cubicBezTo>
                    <a:pt x="32758" y="50113"/>
                    <a:pt x="31909" y="51169"/>
                    <a:pt x="32079" y="51622"/>
                  </a:cubicBezTo>
                  <a:cubicBezTo>
                    <a:pt x="32248" y="51773"/>
                    <a:pt x="32248" y="51773"/>
                    <a:pt x="32248" y="51773"/>
                  </a:cubicBezTo>
                  <a:cubicBezTo>
                    <a:pt x="32927" y="52981"/>
                    <a:pt x="33437" y="54037"/>
                    <a:pt x="32927" y="54490"/>
                  </a:cubicBezTo>
                  <a:cubicBezTo>
                    <a:pt x="32588" y="54641"/>
                    <a:pt x="31909" y="55547"/>
                    <a:pt x="31230" y="56150"/>
                  </a:cubicBezTo>
                  <a:cubicBezTo>
                    <a:pt x="30891" y="56603"/>
                    <a:pt x="30551" y="57056"/>
                    <a:pt x="30381" y="57358"/>
                  </a:cubicBezTo>
                  <a:cubicBezTo>
                    <a:pt x="30042" y="57509"/>
                    <a:pt x="29702" y="57962"/>
                    <a:pt x="29193" y="58415"/>
                  </a:cubicBezTo>
                  <a:cubicBezTo>
                    <a:pt x="28684" y="58867"/>
                    <a:pt x="27835" y="59471"/>
                    <a:pt x="27835" y="59622"/>
                  </a:cubicBezTo>
                  <a:cubicBezTo>
                    <a:pt x="27496" y="60377"/>
                    <a:pt x="26987" y="61433"/>
                    <a:pt x="26987" y="61584"/>
                  </a:cubicBezTo>
                  <a:cubicBezTo>
                    <a:pt x="26987" y="61886"/>
                    <a:pt x="26817" y="62188"/>
                    <a:pt x="26478" y="62943"/>
                  </a:cubicBezTo>
                  <a:cubicBezTo>
                    <a:pt x="26138" y="63396"/>
                    <a:pt x="25799" y="64452"/>
                    <a:pt x="25799" y="64754"/>
                  </a:cubicBezTo>
                  <a:cubicBezTo>
                    <a:pt x="25799" y="64754"/>
                    <a:pt x="25799" y="64754"/>
                    <a:pt x="25968" y="64905"/>
                  </a:cubicBezTo>
                  <a:cubicBezTo>
                    <a:pt x="26647" y="65509"/>
                    <a:pt x="27157" y="65962"/>
                    <a:pt x="27157" y="66415"/>
                  </a:cubicBezTo>
                  <a:cubicBezTo>
                    <a:pt x="27157" y="66566"/>
                    <a:pt x="27157" y="66716"/>
                    <a:pt x="26987" y="66716"/>
                  </a:cubicBezTo>
                  <a:cubicBezTo>
                    <a:pt x="26817" y="66867"/>
                    <a:pt x="26647" y="66867"/>
                    <a:pt x="26478" y="67018"/>
                  </a:cubicBezTo>
                  <a:cubicBezTo>
                    <a:pt x="26308" y="67320"/>
                    <a:pt x="25799" y="67773"/>
                    <a:pt x="25120" y="67471"/>
                  </a:cubicBezTo>
                  <a:cubicBezTo>
                    <a:pt x="24950" y="67471"/>
                    <a:pt x="24780" y="67320"/>
                    <a:pt x="24441" y="67320"/>
                  </a:cubicBezTo>
                  <a:cubicBezTo>
                    <a:pt x="23762" y="67018"/>
                    <a:pt x="22913" y="66716"/>
                    <a:pt x="22743" y="66113"/>
                  </a:cubicBezTo>
                  <a:cubicBezTo>
                    <a:pt x="22234" y="64905"/>
                    <a:pt x="21725" y="64150"/>
                    <a:pt x="21555" y="63849"/>
                  </a:cubicBezTo>
                  <a:cubicBezTo>
                    <a:pt x="21555" y="63849"/>
                    <a:pt x="21386" y="63698"/>
                    <a:pt x="21216" y="63547"/>
                  </a:cubicBezTo>
                  <a:cubicBezTo>
                    <a:pt x="20537" y="62641"/>
                    <a:pt x="20198" y="62188"/>
                    <a:pt x="19858" y="62188"/>
                  </a:cubicBezTo>
                  <a:cubicBezTo>
                    <a:pt x="19858" y="62339"/>
                    <a:pt x="19858" y="62339"/>
                    <a:pt x="19858" y="62339"/>
                  </a:cubicBezTo>
                  <a:cubicBezTo>
                    <a:pt x="19179" y="62339"/>
                    <a:pt x="18670" y="62490"/>
                    <a:pt x="18500" y="62792"/>
                  </a:cubicBezTo>
                  <a:cubicBezTo>
                    <a:pt x="18500" y="63094"/>
                    <a:pt x="18500" y="63094"/>
                    <a:pt x="18500" y="63094"/>
                  </a:cubicBezTo>
                  <a:cubicBezTo>
                    <a:pt x="18161" y="64150"/>
                    <a:pt x="17821" y="64754"/>
                    <a:pt x="17482" y="65056"/>
                  </a:cubicBezTo>
                  <a:cubicBezTo>
                    <a:pt x="17142" y="65207"/>
                    <a:pt x="14936" y="66113"/>
                    <a:pt x="14257" y="66113"/>
                  </a:cubicBezTo>
                  <a:cubicBezTo>
                    <a:pt x="13748" y="66113"/>
                    <a:pt x="13408" y="66113"/>
                    <a:pt x="13069" y="65962"/>
                  </a:cubicBezTo>
                  <a:cubicBezTo>
                    <a:pt x="12729" y="65962"/>
                    <a:pt x="12390" y="65811"/>
                    <a:pt x="12220" y="65811"/>
                  </a:cubicBezTo>
                  <a:cubicBezTo>
                    <a:pt x="11371" y="65811"/>
                    <a:pt x="10014" y="65962"/>
                    <a:pt x="9844" y="66264"/>
                  </a:cubicBezTo>
                  <a:cubicBezTo>
                    <a:pt x="9844" y="66264"/>
                    <a:pt x="9844" y="66566"/>
                    <a:pt x="9844" y="66867"/>
                  </a:cubicBezTo>
                  <a:cubicBezTo>
                    <a:pt x="10014" y="68226"/>
                    <a:pt x="10183" y="69283"/>
                    <a:pt x="9504" y="69584"/>
                  </a:cubicBezTo>
                  <a:cubicBezTo>
                    <a:pt x="8995" y="69886"/>
                    <a:pt x="8486" y="70490"/>
                    <a:pt x="8486" y="70641"/>
                  </a:cubicBezTo>
                  <a:cubicBezTo>
                    <a:pt x="8147" y="71698"/>
                    <a:pt x="7977" y="73207"/>
                    <a:pt x="8147" y="73660"/>
                  </a:cubicBezTo>
                  <a:cubicBezTo>
                    <a:pt x="8316" y="73962"/>
                    <a:pt x="8656" y="74113"/>
                    <a:pt x="8995" y="74264"/>
                  </a:cubicBezTo>
                  <a:cubicBezTo>
                    <a:pt x="9504" y="74566"/>
                    <a:pt x="9844" y="74716"/>
                    <a:pt x="10014" y="75169"/>
                  </a:cubicBezTo>
                  <a:cubicBezTo>
                    <a:pt x="10014" y="75169"/>
                    <a:pt x="11202" y="76981"/>
                    <a:pt x="11202" y="77584"/>
                  </a:cubicBezTo>
                  <a:cubicBezTo>
                    <a:pt x="11202" y="77584"/>
                    <a:pt x="11202" y="77735"/>
                    <a:pt x="11202" y="77886"/>
                  </a:cubicBezTo>
                  <a:cubicBezTo>
                    <a:pt x="11202" y="78339"/>
                    <a:pt x="11371" y="79245"/>
                    <a:pt x="10693" y="79396"/>
                  </a:cubicBezTo>
                  <a:cubicBezTo>
                    <a:pt x="10353" y="79396"/>
                    <a:pt x="10353" y="79396"/>
                    <a:pt x="10353" y="79396"/>
                  </a:cubicBezTo>
                  <a:cubicBezTo>
                    <a:pt x="10014" y="79547"/>
                    <a:pt x="9335" y="79698"/>
                    <a:pt x="9335" y="79849"/>
                  </a:cubicBezTo>
                  <a:cubicBezTo>
                    <a:pt x="9335" y="79849"/>
                    <a:pt x="9165" y="80000"/>
                    <a:pt x="9165" y="80301"/>
                  </a:cubicBezTo>
                  <a:cubicBezTo>
                    <a:pt x="8826" y="81207"/>
                    <a:pt x="8486" y="81811"/>
                    <a:pt x="7977" y="81811"/>
                  </a:cubicBezTo>
                  <a:cubicBezTo>
                    <a:pt x="6958" y="81811"/>
                    <a:pt x="6619" y="81962"/>
                    <a:pt x="6449" y="81962"/>
                  </a:cubicBezTo>
                  <a:cubicBezTo>
                    <a:pt x="6449" y="82566"/>
                    <a:pt x="5940" y="84075"/>
                    <a:pt x="5770" y="84377"/>
                  </a:cubicBezTo>
                  <a:cubicBezTo>
                    <a:pt x="5770" y="84528"/>
                    <a:pt x="5601" y="84528"/>
                    <a:pt x="5601" y="84679"/>
                  </a:cubicBezTo>
                  <a:cubicBezTo>
                    <a:pt x="5431" y="84981"/>
                    <a:pt x="5261" y="85283"/>
                    <a:pt x="5431" y="85433"/>
                  </a:cubicBezTo>
                  <a:cubicBezTo>
                    <a:pt x="5431" y="85433"/>
                    <a:pt x="5601" y="85584"/>
                    <a:pt x="5601" y="85735"/>
                  </a:cubicBezTo>
                  <a:cubicBezTo>
                    <a:pt x="5940" y="86188"/>
                    <a:pt x="6449" y="86792"/>
                    <a:pt x="6449" y="87245"/>
                  </a:cubicBezTo>
                  <a:cubicBezTo>
                    <a:pt x="6619" y="87396"/>
                    <a:pt x="6619" y="87396"/>
                    <a:pt x="6619" y="87396"/>
                  </a:cubicBezTo>
                  <a:cubicBezTo>
                    <a:pt x="6619" y="88000"/>
                    <a:pt x="6789" y="88754"/>
                    <a:pt x="6449" y="89056"/>
                  </a:cubicBezTo>
                  <a:cubicBezTo>
                    <a:pt x="6280" y="89207"/>
                    <a:pt x="6110" y="89358"/>
                    <a:pt x="5940" y="89358"/>
                  </a:cubicBezTo>
                  <a:cubicBezTo>
                    <a:pt x="5770" y="89509"/>
                    <a:pt x="5770" y="89509"/>
                    <a:pt x="5770" y="89509"/>
                  </a:cubicBezTo>
                  <a:cubicBezTo>
                    <a:pt x="5770" y="89660"/>
                    <a:pt x="5770" y="89962"/>
                    <a:pt x="5770" y="90113"/>
                  </a:cubicBezTo>
                  <a:cubicBezTo>
                    <a:pt x="5770" y="90566"/>
                    <a:pt x="5601" y="91773"/>
                    <a:pt x="5770" y="91924"/>
                  </a:cubicBezTo>
                  <a:cubicBezTo>
                    <a:pt x="5940" y="92075"/>
                    <a:pt x="5940" y="92226"/>
                    <a:pt x="5940" y="92226"/>
                  </a:cubicBezTo>
                  <a:cubicBezTo>
                    <a:pt x="6280" y="92528"/>
                    <a:pt x="6619" y="92830"/>
                    <a:pt x="6280" y="93283"/>
                  </a:cubicBezTo>
                  <a:cubicBezTo>
                    <a:pt x="6110" y="93433"/>
                    <a:pt x="5940" y="93584"/>
                    <a:pt x="5940" y="93735"/>
                  </a:cubicBezTo>
                  <a:cubicBezTo>
                    <a:pt x="5601" y="93886"/>
                    <a:pt x="5431" y="94188"/>
                    <a:pt x="5431" y="94339"/>
                  </a:cubicBezTo>
                  <a:cubicBezTo>
                    <a:pt x="5431" y="94339"/>
                    <a:pt x="5431" y="94641"/>
                    <a:pt x="5431" y="94792"/>
                  </a:cubicBezTo>
                  <a:cubicBezTo>
                    <a:pt x="5601" y="95547"/>
                    <a:pt x="5770" y="96150"/>
                    <a:pt x="5431" y="96452"/>
                  </a:cubicBezTo>
                  <a:cubicBezTo>
                    <a:pt x="5431" y="96452"/>
                    <a:pt x="5261" y="96603"/>
                    <a:pt x="5091" y="96603"/>
                  </a:cubicBezTo>
                  <a:cubicBezTo>
                    <a:pt x="4922" y="96603"/>
                    <a:pt x="4752" y="96603"/>
                    <a:pt x="4413" y="96603"/>
                  </a:cubicBezTo>
                  <a:cubicBezTo>
                    <a:pt x="3734" y="96603"/>
                    <a:pt x="2545" y="96754"/>
                    <a:pt x="2376" y="96754"/>
                  </a:cubicBezTo>
                  <a:cubicBezTo>
                    <a:pt x="2376" y="96905"/>
                    <a:pt x="2376" y="97056"/>
                    <a:pt x="2376" y="97056"/>
                  </a:cubicBezTo>
                  <a:cubicBezTo>
                    <a:pt x="2376" y="97358"/>
                    <a:pt x="2376" y="97660"/>
                    <a:pt x="2206" y="97962"/>
                  </a:cubicBezTo>
                  <a:cubicBezTo>
                    <a:pt x="2036" y="97962"/>
                    <a:pt x="1867" y="98113"/>
                    <a:pt x="1697" y="97962"/>
                  </a:cubicBezTo>
                  <a:cubicBezTo>
                    <a:pt x="1527" y="97962"/>
                    <a:pt x="1357" y="97962"/>
                    <a:pt x="1188" y="97962"/>
                  </a:cubicBezTo>
                  <a:cubicBezTo>
                    <a:pt x="1018" y="97962"/>
                    <a:pt x="509" y="97811"/>
                    <a:pt x="509" y="97962"/>
                  </a:cubicBezTo>
                  <a:cubicBezTo>
                    <a:pt x="0" y="98415"/>
                    <a:pt x="169" y="98716"/>
                    <a:pt x="339" y="98867"/>
                  </a:cubicBezTo>
                  <a:cubicBezTo>
                    <a:pt x="509" y="99018"/>
                    <a:pt x="1018" y="99320"/>
                    <a:pt x="1527" y="99471"/>
                  </a:cubicBezTo>
                  <a:cubicBezTo>
                    <a:pt x="1867" y="99622"/>
                    <a:pt x="2206" y="99773"/>
                    <a:pt x="2376" y="100075"/>
                  </a:cubicBezTo>
                  <a:cubicBezTo>
                    <a:pt x="2545" y="100075"/>
                    <a:pt x="2715" y="100226"/>
                    <a:pt x="2885" y="100377"/>
                  </a:cubicBezTo>
                  <a:cubicBezTo>
                    <a:pt x="3394" y="100830"/>
                    <a:pt x="3903" y="101283"/>
                    <a:pt x="4413" y="101584"/>
                  </a:cubicBezTo>
                  <a:cubicBezTo>
                    <a:pt x="4922" y="102188"/>
                    <a:pt x="5940" y="103094"/>
                    <a:pt x="6280" y="103245"/>
                  </a:cubicBezTo>
                  <a:cubicBezTo>
                    <a:pt x="6449" y="103547"/>
                    <a:pt x="7468" y="103698"/>
                    <a:pt x="7807" y="103698"/>
                  </a:cubicBezTo>
                  <a:cubicBezTo>
                    <a:pt x="7807" y="103698"/>
                    <a:pt x="7977" y="103698"/>
                    <a:pt x="8147" y="103698"/>
                  </a:cubicBezTo>
                  <a:cubicBezTo>
                    <a:pt x="8486" y="103698"/>
                    <a:pt x="9165" y="103698"/>
                    <a:pt x="9674" y="104150"/>
                  </a:cubicBezTo>
                  <a:cubicBezTo>
                    <a:pt x="9844" y="104452"/>
                    <a:pt x="10693" y="105056"/>
                    <a:pt x="11032" y="105056"/>
                  </a:cubicBezTo>
                  <a:cubicBezTo>
                    <a:pt x="11202" y="105056"/>
                    <a:pt x="11541" y="105056"/>
                    <a:pt x="11881" y="105056"/>
                  </a:cubicBezTo>
                  <a:cubicBezTo>
                    <a:pt x="13239" y="105056"/>
                    <a:pt x="14087" y="105207"/>
                    <a:pt x="14257" y="105660"/>
                  </a:cubicBezTo>
                  <a:cubicBezTo>
                    <a:pt x="14427" y="105962"/>
                    <a:pt x="16294" y="107471"/>
                    <a:pt x="16803" y="107773"/>
                  </a:cubicBezTo>
                  <a:cubicBezTo>
                    <a:pt x="17652" y="108075"/>
                    <a:pt x="19519" y="108226"/>
                    <a:pt x="19688" y="108075"/>
                  </a:cubicBezTo>
                  <a:cubicBezTo>
                    <a:pt x="20198" y="107773"/>
                    <a:pt x="20876" y="107018"/>
                    <a:pt x="21046" y="107018"/>
                  </a:cubicBezTo>
                  <a:cubicBezTo>
                    <a:pt x="21046" y="106867"/>
                    <a:pt x="21046" y="106867"/>
                    <a:pt x="21216" y="106867"/>
                  </a:cubicBezTo>
                  <a:cubicBezTo>
                    <a:pt x="21216" y="106867"/>
                    <a:pt x="21216" y="106867"/>
                    <a:pt x="21216" y="106867"/>
                  </a:cubicBezTo>
                  <a:cubicBezTo>
                    <a:pt x="21386" y="106867"/>
                    <a:pt x="21386" y="106867"/>
                    <a:pt x="21386" y="107018"/>
                  </a:cubicBezTo>
                  <a:cubicBezTo>
                    <a:pt x="23253" y="108679"/>
                    <a:pt x="23253" y="108679"/>
                    <a:pt x="23253" y="108679"/>
                  </a:cubicBezTo>
                  <a:cubicBezTo>
                    <a:pt x="23592" y="108528"/>
                    <a:pt x="23932" y="108226"/>
                    <a:pt x="24271" y="107924"/>
                  </a:cubicBezTo>
                  <a:cubicBezTo>
                    <a:pt x="26817" y="105509"/>
                    <a:pt x="27666" y="104754"/>
                    <a:pt x="27835" y="104754"/>
                  </a:cubicBezTo>
                  <a:cubicBezTo>
                    <a:pt x="28005" y="104603"/>
                    <a:pt x="28005" y="104603"/>
                    <a:pt x="28005" y="104603"/>
                  </a:cubicBezTo>
                  <a:cubicBezTo>
                    <a:pt x="28345" y="104452"/>
                    <a:pt x="28684" y="104301"/>
                    <a:pt x="29193" y="104603"/>
                  </a:cubicBezTo>
                  <a:cubicBezTo>
                    <a:pt x="29872" y="104754"/>
                    <a:pt x="30381" y="105207"/>
                    <a:pt x="30381" y="105811"/>
                  </a:cubicBezTo>
                  <a:cubicBezTo>
                    <a:pt x="30381" y="105962"/>
                    <a:pt x="30212" y="106113"/>
                    <a:pt x="30212" y="106264"/>
                  </a:cubicBezTo>
                  <a:cubicBezTo>
                    <a:pt x="30212" y="106566"/>
                    <a:pt x="30212" y="106716"/>
                    <a:pt x="30381" y="106716"/>
                  </a:cubicBezTo>
                  <a:cubicBezTo>
                    <a:pt x="30381" y="106867"/>
                    <a:pt x="30721" y="107018"/>
                    <a:pt x="31060" y="107169"/>
                  </a:cubicBezTo>
                  <a:cubicBezTo>
                    <a:pt x="32418" y="107622"/>
                    <a:pt x="32758" y="107924"/>
                    <a:pt x="32927" y="108075"/>
                  </a:cubicBezTo>
                  <a:cubicBezTo>
                    <a:pt x="33097" y="108377"/>
                    <a:pt x="33946" y="108830"/>
                    <a:pt x="34285" y="108981"/>
                  </a:cubicBezTo>
                  <a:cubicBezTo>
                    <a:pt x="34285" y="108981"/>
                    <a:pt x="34455" y="108981"/>
                    <a:pt x="34625" y="108981"/>
                  </a:cubicBezTo>
                  <a:cubicBezTo>
                    <a:pt x="35134" y="108981"/>
                    <a:pt x="35813" y="109132"/>
                    <a:pt x="36322" y="109433"/>
                  </a:cubicBezTo>
                  <a:cubicBezTo>
                    <a:pt x="36492" y="109584"/>
                    <a:pt x="36661" y="109886"/>
                    <a:pt x="37001" y="110037"/>
                  </a:cubicBezTo>
                  <a:cubicBezTo>
                    <a:pt x="37340" y="110339"/>
                    <a:pt x="38019" y="110943"/>
                    <a:pt x="38189" y="110943"/>
                  </a:cubicBezTo>
                  <a:cubicBezTo>
                    <a:pt x="39038" y="111094"/>
                    <a:pt x="39547" y="111396"/>
                    <a:pt x="39717" y="111698"/>
                  </a:cubicBezTo>
                  <a:cubicBezTo>
                    <a:pt x="39717" y="111698"/>
                    <a:pt x="39886" y="111698"/>
                    <a:pt x="39886" y="111849"/>
                  </a:cubicBezTo>
                  <a:cubicBezTo>
                    <a:pt x="40735" y="113056"/>
                    <a:pt x="41074" y="113207"/>
                    <a:pt x="41244" y="113207"/>
                  </a:cubicBezTo>
                  <a:cubicBezTo>
                    <a:pt x="43281" y="112603"/>
                    <a:pt x="44639" y="112452"/>
                    <a:pt x="45148" y="112754"/>
                  </a:cubicBezTo>
                  <a:cubicBezTo>
                    <a:pt x="45657" y="112905"/>
                    <a:pt x="46166" y="113358"/>
                    <a:pt x="46506" y="113811"/>
                  </a:cubicBezTo>
                  <a:cubicBezTo>
                    <a:pt x="47015" y="114264"/>
                    <a:pt x="47694" y="114716"/>
                    <a:pt x="47864" y="114716"/>
                  </a:cubicBezTo>
                  <a:cubicBezTo>
                    <a:pt x="48033" y="114867"/>
                    <a:pt x="48373" y="114867"/>
                    <a:pt x="48543" y="114867"/>
                  </a:cubicBezTo>
                  <a:cubicBezTo>
                    <a:pt x="49391" y="115018"/>
                    <a:pt x="49900" y="115169"/>
                    <a:pt x="50070" y="115320"/>
                  </a:cubicBezTo>
                  <a:cubicBezTo>
                    <a:pt x="50240" y="115471"/>
                    <a:pt x="50240" y="115622"/>
                    <a:pt x="50240" y="115773"/>
                  </a:cubicBezTo>
                  <a:cubicBezTo>
                    <a:pt x="50240" y="115924"/>
                    <a:pt x="50240" y="115924"/>
                    <a:pt x="50240" y="115924"/>
                  </a:cubicBezTo>
                  <a:cubicBezTo>
                    <a:pt x="50070" y="116226"/>
                    <a:pt x="50070" y="116528"/>
                    <a:pt x="50240" y="116830"/>
                  </a:cubicBezTo>
                  <a:cubicBezTo>
                    <a:pt x="50749" y="117433"/>
                    <a:pt x="51428" y="118339"/>
                    <a:pt x="51768" y="118339"/>
                  </a:cubicBezTo>
                  <a:cubicBezTo>
                    <a:pt x="51768" y="118490"/>
                    <a:pt x="51937" y="118339"/>
                    <a:pt x="52107" y="118339"/>
                  </a:cubicBezTo>
                  <a:cubicBezTo>
                    <a:pt x="52956" y="118188"/>
                    <a:pt x="54314" y="118037"/>
                    <a:pt x="54992" y="118943"/>
                  </a:cubicBezTo>
                  <a:cubicBezTo>
                    <a:pt x="55332" y="119547"/>
                    <a:pt x="55332" y="119849"/>
                    <a:pt x="55502" y="120000"/>
                  </a:cubicBezTo>
                  <a:cubicBezTo>
                    <a:pt x="55502" y="120000"/>
                    <a:pt x="55502" y="120000"/>
                    <a:pt x="55502" y="120000"/>
                  </a:cubicBezTo>
                  <a:cubicBezTo>
                    <a:pt x="55671" y="120000"/>
                    <a:pt x="56350" y="119698"/>
                    <a:pt x="56859" y="119547"/>
                  </a:cubicBezTo>
                  <a:cubicBezTo>
                    <a:pt x="57538" y="119245"/>
                    <a:pt x="57878" y="119094"/>
                    <a:pt x="58048" y="119094"/>
                  </a:cubicBezTo>
                  <a:cubicBezTo>
                    <a:pt x="59066" y="119094"/>
                    <a:pt x="59236" y="118943"/>
                    <a:pt x="59405" y="118943"/>
                  </a:cubicBezTo>
                  <a:cubicBezTo>
                    <a:pt x="59405" y="118943"/>
                    <a:pt x="59405" y="118641"/>
                    <a:pt x="59405" y="118339"/>
                  </a:cubicBezTo>
                  <a:cubicBezTo>
                    <a:pt x="59405" y="116679"/>
                    <a:pt x="59575" y="115773"/>
                    <a:pt x="59915" y="115471"/>
                  </a:cubicBezTo>
                  <a:cubicBezTo>
                    <a:pt x="59915" y="115471"/>
                    <a:pt x="62121" y="113811"/>
                    <a:pt x="62630" y="113509"/>
                  </a:cubicBezTo>
                  <a:cubicBezTo>
                    <a:pt x="63140" y="113056"/>
                    <a:pt x="64667" y="111094"/>
                    <a:pt x="65346" y="110339"/>
                  </a:cubicBezTo>
                  <a:cubicBezTo>
                    <a:pt x="65685" y="109886"/>
                    <a:pt x="66364" y="108528"/>
                    <a:pt x="67213" y="106716"/>
                  </a:cubicBezTo>
                  <a:cubicBezTo>
                    <a:pt x="67383" y="106113"/>
                    <a:pt x="71287" y="102792"/>
                    <a:pt x="71966" y="102188"/>
                  </a:cubicBezTo>
                  <a:cubicBezTo>
                    <a:pt x="72475" y="101886"/>
                    <a:pt x="73493" y="100830"/>
                    <a:pt x="74342" y="99773"/>
                  </a:cubicBezTo>
                  <a:cubicBezTo>
                    <a:pt x="75190" y="98716"/>
                    <a:pt x="75869" y="97962"/>
                    <a:pt x="76209" y="97660"/>
                  </a:cubicBezTo>
                  <a:cubicBezTo>
                    <a:pt x="76718" y="97207"/>
                    <a:pt x="77057" y="91924"/>
                    <a:pt x="77057" y="90264"/>
                  </a:cubicBezTo>
                  <a:cubicBezTo>
                    <a:pt x="77057" y="89962"/>
                    <a:pt x="77397" y="88905"/>
                    <a:pt x="77906" y="87396"/>
                  </a:cubicBezTo>
                  <a:cubicBezTo>
                    <a:pt x="78246" y="86490"/>
                    <a:pt x="78585" y="85735"/>
                    <a:pt x="78585" y="85584"/>
                  </a:cubicBezTo>
                  <a:cubicBezTo>
                    <a:pt x="78585" y="85283"/>
                    <a:pt x="78076" y="85132"/>
                    <a:pt x="77567" y="84981"/>
                  </a:cubicBezTo>
                  <a:cubicBezTo>
                    <a:pt x="77397" y="84981"/>
                    <a:pt x="77227" y="84830"/>
                    <a:pt x="77057" y="84830"/>
                  </a:cubicBezTo>
                  <a:cubicBezTo>
                    <a:pt x="76379" y="84528"/>
                    <a:pt x="76039" y="83924"/>
                    <a:pt x="75869" y="83320"/>
                  </a:cubicBezTo>
                  <a:cubicBezTo>
                    <a:pt x="75869" y="82867"/>
                    <a:pt x="73663" y="74566"/>
                    <a:pt x="73493" y="74264"/>
                  </a:cubicBezTo>
                  <a:cubicBezTo>
                    <a:pt x="73323" y="73811"/>
                    <a:pt x="74002" y="72905"/>
                    <a:pt x="74512" y="72150"/>
                  </a:cubicBezTo>
                  <a:cubicBezTo>
                    <a:pt x="74512" y="72150"/>
                    <a:pt x="74851" y="71547"/>
                    <a:pt x="75530" y="71245"/>
                  </a:cubicBezTo>
                  <a:cubicBezTo>
                    <a:pt x="75360" y="71245"/>
                    <a:pt x="75021" y="70943"/>
                    <a:pt x="74342" y="70641"/>
                  </a:cubicBezTo>
                  <a:cubicBezTo>
                    <a:pt x="74172" y="70339"/>
                    <a:pt x="73323" y="70188"/>
                    <a:pt x="72814" y="70037"/>
                  </a:cubicBezTo>
                  <a:cubicBezTo>
                    <a:pt x="72475" y="70037"/>
                    <a:pt x="72305" y="69886"/>
                    <a:pt x="72135" y="69886"/>
                  </a:cubicBezTo>
                  <a:cubicBezTo>
                    <a:pt x="71456" y="69584"/>
                    <a:pt x="71117" y="66867"/>
                    <a:pt x="71117" y="66566"/>
                  </a:cubicBezTo>
                  <a:cubicBezTo>
                    <a:pt x="71117" y="65811"/>
                    <a:pt x="74512" y="64000"/>
                    <a:pt x="74512" y="64000"/>
                  </a:cubicBezTo>
                  <a:cubicBezTo>
                    <a:pt x="75021" y="63698"/>
                    <a:pt x="75530" y="63698"/>
                    <a:pt x="76039" y="63698"/>
                  </a:cubicBezTo>
                  <a:cubicBezTo>
                    <a:pt x="76209" y="63698"/>
                    <a:pt x="76379" y="63698"/>
                    <a:pt x="76548" y="63547"/>
                  </a:cubicBezTo>
                  <a:cubicBezTo>
                    <a:pt x="76718" y="63547"/>
                    <a:pt x="76718" y="63396"/>
                    <a:pt x="76718" y="62339"/>
                  </a:cubicBezTo>
                  <a:cubicBezTo>
                    <a:pt x="76718" y="62339"/>
                    <a:pt x="76718" y="62188"/>
                    <a:pt x="76718" y="62037"/>
                  </a:cubicBezTo>
                  <a:cubicBezTo>
                    <a:pt x="76718" y="61584"/>
                    <a:pt x="77567" y="61283"/>
                    <a:pt x="78076" y="61132"/>
                  </a:cubicBezTo>
                  <a:cubicBezTo>
                    <a:pt x="78246" y="61132"/>
                    <a:pt x="78246" y="61132"/>
                    <a:pt x="78415" y="61132"/>
                  </a:cubicBezTo>
                  <a:cubicBezTo>
                    <a:pt x="78755" y="60981"/>
                    <a:pt x="79434" y="61132"/>
                    <a:pt x="80622" y="61433"/>
                  </a:cubicBezTo>
                  <a:cubicBezTo>
                    <a:pt x="80961" y="61584"/>
                    <a:pt x="81131" y="61584"/>
                    <a:pt x="81301" y="61584"/>
                  </a:cubicBezTo>
                  <a:cubicBezTo>
                    <a:pt x="81640" y="61735"/>
                    <a:pt x="83168" y="61132"/>
                    <a:pt x="83677" y="60830"/>
                  </a:cubicBezTo>
                  <a:cubicBezTo>
                    <a:pt x="83847" y="60830"/>
                    <a:pt x="84016" y="60226"/>
                    <a:pt x="83847" y="59471"/>
                  </a:cubicBezTo>
                  <a:cubicBezTo>
                    <a:pt x="83847" y="59320"/>
                    <a:pt x="83847" y="59169"/>
                    <a:pt x="83847" y="59018"/>
                  </a:cubicBezTo>
                  <a:cubicBezTo>
                    <a:pt x="83847" y="58716"/>
                    <a:pt x="84356" y="58415"/>
                    <a:pt x="84865" y="58113"/>
                  </a:cubicBezTo>
                  <a:cubicBezTo>
                    <a:pt x="85035" y="57962"/>
                    <a:pt x="85374" y="57962"/>
                    <a:pt x="85374" y="57811"/>
                  </a:cubicBezTo>
                  <a:cubicBezTo>
                    <a:pt x="85544" y="57660"/>
                    <a:pt x="85714" y="57660"/>
                    <a:pt x="85884" y="57660"/>
                  </a:cubicBezTo>
                  <a:cubicBezTo>
                    <a:pt x="86393" y="57660"/>
                    <a:pt x="86902" y="58113"/>
                    <a:pt x="87241" y="58415"/>
                  </a:cubicBezTo>
                  <a:cubicBezTo>
                    <a:pt x="87411" y="58566"/>
                    <a:pt x="88939" y="58566"/>
                    <a:pt x="89448" y="58415"/>
                  </a:cubicBezTo>
                  <a:cubicBezTo>
                    <a:pt x="89957" y="58415"/>
                    <a:pt x="90806" y="57962"/>
                    <a:pt x="91145" y="57660"/>
                  </a:cubicBezTo>
                  <a:cubicBezTo>
                    <a:pt x="91824" y="57207"/>
                    <a:pt x="92333" y="57811"/>
                    <a:pt x="92842" y="58113"/>
                  </a:cubicBezTo>
                  <a:cubicBezTo>
                    <a:pt x="92842" y="58113"/>
                    <a:pt x="93012" y="58264"/>
                    <a:pt x="93012" y="58264"/>
                  </a:cubicBezTo>
                  <a:cubicBezTo>
                    <a:pt x="93352" y="58566"/>
                    <a:pt x="95728" y="59018"/>
                    <a:pt x="96237" y="59018"/>
                  </a:cubicBezTo>
                  <a:cubicBezTo>
                    <a:pt x="96577" y="59018"/>
                    <a:pt x="97256" y="58566"/>
                    <a:pt x="97595" y="58415"/>
                  </a:cubicBezTo>
                  <a:cubicBezTo>
                    <a:pt x="97595" y="58264"/>
                    <a:pt x="97765" y="58264"/>
                    <a:pt x="97765" y="58264"/>
                  </a:cubicBezTo>
                  <a:cubicBezTo>
                    <a:pt x="98274" y="57962"/>
                    <a:pt x="99462" y="58264"/>
                    <a:pt x="99801" y="58415"/>
                  </a:cubicBezTo>
                  <a:cubicBezTo>
                    <a:pt x="100141" y="58264"/>
                    <a:pt x="101159" y="57207"/>
                    <a:pt x="101329" y="56905"/>
                  </a:cubicBezTo>
                  <a:cubicBezTo>
                    <a:pt x="101669" y="56452"/>
                    <a:pt x="103196" y="56301"/>
                    <a:pt x="103705" y="56301"/>
                  </a:cubicBezTo>
                  <a:cubicBezTo>
                    <a:pt x="103875" y="55849"/>
                    <a:pt x="103705" y="54037"/>
                    <a:pt x="103705" y="53433"/>
                  </a:cubicBezTo>
                  <a:cubicBezTo>
                    <a:pt x="103705" y="53132"/>
                    <a:pt x="103705" y="52830"/>
                    <a:pt x="103705" y="52679"/>
                  </a:cubicBezTo>
                  <a:cubicBezTo>
                    <a:pt x="103705" y="52075"/>
                    <a:pt x="104893" y="51622"/>
                    <a:pt x="105912" y="51320"/>
                  </a:cubicBezTo>
                  <a:cubicBezTo>
                    <a:pt x="106082" y="51169"/>
                    <a:pt x="106421" y="51018"/>
                    <a:pt x="107100" y="49207"/>
                  </a:cubicBezTo>
                  <a:cubicBezTo>
                    <a:pt x="107270" y="49056"/>
                    <a:pt x="107270" y="49056"/>
                    <a:pt x="107270" y="49056"/>
                  </a:cubicBezTo>
                  <a:cubicBezTo>
                    <a:pt x="107270" y="49056"/>
                    <a:pt x="107270" y="48905"/>
                    <a:pt x="107439" y="48905"/>
                  </a:cubicBezTo>
                  <a:cubicBezTo>
                    <a:pt x="107949" y="48603"/>
                    <a:pt x="109306" y="49056"/>
                    <a:pt x="109816" y="49358"/>
                  </a:cubicBezTo>
                  <a:cubicBezTo>
                    <a:pt x="109816" y="49358"/>
                    <a:pt x="109816" y="49358"/>
                    <a:pt x="109816" y="49358"/>
                  </a:cubicBezTo>
                  <a:cubicBezTo>
                    <a:pt x="109985" y="49358"/>
                    <a:pt x="110664" y="50113"/>
                    <a:pt x="111004" y="50415"/>
                  </a:cubicBezTo>
                  <a:cubicBezTo>
                    <a:pt x="111343" y="50716"/>
                    <a:pt x="110664" y="51320"/>
                    <a:pt x="109306" y="52226"/>
                  </a:cubicBezTo>
                  <a:cubicBezTo>
                    <a:pt x="109646" y="52377"/>
                    <a:pt x="109985" y="52377"/>
                    <a:pt x="110325" y="52377"/>
                  </a:cubicBezTo>
                  <a:cubicBezTo>
                    <a:pt x="110664" y="52377"/>
                    <a:pt x="111173" y="52075"/>
                    <a:pt x="111513" y="51924"/>
                  </a:cubicBezTo>
                  <a:cubicBezTo>
                    <a:pt x="111683" y="51773"/>
                    <a:pt x="111852" y="51622"/>
                    <a:pt x="112022" y="51622"/>
                  </a:cubicBezTo>
                  <a:cubicBezTo>
                    <a:pt x="112192" y="51471"/>
                    <a:pt x="112701" y="51622"/>
                    <a:pt x="113889" y="51773"/>
                  </a:cubicBezTo>
                  <a:cubicBezTo>
                    <a:pt x="114229" y="51924"/>
                    <a:pt x="114568" y="51924"/>
                    <a:pt x="114738" y="51924"/>
                  </a:cubicBezTo>
                  <a:cubicBezTo>
                    <a:pt x="114908" y="51924"/>
                    <a:pt x="115586" y="50867"/>
                    <a:pt x="115756" y="50566"/>
                  </a:cubicBezTo>
                  <a:cubicBezTo>
                    <a:pt x="115756" y="50113"/>
                    <a:pt x="117284" y="49509"/>
                    <a:pt x="117623" y="49509"/>
                  </a:cubicBezTo>
                  <a:cubicBezTo>
                    <a:pt x="117623" y="49358"/>
                    <a:pt x="117793" y="49056"/>
                    <a:pt x="117793" y="47849"/>
                  </a:cubicBezTo>
                  <a:cubicBezTo>
                    <a:pt x="117793" y="47698"/>
                    <a:pt x="117623" y="47547"/>
                    <a:pt x="117454" y="47396"/>
                  </a:cubicBezTo>
                  <a:cubicBezTo>
                    <a:pt x="117284" y="47245"/>
                    <a:pt x="117284" y="47245"/>
                    <a:pt x="117114" y="47094"/>
                  </a:cubicBezTo>
                  <a:cubicBezTo>
                    <a:pt x="116775" y="46792"/>
                    <a:pt x="116775" y="46339"/>
                    <a:pt x="116944" y="46037"/>
                  </a:cubicBezTo>
                  <a:cubicBezTo>
                    <a:pt x="116944" y="46037"/>
                    <a:pt x="116944" y="45886"/>
                    <a:pt x="116944" y="45886"/>
                  </a:cubicBezTo>
                  <a:cubicBezTo>
                    <a:pt x="116775" y="45886"/>
                    <a:pt x="116435" y="46037"/>
                    <a:pt x="116265" y="46037"/>
                  </a:cubicBezTo>
                  <a:cubicBezTo>
                    <a:pt x="115926" y="46188"/>
                    <a:pt x="115586" y="46188"/>
                    <a:pt x="115417" y="46188"/>
                  </a:cubicBezTo>
                  <a:cubicBezTo>
                    <a:pt x="114738" y="46188"/>
                    <a:pt x="112192" y="43471"/>
                    <a:pt x="112192" y="43471"/>
                  </a:cubicBezTo>
                  <a:cubicBezTo>
                    <a:pt x="111852" y="43018"/>
                    <a:pt x="112531" y="41056"/>
                    <a:pt x="112701" y="40905"/>
                  </a:cubicBezTo>
                  <a:cubicBezTo>
                    <a:pt x="112701" y="40905"/>
                    <a:pt x="112531" y="40754"/>
                    <a:pt x="112362" y="40603"/>
                  </a:cubicBezTo>
                  <a:cubicBezTo>
                    <a:pt x="112192" y="40603"/>
                    <a:pt x="112022" y="40452"/>
                    <a:pt x="111852" y="40301"/>
                  </a:cubicBezTo>
                  <a:cubicBezTo>
                    <a:pt x="111513" y="39849"/>
                    <a:pt x="112022" y="39094"/>
                    <a:pt x="112362" y="38490"/>
                  </a:cubicBezTo>
                  <a:cubicBezTo>
                    <a:pt x="112362" y="38339"/>
                    <a:pt x="112362" y="38339"/>
                    <a:pt x="112531" y="38188"/>
                  </a:cubicBezTo>
                  <a:cubicBezTo>
                    <a:pt x="112531" y="38188"/>
                    <a:pt x="112531" y="38037"/>
                    <a:pt x="112531" y="38037"/>
                  </a:cubicBezTo>
                  <a:cubicBezTo>
                    <a:pt x="112531" y="38037"/>
                    <a:pt x="112362" y="38037"/>
                    <a:pt x="112362" y="37886"/>
                  </a:cubicBezTo>
                  <a:cubicBezTo>
                    <a:pt x="112192" y="37886"/>
                    <a:pt x="112022" y="37735"/>
                    <a:pt x="112022" y="37584"/>
                  </a:cubicBezTo>
                  <a:cubicBezTo>
                    <a:pt x="111852" y="37584"/>
                    <a:pt x="111852" y="37433"/>
                    <a:pt x="111852" y="37283"/>
                  </a:cubicBezTo>
                  <a:cubicBezTo>
                    <a:pt x="111852" y="36830"/>
                    <a:pt x="112362" y="36377"/>
                    <a:pt x="113380" y="35773"/>
                  </a:cubicBezTo>
                  <a:cubicBezTo>
                    <a:pt x="113550" y="35622"/>
                    <a:pt x="113719" y="35471"/>
                    <a:pt x="113889" y="35471"/>
                  </a:cubicBezTo>
                  <a:cubicBezTo>
                    <a:pt x="114229" y="35169"/>
                    <a:pt x="114738" y="35320"/>
                    <a:pt x="115417" y="35320"/>
                  </a:cubicBezTo>
                  <a:cubicBezTo>
                    <a:pt x="115756" y="35320"/>
                    <a:pt x="115756" y="35320"/>
                    <a:pt x="115756" y="35320"/>
                  </a:cubicBezTo>
                  <a:cubicBezTo>
                    <a:pt x="116435" y="35471"/>
                    <a:pt x="116775" y="35773"/>
                    <a:pt x="117114" y="36226"/>
                  </a:cubicBezTo>
                  <a:cubicBezTo>
                    <a:pt x="117284" y="36377"/>
                    <a:pt x="117284" y="36377"/>
                    <a:pt x="117284" y="36377"/>
                  </a:cubicBezTo>
                  <a:cubicBezTo>
                    <a:pt x="117284" y="36528"/>
                    <a:pt x="117454" y="36528"/>
                    <a:pt x="117793" y="36377"/>
                  </a:cubicBezTo>
                  <a:cubicBezTo>
                    <a:pt x="117963" y="36377"/>
                    <a:pt x="118132" y="36377"/>
                    <a:pt x="118302" y="36377"/>
                  </a:cubicBezTo>
                  <a:cubicBezTo>
                    <a:pt x="118472" y="36377"/>
                    <a:pt x="118981" y="36075"/>
                    <a:pt x="119490" y="35773"/>
                  </a:cubicBezTo>
                  <a:cubicBezTo>
                    <a:pt x="119490" y="35773"/>
                    <a:pt x="119490" y="35773"/>
                    <a:pt x="119660" y="35622"/>
                  </a:cubicBezTo>
                  <a:cubicBezTo>
                    <a:pt x="119490" y="35622"/>
                    <a:pt x="119660" y="35471"/>
                    <a:pt x="119660" y="35471"/>
                  </a:cubicBezTo>
                  <a:cubicBezTo>
                    <a:pt x="119660" y="35471"/>
                    <a:pt x="119660" y="35320"/>
                    <a:pt x="119830" y="35320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3" name="Shape 6957">
              <a:extLst>
                <a:ext uri="{FF2B5EF4-FFF2-40B4-BE49-F238E27FC236}">
                  <a16:creationId xmlns:a16="http://schemas.microsoft.com/office/drawing/2014/main" id="{44720898-F098-4EA6-A4D8-0F6405E043B1}"/>
                </a:ext>
              </a:extLst>
            </p:cNvPr>
            <p:cNvSpPr/>
            <p:nvPr/>
          </p:nvSpPr>
          <p:spPr>
            <a:xfrm>
              <a:off x="3618855" y="4080218"/>
              <a:ext cx="869213" cy="614956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65600" y="118541"/>
                  </a:moveTo>
                  <a:cubicBezTo>
                    <a:pt x="66133" y="119270"/>
                    <a:pt x="66400" y="120000"/>
                    <a:pt x="66666" y="120000"/>
                  </a:cubicBezTo>
                  <a:cubicBezTo>
                    <a:pt x="66666" y="119635"/>
                    <a:pt x="66933" y="119270"/>
                    <a:pt x="67200" y="118905"/>
                  </a:cubicBezTo>
                  <a:cubicBezTo>
                    <a:pt x="69866" y="114528"/>
                    <a:pt x="70933" y="113069"/>
                    <a:pt x="71733" y="113069"/>
                  </a:cubicBezTo>
                  <a:cubicBezTo>
                    <a:pt x="72000" y="113069"/>
                    <a:pt x="72533" y="113434"/>
                    <a:pt x="73066" y="113434"/>
                  </a:cubicBezTo>
                  <a:cubicBezTo>
                    <a:pt x="74133" y="113434"/>
                    <a:pt x="75466" y="113799"/>
                    <a:pt x="76266" y="113434"/>
                  </a:cubicBezTo>
                  <a:cubicBezTo>
                    <a:pt x="76800" y="113069"/>
                    <a:pt x="77600" y="112340"/>
                    <a:pt x="78133" y="111975"/>
                  </a:cubicBezTo>
                  <a:cubicBezTo>
                    <a:pt x="78933" y="111246"/>
                    <a:pt x="79466" y="110516"/>
                    <a:pt x="80000" y="110516"/>
                  </a:cubicBezTo>
                  <a:cubicBezTo>
                    <a:pt x="80000" y="110516"/>
                    <a:pt x="80266" y="110516"/>
                    <a:pt x="80533" y="110881"/>
                  </a:cubicBezTo>
                  <a:cubicBezTo>
                    <a:pt x="85600" y="111246"/>
                    <a:pt x="86666" y="110881"/>
                    <a:pt x="86933" y="110516"/>
                  </a:cubicBezTo>
                  <a:cubicBezTo>
                    <a:pt x="87200" y="110151"/>
                    <a:pt x="87466" y="109787"/>
                    <a:pt x="88000" y="109057"/>
                  </a:cubicBezTo>
                  <a:cubicBezTo>
                    <a:pt x="90400" y="105775"/>
                    <a:pt x="92000" y="103951"/>
                    <a:pt x="92800" y="103586"/>
                  </a:cubicBezTo>
                  <a:cubicBezTo>
                    <a:pt x="93066" y="103586"/>
                    <a:pt x="93066" y="103586"/>
                    <a:pt x="93066" y="103586"/>
                  </a:cubicBezTo>
                  <a:cubicBezTo>
                    <a:pt x="94933" y="103221"/>
                    <a:pt x="96800" y="103221"/>
                    <a:pt x="97600" y="103586"/>
                  </a:cubicBezTo>
                  <a:cubicBezTo>
                    <a:pt x="97866" y="103586"/>
                    <a:pt x="97866" y="103586"/>
                    <a:pt x="97866" y="103586"/>
                  </a:cubicBezTo>
                  <a:cubicBezTo>
                    <a:pt x="98666" y="103951"/>
                    <a:pt x="100266" y="104680"/>
                    <a:pt x="100800" y="104680"/>
                  </a:cubicBezTo>
                  <a:cubicBezTo>
                    <a:pt x="100800" y="104680"/>
                    <a:pt x="101333" y="104316"/>
                    <a:pt x="101866" y="103951"/>
                  </a:cubicBezTo>
                  <a:cubicBezTo>
                    <a:pt x="102933" y="103221"/>
                    <a:pt x="104266" y="102127"/>
                    <a:pt x="105066" y="102857"/>
                  </a:cubicBezTo>
                  <a:cubicBezTo>
                    <a:pt x="105333" y="103221"/>
                    <a:pt x="105600" y="103586"/>
                    <a:pt x="105866" y="103951"/>
                  </a:cubicBezTo>
                  <a:cubicBezTo>
                    <a:pt x="106133" y="103951"/>
                    <a:pt x="106400" y="104316"/>
                    <a:pt x="106400" y="104316"/>
                  </a:cubicBezTo>
                  <a:cubicBezTo>
                    <a:pt x="106666" y="104316"/>
                    <a:pt x="107200" y="103586"/>
                    <a:pt x="107466" y="102857"/>
                  </a:cubicBezTo>
                  <a:cubicBezTo>
                    <a:pt x="108800" y="101033"/>
                    <a:pt x="109600" y="99574"/>
                    <a:pt x="110133" y="99574"/>
                  </a:cubicBezTo>
                  <a:cubicBezTo>
                    <a:pt x="110666" y="99209"/>
                    <a:pt x="112800" y="98115"/>
                    <a:pt x="113333" y="98115"/>
                  </a:cubicBezTo>
                  <a:cubicBezTo>
                    <a:pt x="113333" y="97750"/>
                    <a:pt x="113333" y="97750"/>
                    <a:pt x="113600" y="97386"/>
                  </a:cubicBezTo>
                  <a:cubicBezTo>
                    <a:pt x="113600" y="96656"/>
                    <a:pt x="113600" y="93009"/>
                    <a:pt x="113600" y="91550"/>
                  </a:cubicBezTo>
                  <a:cubicBezTo>
                    <a:pt x="113600" y="90820"/>
                    <a:pt x="113600" y="90455"/>
                    <a:pt x="113600" y="90455"/>
                  </a:cubicBezTo>
                  <a:cubicBezTo>
                    <a:pt x="113600" y="89726"/>
                    <a:pt x="113866" y="88996"/>
                    <a:pt x="115200" y="86079"/>
                  </a:cubicBezTo>
                  <a:cubicBezTo>
                    <a:pt x="115466" y="85349"/>
                    <a:pt x="116000" y="84620"/>
                    <a:pt x="116000" y="84255"/>
                  </a:cubicBezTo>
                  <a:cubicBezTo>
                    <a:pt x="116266" y="83890"/>
                    <a:pt x="116533" y="83525"/>
                    <a:pt x="118400" y="82066"/>
                  </a:cubicBezTo>
                  <a:cubicBezTo>
                    <a:pt x="118933" y="81702"/>
                    <a:pt x="119466" y="81337"/>
                    <a:pt x="119733" y="81337"/>
                  </a:cubicBezTo>
                  <a:cubicBezTo>
                    <a:pt x="120000" y="80972"/>
                    <a:pt x="119733" y="77689"/>
                    <a:pt x="119733" y="76231"/>
                  </a:cubicBezTo>
                  <a:cubicBezTo>
                    <a:pt x="119466" y="75866"/>
                    <a:pt x="117066" y="75136"/>
                    <a:pt x="116266" y="75136"/>
                  </a:cubicBezTo>
                  <a:cubicBezTo>
                    <a:pt x="115466" y="74772"/>
                    <a:pt x="115200" y="74772"/>
                    <a:pt x="114933" y="74407"/>
                  </a:cubicBezTo>
                  <a:cubicBezTo>
                    <a:pt x="114666" y="74407"/>
                    <a:pt x="113866" y="74407"/>
                    <a:pt x="113333" y="74407"/>
                  </a:cubicBezTo>
                  <a:cubicBezTo>
                    <a:pt x="112533" y="74407"/>
                    <a:pt x="112000" y="74042"/>
                    <a:pt x="111466" y="74042"/>
                  </a:cubicBezTo>
                  <a:cubicBezTo>
                    <a:pt x="110933" y="73677"/>
                    <a:pt x="110666" y="72583"/>
                    <a:pt x="110666" y="71124"/>
                  </a:cubicBezTo>
                  <a:cubicBezTo>
                    <a:pt x="110400" y="70395"/>
                    <a:pt x="110400" y="69300"/>
                    <a:pt x="110133" y="68936"/>
                  </a:cubicBezTo>
                  <a:cubicBezTo>
                    <a:pt x="109866" y="68206"/>
                    <a:pt x="109333" y="66747"/>
                    <a:pt x="108800" y="65653"/>
                  </a:cubicBezTo>
                  <a:cubicBezTo>
                    <a:pt x="108266" y="64924"/>
                    <a:pt x="108000" y="64194"/>
                    <a:pt x="107733" y="63829"/>
                  </a:cubicBezTo>
                  <a:cubicBezTo>
                    <a:pt x="107466" y="63100"/>
                    <a:pt x="108000" y="60911"/>
                    <a:pt x="109333" y="57629"/>
                  </a:cubicBezTo>
                  <a:cubicBezTo>
                    <a:pt x="109333" y="56899"/>
                    <a:pt x="109600" y="56534"/>
                    <a:pt x="109600" y="56534"/>
                  </a:cubicBezTo>
                  <a:cubicBezTo>
                    <a:pt x="109866" y="55805"/>
                    <a:pt x="110666" y="54711"/>
                    <a:pt x="112266" y="52158"/>
                  </a:cubicBezTo>
                  <a:cubicBezTo>
                    <a:pt x="113333" y="50699"/>
                    <a:pt x="114666" y="48510"/>
                    <a:pt x="114933" y="48145"/>
                  </a:cubicBezTo>
                  <a:cubicBezTo>
                    <a:pt x="114933" y="47781"/>
                    <a:pt x="114400" y="46322"/>
                    <a:pt x="113600" y="45957"/>
                  </a:cubicBezTo>
                  <a:cubicBezTo>
                    <a:pt x="113333" y="45592"/>
                    <a:pt x="111733" y="45957"/>
                    <a:pt x="110933" y="46322"/>
                  </a:cubicBezTo>
                  <a:cubicBezTo>
                    <a:pt x="110133" y="46322"/>
                    <a:pt x="109333" y="46322"/>
                    <a:pt x="109066" y="46322"/>
                  </a:cubicBezTo>
                  <a:cubicBezTo>
                    <a:pt x="107466" y="46322"/>
                    <a:pt x="107466" y="40486"/>
                    <a:pt x="107466" y="40486"/>
                  </a:cubicBezTo>
                  <a:cubicBezTo>
                    <a:pt x="107200" y="40121"/>
                    <a:pt x="105866" y="38662"/>
                    <a:pt x="105066" y="37568"/>
                  </a:cubicBezTo>
                  <a:cubicBezTo>
                    <a:pt x="103733" y="36109"/>
                    <a:pt x="102933" y="35015"/>
                    <a:pt x="102666" y="34650"/>
                  </a:cubicBezTo>
                  <a:cubicBezTo>
                    <a:pt x="101600" y="31367"/>
                    <a:pt x="101600" y="31367"/>
                    <a:pt x="101600" y="31367"/>
                  </a:cubicBezTo>
                  <a:cubicBezTo>
                    <a:pt x="101066" y="30638"/>
                    <a:pt x="96800" y="29908"/>
                    <a:pt x="93600" y="29544"/>
                  </a:cubicBezTo>
                  <a:cubicBezTo>
                    <a:pt x="91733" y="29179"/>
                    <a:pt x="87466" y="31003"/>
                    <a:pt x="86933" y="31367"/>
                  </a:cubicBezTo>
                  <a:cubicBezTo>
                    <a:pt x="85866" y="32097"/>
                    <a:pt x="82400" y="29908"/>
                    <a:pt x="81866" y="29544"/>
                  </a:cubicBezTo>
                  <a:cubicBezTo>
                    <a:pt x="81066" y="29179"/>
                    <a:pt x="80800" y="27355"/>
                    <a:pt x="80533" y="24802"/>
                  </a:cubicBezTo>
                  <a:cubicBezTo>
                    <a:pt x="80266" y="24437"/>
                    <a:pt x="80266" y="24437"/>
                    <a:pt x="80266" y="24072"/>
                  </a:cubicBezTo>
                  <a:cubicBezTo>
                    <a:pt x="80000" y="22613"/>
                    <a:pt x="81333" y="21155"/>
                    <a:pt x="82666" y="19696"/>
                  </a:cubicBezTo>
                  <a:cubicBezTo>
                    <a:pt x="82933" y="19331"/>
                    <a:pt x="83466" y="18966"/>
                    <a:pt x="83733" y="18966"/>
                  </a:cubicBezTo>
                  <a:cubicBezTo>
                    <a:pt x="83733" y="18237"/>
                    <a:pt x="82666" y="15319"/>
                    <a:pt x="80533" y="9848"/>
                  </a:cubicBezTo>
                  <a:cubicBezTo>
                    <a:pt x="80266" y="9483"/>
                    <a:pt x="80000" y="8753"/>
                    <a:pt x="80000" y="8753"/>
                  </a:cubicBezTo>
                  <a:cubicBezTo>
                    <a:pt x="79466" y="7659"/>
                    <a:pt x="74933" y="4012"/>
                    <a:pt x="73600" y="2917"/>
                  </a:cubicBezTo>
                  <a:cubicBezTo>
                    <a:pt x="72800" y="2553"/>
                    <a:pt x="69333" y="4741"/>
                    <a:pt x="68000" y="5471"/>
                  </a:cubicBezTo>
                  <a:cubicBezTo>
                    <a:pt x="67200" y="5835"/>
                    <a:pt x="66933" y="6200"/>
                    <a:pt x="66666" y="6200"/>
                  </a:cubicBezTo>
                  <a:cubicBezTo>
                    <a:pt x="66400" y="6565"/>
                    <a:pt x="66133" y="8389"/>
                    <a:pt x="65866" y="9483"/>
                  </a:cubicBezTo>
                  <a:cubicBezTo>
                    <a:pt x="65600" y="10942"/>
                    <a:pt x="65333" y="11671"/>
                    <a:pt x="65333" y="12036"/>
                  </a:cubicBezTo>
                  <a:cubicBezTo>
                    <a:pt x="65066" y="12401"/>
                    <a:pt x="65066" y="12765"/>
                    <a:pt x="64800" y="12765"/>
                  </a:cubicBezTo>
                  <a:cubicBezTo>
                    <a:pt x="64000" y="12765"/>
                    <a:pt x="62666" y="12036"/>
                    <a:pt x="60533" y="10212"/>
                  </a:cubicBezTo>
                  <a:cubicBezTo>
                    <a:pt x="60266" y="9848"/>
                    <a:pt x="60000" y="9483"/>
                    <a:pt x="60000" y="9483"/>
                  </a:cubicBezTo>
                  <a:cubicBezTo>
                    <a:pt x="59733" y="9483"/>
                    <a:pt x="58400" y="9848"/>
                    <a:pt x="57600" y="10212"/>
                  </a:cubicBezTo>
                  <a:cubicBezTo>
                    <a:pt x="56800" y="10577"/>
                    <a:pt x="56266" y="10577"/>
                    <a:pt x="56000" y="10577"/>
                  </a:cubicBezTo>
                  <a:cubicBezTo>
                    <a:pt x="55466" y="10577"/>
                    <a:pt x="54400" y="9483"/>
                    <a:pt x="52000" y="5835"/>
                  </a:cubicBezTo>
                  <a:cubicBezTo>
                    <a:pt x="52000" y="5471"/>
                    <a:pt x="52000" y="5471"/>
                    <a:pt x="52000" y="5471"/>
                  </a:cubicBezTo>
                  <a:cubicBezTo>
                    <a:pt x="51733" y="5106"/>
                    <a:pt x="49866" y="5471"/>
                    <a:pt x="47733" y="6930"/>
                  </a:cubicBezTo>
                  <a:cubicBezTo>
                    <a:pt x="46666" y="7659"/>
                    <a:pt x="41600" y="6565"/>
                    <a:pt x="41066" y="6200"/>
                  </a:cubicBezTo>
                  <a:cubicBezTo>
                    <a:pt x="40533" y="5835"/>
                    <a:pt x="40266" y="4741"/>
                    <a:pt x="39733" y="4012"/>
                  </a:cubicBezTo>
                  <a:cubicBezTo>
                    <a:pt x="39466" y="3647"/>
                    <a:pt x="39466" y="3282"/>
                    <a:pt x="39200" y="2917"/>
                  </a:cubicBezTo>
                  <a:cubicBezTo>
                    <a:pt x="38933" y="2553"/>
                    <a:pt x="37066" y="2553"/>
                    <a:pt x="34133" y="2917"/>
                  </a:cubicBezTo>
                  <a:cubicBezTo>
                    <a:pt x="33866" y="2917"/>
                    <a:pt x="33600" y="2917"/>
                    <a:pt x="33333" y="2917"/>
                  </a:cubicBezTo>
                  <a:cubicBezTo>
                    <a:pt x="32266" y="2917"/>
                    <a:pt x="28800" y="729"/>
                    <a:pt x="28800" y="729"/>
                  </a:cubicBezTo>
                  <a:cubicBezTo>
                    <a:pt x="28000" y="0"/>
                    <a:pt x="26666" y="364"/>
                    <a:pt x="26400" y="729"/>
                  </a:cubicBezTo>
                  <a:cubicBezTo>
                    <a:pt x="25866" y="729"/>
                    <a:pt x="25866" y="729"/>
                    <a:pt x="25866" y="729"/>
                  </a:cubicBezTo>
                  <a:cubicBezTo>
                    <a:pt x="24000" y="1094"/>
                    <a:pt x="22933" y="1458"/>
                    <a:pt x="22666" y="1823"/>
                  </a:cubicBezTo>
                  <a:cubicBezTo>
                    <a:pt x="22400" y="2553"/>
                    <a:pt x="18666" y="13130"/>
                    <a:pt x="18666" y="14224"/>
                  </a:cubicBezTo>
                  <a:cubicBezTo>
                    <a:pt x="18666" y="14589"/>
                    <a:pt x="18666" y="14954"/>
                    <a:pt x="18666" y="15683"/>
                  </a:cubicBezTo>
                  <a:cubicBezTo>
                    <a:pt x="19200" y="20425"/>
                    <a:pt x="19200" y="22613"/>
                    <a:pt x="18133" y="22978"/>
                  </a:cubicBezTo>
                  <a:cubicBezTo>
                    <a:pt x="17600" y="23343"/>
                    <a:pt x="16533" y="23708"/>
                    <a:pt x="15200" y="24437"/>
                  </a:cubicBezTo>
                  <a:cubicBezTo>
                    <a:pt x="14400" y="24437"/>
                    <a:pt x="13066" y="25167"/>
                    <a:pt x="12800" y="25167"/>
                  </a:cubicBezTo>
                  <a:cubicBezTo>
                    <a:pt x="12533" y="25531"/>
                    <a:pt x="12533" y="25531"/>
                    <a:pt x="12533" y="25531"/>
                  </a:cubicBezTo>
                  <a:cubicBezTo>
                    <a:pt x="8533" y="29179"/>
                    <a:pt x="7733" y="29908"/>
                    <a:pt x="7733" y="30273"/>
                  </a:cubicBezTo>
                  <a:cubicBezTo>
                    <a:pt x="7733" y="30638"/>
                    <a:pt x="7733" y="30638"/>
                    <a:pt x="7733" y="30638"/>
                  </a:cubicBezTo>
                  <a:cubicBezTo>
                    <a:pt x="6666" y="36109"/>
                    <a:pt x="6400" y="36474"/>
                    <a:pt x="6133" y="36474"/>
                  </a:cubicBezTo>
                  <a:cubicBezTo>
                    <a:pt x="4800" y="37203"/>
                    <a:pt x="2933" y="38297"/>
                    <a:pt x="2933" y="38662"/>
                  </a:cubicBezTo>
                  <a:cubicBezTo>
                    <a:pt x="2666" y="38662"/>
                    <a:pt x="2400" y="39392"/>
                    <a:pt x="1866" y="39756"/>
                  </a:cubicBezTo>
                  <a:cubicBezTo>
                    <a:pt x="2133" y="40851"/>
                    <a:pt x="2400" y="41580"/>
                    <a:pt x="2133" y="41945"/>
                  </a:cubicBezTo>
                  <a:cubicBezTo>
                    <a:pt x="2133" y="42310"/>
                    <a:pt x="1866" y="43404"/>
                    <a:pt x="1600" y="44863"/>
                  </a:cubicBezTo>
                  <a:cubicBezTo>
                    <a:pt x="1066" y="46322"/>
                    <a:pt x="533" y="48510"/>
                    <a:pt x="266" y="49240"/>
                  </a:cubicBezTo>
                  <a:cubicBezTo>
                    <a:pt x="266" y="49604"/>
                    <a:pt x="266" y="49969"/>
                    <a:pt x="266" y="50334"/>
                  </a:cubicBezTo>
                  <a:cubicBezTo>
                    <a:pt x="266" y="51063"/>
                    <a:pt x="0" y="52887"/>
                    <a:pt x="0" y="53617"/>
                  </a:cubicBezTo>
                  <a:cubicBezTo>
                    <a:pt x="800" y="53981"/>
                    <a:pt x="2400" y="55805"/>
                    <a:pt x="2400" y="57264"/>
                  </a:cubicBezTo>
                  <a:cubicBezTo>
                    <a:pt x="2400" y="57629"/>
                    <a:pt x="2133" y="58358"/>
                    <a:pt x="2133" y="59088"/>
                  </a:cubicBezTo>
                  <a:cubicBezTo>
                    <a:pt x="1866" y="60182"/>
                    <a:pt x="1600" y="62370"/>
                    <a:pt x="1600" y="62735"/>
                  </a:cubicBezTo>
                  <a:cubicBezTo>
                    <a:pt x="1866" y="63465"/>
                    <a:pt x="4800" y="71489"/>
                    <a:pt x="4800" y="72583"/>
                  </a:cubicBezTo>
                  <a:cubicBezTo>
                    <a:pt x="4800" y="72948"/>
                    <a:pt x="4800" y="72948"/>
                    <a:pt x="4800" y="73313"/>
                  </a:cubicBezTo>
                  <a:cubicBezTo>
                    <a:pt x="6666" y="73677"/>
                    <a:pt x="8533" y="74407"/>
                    <a:pt x="9066" y="75136"/>
                  </a:cubicBezTo>
                  <a:cubicBezTo>
                    <a:pt x="9333" y="75866"/>
                    <a:pt x="10933" y="77325"/>
                    <a:pt x="11466" y="77325"/>
                  </a:cubicBezTo>
                  <a:cubicBezTo>
                    <a:pt x="11466" y="77325"/>
                    <a:pt x="19200" y="77689"/>
                    <a:pt x="20000" y="78054"/>
                  </a:cubicBezTo>
                  <a:cubicBezTo>
                    <a:pt x="20266" y="78419"/>
                    <a:pt x="21066" y="78784"/>
                    <a:pt x="21866" y="79513"/>
                  </a:cubicBezTo>
                  <a:cubicBezTo>
                    <a:pt x="22400" y="79878"/>
                    <a:pt x="23200" y="80607"/>
                    <a:pt x="23466" y="80607"/>
                  </a:cubicBezTo>
                  <a:cubicBezTo>
                    <a:pt x="23466" y="80607"/>
                    <a:pt x="29866" y="84255"/>
                    <a:pt x="30666" y="85349"/>
                  </a:cubicBezTo>
                  <a:cubicBezTo>
                    <a:pt x="30933" y="85714"/>
                    <a:pt x="31466" y="86443"/>
                    <a:pt x="32000" y="87173"/>
                  </a:cubicBezTo>
                  <a:cubicBezTo>
                    <a:pt x="34133" y="89726"/>
                    <a:pt x="35733" y="91914"/>
                    <a:pt x="36266" y="92644"/>
                  </a:cubicBezTo>
                  <a:cubicBezTo>
                    <a:pt x="37866" y="96291"/>
                    <a:pt x="39733" y="99209"/>
                    <a:pt x="40266" y="99574"/>
                  </a:cubicBezTo>
                  <a:cubicBezTo>
                    <a:pt x="40266" y="99574"/>
                    <a:pt x="40800" y="99574"/>
                    <a:pt x="41333" y="99574"/>
                  </a:cubicBezTo>
                  <a:cubicBezTo>
                    <a:pt x="46933" y="98844"/>
                    <a:pt x="48266" y="99209"/>
                    <a:pt x="48533" y="100303"/>
                  </a:cubicBezTo>
                  <a:cubicBezTo>
                    <a:pt x="48800" y="101398"/>
                    <a:pt x="50933" y="105045"/>
                    <a:pt x="51466" y="105410"/>
                  </a:cubicBezTo>
                  <a:cubicBezTo>
                    <a:pt x="51733" y="105410"/>
                    <a:pt x="55733" y="105045"/>
                    <a:pt x="56800" y="104680"/>
                  </a:cubicBezTo>
                  <a:cubicBezTo>
                    <a:pt x="56800" y="104680"/>
                    <a:pt x="56800" y="104680"/>
                    <a:pt x="56800" y="104680"/>
                  </a:cubicBezTo>
                  <a:cubicBezTo>
                    <a:pt x="57866" y="104316"/>
                    <a:pt x="58400" y="103951"/>
                    <a:pt x="58933" y="103586"/>
                  </a:cubicBezTo>
                  <a:cubicBezTo>
                    <a:pt x="58933" y="103221"/>
                    <a:pt x="59200" y="102857"/>
                    <a:pt x="59466" y="102492"/>
                  </a:cubicBezTo>
                  <a:cubicBezTo>
                    <a:pt x="60533" y="101033"/>
                    <a:pt x="61066" y="99939"/>
                    <a:pt x="61866" y="100303"/>
                  </a:cubicBezTo>
                  <a:cubicBezTo>
                    <a:pt x="62666" y="100303"/>
                    <a:pt x="64000" y="101398"/>
                    <a:pt x="64533" y="102857"/>
                  </a:cubicBezTo>
                  <a:cubicBezTo>
                    <a:pt x="65066" y="104316"/>
                    <a:pt x="65333" y="109787"/>
                    <a:pt x="65333" y="110881"/>
                  </a:cubicBezTo>
                  <a:cubicBezTo>
                    <a:pt x="65333" y="112340"/>
                    <a:pt x="65333" y="113799"/>
                    <a:pt x="65600" y="113799"/>
                  </a:cubicBezTo>
                  <a:cubicBezTo>
                    <a:pt x="66400" y="114528"/>
                    <a:pt x="66666" y="115258"/>
                    <a:pt x="66666" y="115987"/>
                  </a:cubicBezTo>
                  <a:cubicBezTo>
                    <a:pt x="66666" y="116352"/>
                    <a:pt x="66666" y="116717"/>
                    <a:pt x="66133" y="117446"/>
                  </a:cubicBezTo>
                  <a:cubicBezTo>
                    <a:pt x="65333" y="118176"/>
                    <a:pt x="65600" y="118176"/>
                    <a:pt x="65600" y="118541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4" name="Shape 6958">
              <a:extLst>
                <a:ext uri="{FF2B5EF4-FFF2-40B4-BE49-F238E27FC236}">
                  <a16:creationId xmlns:a16="http://schemas.microsoft.com/office/drawing/2014/main" id="{6FF0A441-CFE2-4C79-BE94-4085FC70826A}"/>
                </a:ext>
              </a:extLst>
            </p:cNvPr>
            <p:cNvSpPr/>
            <p:nvPr/>
          </p:nvSpPr>
          <p:spPr>
            <a:xfrm>
              <a:off x="4177428" y="4590661"/>
              <a:ext cx="308710" cy="52723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57750" y="90212"/>
                  </a:moveTo>
                  <a:cubicBezTo>
                    <a:pt x="57000" y="90212"/>
                    <a:pt x="56250" y="90212"/>
                    <a:pt x="55500" y="90638"/>
                  </a:cubicBezTo>
                  <a:cubicBezTo>
                    <a:pt x="54750" y="91063"/>
                    <a:pt x="52500" y="91489"/>
                    <a:pt x="52500" y="91914"/>
                  </a:cubicBezTo>
                  <a:cubicBezTo>
                    <a:pt x="52500" y="91914"/>
                    <a:pt x="52500" y="91914"/>
                    <a:pt x="53250" y="92340"/>
                  </a:cubicBezTo>
                  <a:cubicBezTo>
                    <a:pt x="54000" y="93617"/>
                    <a:pt x="55500" y="94893"/>
                    <a:pt x="55500" y="96170"/>
                  </a:cubicBezTo>
                  <a:cubicBezTo>
                    <a:pt x="55500" y="97872"/>
                    <a:pt x="56250" y="103829"/>
                    <a:pt x="58500" y="106382"/>
                  </a:cubicBezTo>
                  <a:cubicBezTo>
                    <a:pt x="60000" y="106382"/>
                    <a:pt x="63000" y="107659"/>
                    <a:pt x="68250" y="110212"/>
                  </a:cubicBezTo>
                  <a:cubicBezTo>
                    <a:pt x="69000" y="110638"/>
                    <a:pt x="69750" y="111063"/>
                    <a:pt x="70500" y="111063"/>
                  </a:cubicBezTo>
                  <a:cubicBezTo>
                    <a:pt x="71250" y="111489"/>
                    <a:pt x="75000" y="111489"/>
                    <a:pt x="77250" y="111489"/>
                  </a:cubicBezTo>
                  <a:cubicBezTo>
                    <a:pt x="78000" y="111489"/>
                    <a:pt x="78750" y="111489"/>
                    <a:pt x="79500" y="111489"/>
                  </a:cubicBezTo>
                  <a:cubicBezTo>
                    <a:pt x="81750" y="111489"/>
                    <a:pt x="84000" y="111914"/>
                    <a:pt x="85500" y="113191"/>
                  </a:cubicBezTo>
                  <a:cubicBezTo>
                    <a:pt x="86250" y="113617"/>
                    <a:pt x="89250" y="113617"/>
                    <a:pt x="90750" y="114042"/>
                  </a:cubicBezTo>
                  <a:cubicBezTo>
                    <a:pt x="91500" y="114042"/>
                    <a:pt x="92250" y="114042"/>
                    <a:pt x="92250" y="114042"/>
                  </a:cubicBezTo>
                  <a:cubicBezTo>
                    <a:pt x="94500" y="114468"/>
                    <a:pt x="95250" y="115744"/>
                    <a:pt x="95250" y="117872"/>
                  </a:cubicBezTo>
                  <a:cubicBezTo>
                    <a:pt x="95250" y="118297"/>
                    <a:pt x="96000" y="119148"/>
                    <a:pt x="96000" y="119574"/>
                  </a:cubicBezTo>
                  <a:cubicBezTo>
                    <a:pt x="96000" y="120000"/>
                    <a:pt x="97500" y="120000"/>
                    <a:pt x="99750" y="119574"/>
                  </a:cubicBezTo>
                  <a:cubicBezTo>
                    <a:pt x="99750" y="119574"/>
                    <a:pt x="100500" y="119574"/>
                    <a:pt x="101250" y="119574"/>
                  </a:cubicBezTo>
                  <a:cubicBezTo>
                    <a:pt x="101250" y="118297"/>
                    <a:pt x="101250" y="115319"/>
                    <a:pt x="101250" y="114042"/>
                  </a:cubicBezTo>
                  <a:cubicBezTo>
                    <a:pt x="100500" y="112340"/>
                    <a:pt x="112500" y="106808"/>
                    <a:pt x="114750" y="105531"/>
                  </a:cubicBezTo>
                  <a:cubicBezTo>
                    <a:pt x="114750" y="105106"/>
                    <a:pt x="113250" y="104255"/>
                    <a:pt x="110250" y="102127"/>
                  </a:cubicBezTo>
                  <a:cubicBezTo>
                    <a:pt x="109500" y="101702"/>
                    <a:pt x="109500" y="101702"/>
                    <a:pt x="109500" y="101702"/>
                  </a:cubicBezTo>
                  <a:cubicBezTo>
                    <a:pt x="108750" y="100851"/>
                    <a:pt x="108750" y="99148"/>
                    <a:pt x="108750" y="96595"/>
                  </a:cubicBezTo>
                  <a:cubicBezTo>
                    <a:pt x="108750" y="95319"/>
                    <a:pt x="111000" y="94042"/>
                    <a:pt x="112500" y="93191"/>
                  </a:cubicBezTo>
                  <a:cubicBezTo>
                    <a:pt x="111750" y="91914"/>
                    <a:pt x="107250" y="89787"/>
                    <a:pt x="105750" y="88510"/>
                  </a:cubicBezTo>
                  <a:cubicBezTo>
                    <a:pt x="105000" y="88085"/>
                    <a:pt x="104250" y="87234"/>
                    <a:pt x="103500" y="87234"/>
                  </a:cubicBezTo>
                  <a:cubicBezTo>
                    <a:pt x="101250" y="85531"/>
                    <a:pt x="105000" y="82978"/>
                    <a:pt x="108750" y="80851"/>
                  </a:cubicBezTo>
                  <a:cubicBezTo>
                    <a:pt x="109500" y="80000"/>
                    <a:pt x="110250" y="79148"/>
                    <a:pt x="111000" y="79148"/>
                  </a:cubicBezTo>
                  <a:cubicBezTo>
                    <a:pt x="111000" y="78297"/>
                    <a:pt x="111750" y="75744"/>
                    <a:pt x="111750" y="74468"/>
                  </a:cubicBezTo>
                  <a:cubicBezTo>
                    <a:pt x="111750" y="73191"/>
                    <a:pt x="111750" y="72340"/>
                    <a:pt x="111750" y="71914"/>
                  </a:cubicBezTo>
                  <a:cubicBezTo>
                    <a:pt x="111750" y="71489"/>
                    <a:pt x="111750" y="71489"/>
                    <a:pt x="111750" y="71489"/>
                  </a:cubicBezTo>
                  <a:cubicBezTo>
                    <a:pt x="112500" y="70638"/>
                    <a:pt x="112500" y="68936"/>
                    <a:pt x="114000" y="68085"/>
                  </a:cubicBezTo>
                  <a:cubicBezTo>
                    <a:pt x="114750" y="67234"/>
                    <a:pt x="115500" y="66382"/>
                    <a:pt x="115500" y="65106"/>
                  </a:cubicBezTo>
                  <a:cubicBezTo>
                    <a:pt x="115500" y="65106"/>
                    <a:pt x="114750" y="64255"/>
                    <a:pt x="108000" y="64255"/>
                  </a:cubicBezTo>
                  <a:cubicBezTo>
                    <a:pt x="107250" y="64255"/>
                    <a:pt x="106500" y="65106"/>
                    <a:pt x="105750" y="65957"/>
                  </a:cubicBezTo>
                  <a:cubicBezTo>
                    <a:pt x="105000" y="66382"/>
                    <a:pt x="105000" y="66382"/>
                    <a:pt x="104250" y="66808"/>
                  </a:cubicBezTo>
                  <a:cubicBezTo>
                    <a:pt x="103500" y="67234"/>
                    <a:pt x="102750" y="67234"/>
                    <a:pt x="102000" y="67234"/>
                  </a:cubicBezTo>
                  <a:cubicBezTo>
                    <a:pt x="101250" y="67234"/>
                    <a:pt x="99750" y="67234"/>
                    <a:pt x="95250" y="63829"/>
                  </a:cubicBezTo>
                  <a:cubicBezTo>
                    <a:pt x="94500" y="62978"/>
                    <a:pt x="94500" y="62553"/>
                    <a:pt x="94500" y="62127"/>
                  </a:cubicBezTo>
                  <a:cubicBezTo>
                    <a:pt x="95250" y="61276"/>
                    <a:pt x="97500" y="60851"/>
                    <a:pt x="99000" y="60425"/>
                  </a:cubicBezTo>
                  <a:cubicBezTo>
                    <a:pt x="99750" y="60425"/>
                    <a:pt x="100500" y="60425"/>
                    <a:pt x="100500" y="60425"/>
                  </a:cubicBezTo>
                  <a:cubicBezTo>
                    <a:pt x="101250" y="60000"/>
                    <a:pt x="102750" y="57446"/>
                    <a:pt x="102750" y="56170"/>
                  </a:cubicBezTo>
                  <a:cubicBezTo>
                    <a:pt x="102750" y="55319"/>
                    <a:pt x="102750" y="54042"/>
                    <a:pt x="103500" y="53191"/>
                  </a:cubicBezTo>
                  <a:cubicBezTo>
                    <a:pt x="103500" y="52765"/>
                    <a:pt x="103500" y="52340"/>
                    <a:pt x="104250" y="51914"/>
                  </a:cubicBezTo>
                  <a:cubicBezTo>
                    <a:pt x="104250" y="50638"/>
                    <a:pt x="103500" y="49787"/>
                    <a:pt x="103500" y="48936"/>
                  </a:cubicBezTo>
                  <a:cubicBezTo>
                    <a:pt x="103500" y="48085"/>
                    <a:pt x="103500" y="48085"/>
                    <a:pt x="103500" y="48085"/>
                  </a:cubicBezTo>
                  <a:cubicBezTo>
                    <a:pt x="102750" y="47659"/>
                    <a:pt x="101250" y="45531"/>
                    <a:pt x="99750" y="43829"/>
                  </a:cubicBezTo>
                  <a:cubicBezTo>
                    <a:pt x="97500" y="42127"/>
                    <a:pt x="96000" y="40425"/>
                    <a:pt x="96000" y="39574"/>
                  </a:cubicBezTo>
                  <a:cubicBezTo>
                    <a:pt x="94500" y="38297"/>
                    <a:pt x="97500" y="36595"/>
                    <a:pt x="104250" y="34042"/>
                  </a:cubicBezTo>
                  <a:cubicBezTo>
                    <a:pt x="104250" y="33617"/>
                    <a:pt x="104250" y="33617"/>
                    <a:pt x="105000" y="33617"/>
                  </a:cubicBezTo>
                  <a:cubicBezTo>
                    <a:pt x="105000" y="33617"/>
                    <a:pt x="105000" y="33617"/>
                    <a:pt x="105000" y="33617"/>
                  </a:cubicBezTo>
                  <a:cubicBezTo>
                    <a:pt x="105000" y="33617"/>
                    <a:pt x="105750" y="33617"/>
                    <a:pt x="105750" y="33191"/>
                  </a:cubicBezTo>
                  <a:cubicBezTo>
                    <a:pt x="106500" y="33191"/>
                    <a:pt x="106500" y="33191"/>
                    <a:pt x="106500" y="33191"/>
                  </a:cubicBezTo>
                  <a:cubicBezTo>
                    <a:pt x="107250" y="32765"/>
                    <a:pt x="111750" y="29787"/>
                    <a:pt x="112500" y="29361"/>
                  </a:cubicBezTo>
                  <a:cubicBezTo>
                    <a:pt x="113250" y="28085"/>
                    <a:pt x="116250" y="27659"/>
                    <a:pt x="120000" y="27659"/>
                  </a:cubicBezTo>
                  <a:cubicBezTo>
                    <a:pt x="120000" y="27234"/>
                    <a:pt x="119250" y="25957"/>
                    <a:pt x="119250" y="25531"/>
                  </a:cubicBezTo>
                  <a:cubicBezTo>
                    <a:pt x="119250" y="25106"/>
                    <a:pt x="119250" y="25106"/>
                    <a:pt x="119250" y="25106"/>
                  </a:cubicBezTo>
                  <a:cubicBezTo>
                    <a:pt x="119250" y="24255"/>
                    <a:pt x="119250" y="23404"/>
                    <a:pt x="119250" y="22127"/>
                  </a:cubicBezTo>
                  <a:cubicBezTo>
                    <a:pt x="119250" y="21276"/>
                    <a:pt x="119250" y="19148"/>
                    <a:pt x="118500" y="18723"/>
                  </a:cubicBezTo>
                  <a:cubicBezTo>
                    <a:pt x="118500" y="18723"/>
                    <a:pt x="118500" y="18297"/>
                    <a:pt x="117750" y="18297"/>
                  </a:cubicBezTo>
                  <a:cubicBezTo>
                    <a:pt x="117000" y="17021"/>
                    <a:pt x="114750" y="14468"/>
                    <a:pt x="114000" y="14042"/>
                  </a:cubicBezTo>
                  <a:cubicBezTo>
                    <a:pt x="113250" y="13191"/>
                    <a:pt x="106500" y="11489"/>
                    <a:pt x="104250" y="11063"/>
                  </a:cubicBezTo>
                  <a:cubicBezTo>
                    <a:pt x="102750" y="10638"/>
                    <a:pt x="102750" y="10638"/>
                    <a:pt x="102750" y="10638"/>
                  </a:cubicBezTo>
                  <a:cubicBezTo>
                    <a:pt x="100500" y="9787"/>
                    <a:pt x="100500" y="7659"/>
                    <a:pt x="100500" y="5957"/>
                  </a:cubicBezTo>
                  <a:cubicBezTo>
                    <a:pt x="100500" y="5531"/>
                    <a:pt x="100500" y="4680"/>
                    <a:pt x="100500" y="4255"/>
                  </a:cubicBezTo>
                  <a:cubicBezTo>
                    <a:pt x="99750" y="3404"/>
                    <a:pt x="100500" y="1702"/>
                    <a:pt x="101250" y="0"/>
                  </a:cubicBezTo>
                  <a:cubicBezTo>
                    <a:pt x="99000" y="425"/>
                    <a:pt x="95250" y="1276"/>
                    <a:pt x="93750" y="1276"/>
                  </a:cubicBezTo>
                  <a:cubicBezTo>
                    <a:pt x="93000" y="1702"/>
                    <a:pt x="90000" y="3829"/>
                    <a:pt x="88500" y="4680"/>
                  </a:cubicBezTo>
                  <a:cubicBezTo>
                    <a:pt x="86250" y="5957"/>
                    <a:pt x="85500" y="6808"/>
                    <a:pt x="84750" y="7234"/>
                  </a:cubicBezTo>
                  <a:cubicBezTo>
                    <a:pt x="82500" y="8085"/>
                    <a:pt x="80250" y="6808"/>
                    <a:pt x="78750" y="6382"/>
                  </a:cubicBezTo>
                  <a:cubicBezTo>
                    <a:pt x="78000" y="5957"/>
                    <a:pt x="78000" y="5531"/>
                    <a:pt x="77250" y="5531"/>
                  </a:cubicBezTo>
                  <a:cubicBezTo>
                    <a:pt x="76500" y="5106"/>
                    <a:pt x="72750" y="6382"/>
                    <a:pt x="71250" y="6808"/>
                  </a:cubicBezTo>
                  <a:cubicBezTo>
                    <a:pt x="69000" y="7234"/>
                    <a:pt x="67500" y="7659"/>
                    <a:pt x="66750" y="7659"/>
                  </a:cubicBezTo>
                  <a:cubicBezTo>
                    <a:pt x="64500" y="7659"/>
                    <a:pt x="61500" y="6808"/>
                    <a:pt x="57750" y="6382"/>
                  </a:cubicBezTo>
                  <a:cubicBezTo>
                    <a:pt x="56250" y="5957"/>
                    <a:pt x="56250" y="5957"/>
                    <a:pt x="56250" y="5957"/>
                  </a:cubicBezTo>
                  <a:cubicBezTo>
                    <a:pt x="54750" y="5957"/>
                    <a:pt x="48750" y="6382"/>
                    <a:pt x="45750" y="6382"/>
                  </a:cubicBezTo>
                  <a:cubicBezTo>
                    <a:pt x="44250" y="6382"/>
                    <a:pt x="44250" y="6382"/>
                    <a:pt x="44250" y="6382"/>
                  </a:cubicBezTo>
                  <a:cubicBezTo>
                    <a:pt x="42750" y="6808"/>
                    <a:pt x="36000" y="10638"/>
                    <a:pt x="33000" y="12340"/>
                  </a:cubicBezTo>
                  <a:cubicBezTo>
                    <a:pt x="31500" y="13191"/>
                    <a:pt x="30000" y="13617"/>
                    <a:pt x="29250" y="14042"/>
                  </a:cubicBezTo>
                  <a:cubicBezTo>
                    <a:pt x="27750" y="14893"/>
                    <a:pt x="21750" y="15319"/>
                    <a:pt x="9750" y="14893"/>
                  </a:cubicBezTo>
                  <a:cubicBezTo>
                    <a:pt x="9000" y="14468"/>
                    <a:pt x="8250" y="14468"/>
                    <a:pt x="8250" y="14468"/>
                  </a:cubicBezTo>
                  <a:cubicBezTo>
                    <a:pt x="7500" y="14893"/>
                    <a:pt x="6000" y="15319"/>
                    <a:pt x="4500" y="15744"/>
                  </a:cubicBezTo>
                  <a:cubicBezTo>
                    <a:pt x="3000" y="16595"/>
                    <a:pt x="1500" y="17021"/>
                    <a:pt x="0" y="17446"/>
                  </a:cubicBezTo>
                  <a:cubicBezTo>
                    <a:pt x="0" y="21276"/>
                    <a:pt x="750" y="26808"/>
                    <a:pt x="2250" y="28085"/>
                  </a:cubicBezTo>
                  <a:cubicBezTo>
                    <a:pt x="3750" y="29787"/>
                    <a:pt x="4500" y="31489"/>
                    <a:pt x="4500" y="32765"/>
                  </a:cubicBezTo>
                  <a:cubicBezTo>
                    <a:pt x="5250" y="33617"/>
                    <a:pt x="5250" y="34042"/>
                    <a:pt x="5250" y="34468"/>
                  </a:cubicBezTo>
                  <a:cubicBezTo>
                    <a:pt x="6000" y="35744"/>
                    <a:pt x="7500" y="39574"/>
                    <a:pt x="6750" y="40851"/>
                  </a:cubicBezTo>
                  <a:cubicBezTo>
                    <a:pt x="5250" y="47234"/>
                    <a:pt x="4500" y="51489"/>
                    <a:pt x="5250" y="52765"/>
                  </a:cubicBezTo>
                  <a:cubicBezTo>
                    <a:pt x="6000" y="53617"/>
                    <a:pt x="7500" y="54893"/>
                    <a:pt x="9000" y="55744"/>
                  </a:cubicBezTo>
                  <a:cubicBezTo>
                    <a:pt x="10500" y="57021"/>
                    <a:pt x="12000" y="57872"/>
                    <a:pt x="12750" y="59148"/>
                  </a:cubicBezTo>
                  <a:cubicBezTo>
                    <a:pt x="12750" y="59148"/>
                    <a:pt x="12750" y="59148"/>
                    <a:pt x="12750" y="59148"/>
                  </a:cubicBezTo>
                  <a:cubicBezTo>
                    <a:pt x="12750" y="59148"/>
                    <a:pt x="12750" y="59148"/>
                    <a:pt x="12750" y="59148"/>
                  </a:cubicBezTo>
                  <a:cubicBezTo>
                    <a:pt x="12750" y="59148"/>
                    <a:pt x="12750" y="59148"/>
                    <a:pt x="12750" y="59148"/>
                  </a:cubicBezTo>
                  <a:cubicBezTo>
                    <a:pt x="12750" y="59148"/>
                    <a:pt x="12750" y="59574"/>
                    <a:pt x="13500" y="60000"/>
                  </a:cubicBezTo>
                  <a:cubicBezTo>
                    <a:pt x="14250" y="61276"/>
                    <a:pt x="15750" y="64680"/>
                    <a:pt x="17250" y="65106"/>
                  </a:cubicBezTo>
                  <a:cubicBezTo>
                    <a:pt x="25500" y="65106"/>
                    <a:pt x="27000" y="65531"/>
                    <a:pt x="27750" y="66382"/>
                  </a:cubicBezTo>
                  <a:cubicBezTo>
                    <a:pt x="28500" y="66808"/>
                    <a:pt x="28500" y="67234"/>
                    <a:pt x="29250" y="68085"/>
                  </a:cubicBezTo>
                  <a:cubicBezTo>
                    <a:pt x="30000" y="69361"/>
                    <a:pt x="32250" y="71914"/>
                    <a:pt x="32250" y="72340"/>
                  </a:cubicBezTo>
                  <a:cubicBezTo>
                    <a:pt x="33000" y="72340"/>
                    <a:pt x="33750" y="72765"/>
                    <a:pt x="34500" y="72765"/>
                  </a:cubicBezTo>
                  <a:cubicBezTo>
                    <a:pt x="38250" y="74468"/>
                    <a:pt x="41250" y="75319"/>
                    <a:pt x="41250" y="76595"/>
                  </a:cubicBezTo>
                  <a:cubicBezTo>
                    <a:pt x="41250" y="80000"/>
                    <a:pt x="41250" y="80851"/>
                    <a:pt x="41250" y="81276"/>
                  </a:cubicBezTo>
                  <a:cubicBezTo>
                    <a:pt x="42000" y="81276"/>
                    <a:pt x="42000" y="81276"/>
                    <a:pt x="42750" y="81702"/>
                  </a:cubicBezTo>
                  <a:cubicBezTo>
                    <a:pt x="45750" y="83829"/>
                    <a:pt x="47250" y="84680"/>
                    <a:pt x="48000" y="84680"/>
                  </a:cubicBezTo>
                  <a:cubicBezTo>
                    <a:pt x="54750" y="84255"/>
                    <a:pt x="57750" y="84680"/>
                    <a:pt x="58500" y="85957"/>
                  </a:cubicBezTo>
                  <a:cubicBezTo>
                    <a:pt x="59250" y="86808"/>
                    <a:pt x="60750" y="88936"/>
                    <a:pt x="57750" y="90212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5" name="Shape 6959">
              <a:extLst>
                <a:ext uri="{FF2B5EF4-FFF2-40B4-BE49-F238E27FC236}">
                  <a16:creationId xmlns:a16="http://schemas.microsoft.com/office/drawing/2014/main" id="{B9201428-7A1F-4E12-BF9C-63C08BCE285D}"/>
                </a:ext>
              </a:extLst>
            </p:cNvPr>
            <p:cNvSpPr/>
            <p:nvPr/>
          </p:nvSpPr>
          <p:spPr>
            <a:xfrm>
              <a:off x="4073240" y="2084174"/>
              <a:ext cx="1407527" cy="308225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52" y="26140"/>
                  </a:moveTo>
                  <a:cubicBezTo>
                    <a:pt x="1316" y="26140"/>
                    <a:pt x="1316" y="26213"/>
                    <a:pt x="1316" y="26213"/>
                  </a:cubicBezTo>
                  <a:cubicBezTo>
                    <a:pt x="1316" y="26359"/>
                    <a:pt x="1316" y="26432"/>
                    <a:pt x="1316" y="26504"/>
                  </a:cubicBezTo>
                  <a:cubicBezTo>
                    <a:pt x="1481" y="26504"/>
                    <a:pt x="1481" y="26504"/>
                    <a:pt x="1481" y="26504"/>
                  </a:cubicBezTo>
                  <a:cubicBezTo>
                    <a:pt x="1810" y="26577"/>
                    <a:pt x="2139" y="26577"/>
                    <a:pt x="2304" y="26723"/>
                  </a:cubicBezTo>
                  <a:cubicBezTo>
                    <a:pt x="2469" y="26796"/>
                    <a:pt x="2633" y="26868"/>
                    <a:pt x="2798" y="27087"/>
                  </a:cubicBezTo>
                  <a:cubicBezTo>
                    <a:pt x="2962" y="27160"/>
                    <a:pt x="3292" y="27451"/>
                    <a:pt x="3456" y="27524"/>
                  </a:cubicBezTo>
                  <a:cubicBezTo>
                    <a:pt x="3621" y="27524"/>
                    <a:pt x="3621" y="27524"/>
                    <a:pt x="3621" y="27524"/>
                  </a:cubicBezTo>
                  <a:cubicBezTo>
                    <a:pt x="5267" y="27669"/>
                    <a:pt x="5761" y="27669"/>
                    <a:pt x="6090" y="27742"/>
                  </a:cubicBezTo>
                  <a:cubicBezTo>
                    <a:pt x="6255" y="27815"/>
                    <a:pt x="7407" y="28470"/>
                    <a:pt x="7078" y="28762"/>
                  </a:cubicBezTo>
                  <a:cubicBezTo>
                    <a:pt x="7078" y="28907"/>
                    <a:pt x="6913" y="28980"/>
                    <a:pt x="6584" y="29053"/>
                  </a:cubicBezTo>
                  <a:cubicBezTo>
                    <a:pt x="6584" y="29126"/>
                    <a:pt x="6419" y="29199"/>
                    <a:pt x="6419" y="29199"/>
                  </a:cubicBezTo>
                  <a:cubicBezTo>
                    <a:pt x="6419" y="29199"/>
                    <a:pt x="6419" y="29271"/>
                    <a:pt x="6419" y="29271"/>
                  </a:cubicBezTo>
                  <a:cubicBezTo>
                    <a:pt x="6419" y="29490"/>
                    <a:pt x="6584" y="29927"/>
                    <a:pt x="5925" y="29927"/>
                  </a:cubicBezTo>
                  <a:cubicBezTo>
                    <a:pt x="5432" y="30000"/>
                    <a:pt x="4279" y="30218"/>
                    <a:pt x="3621" y="30291"/>
                  </a:cubicBezTo>
                  <a:cubicBezTo>
                    <a:pt x="3292" y="30364"/>
                    <a:pt x="2962" y="30582"/>
                    <a:pt x="2962" y="30728"/>
                  </a:cubicBezTo>
                  <a:cubicBezTo>
                    <a:pt x="2962" y="30873"/>
                    <a:pt x="2962" y="31019"/>
                    <a:pt x="2962" y="31165"/>
                  </a:cubicBezTo>
                  <a:cubicBezTo>
                    <a:pt x="2962" y="31165"/>
                    <a:pt x="2962" y="31165"/>
                    <a:pt x="2962" y="31165"/>
                  </a:cubicBezTo>
                  <a:cubicBezTo>
                    <a:pt x="3127" y="31019"/>
                    <a:pt x="3292" y="30946"/>
                    <a:pt x="3621" y="31019"/>
                  </a:cubicBezTo>
                  <a:cubicBezTo>
                    <a:pt x="3950" y="31019"/>
                    <a:pt x="3950" y="31165"/>
                    <a:pt x="3950" y="31165"/>
                  </a:cubicBezTo>
                  <a:cubicBezTo>
                    <a:pt x="4279" y="31456"/>
                    <a:pt x="4444" y="31747"/>
                    <a:pt x="4773" y="31747"/>
                  </a:cubicBezTo>
                  <a:cubicBezTo>
                    <a:pt x="4938" y="31747"/>
                    <a:pt x="4938" y="31747"/>
                    <a:pt x="4938" y="31747"/>
                  </a:cubicBezTo>
                  <a:cubicBezTo>
                    <a:pt x="5925" y="31966"/>
                    <a:pt x="7078" y="32184"/>
                    <a:pt x="6913" y="32475"/>
                  </a:cubicBezTo>
                  <a:cubicBezTo>
                    <a:pt x="6913" y="32694"/>
                    <a:pt x="6913" y="34223"/>
                    <a:pt x="6913" y="34441"/>
                  </a:cubicBezTo>
                  <a:cubicBezTo>
                    <a:pt x="6913" y="34514"/>
                    <a:pt x="6913" y="34587"/>
                    <a:pt x="6913" y="34660"/>
                  </a:cubicBezTo>
                  <a:cubicBezTo>
                    <a:pt x="6913" y="35024"/>
                    <a:pt x="7078" y="35461"/>
                    <a:pt x="6419" y="35461"/>
                  </a:cubicBezTo>
                  <a:cubicBezTo>
                    <a:pt x="6255" y="35533"/>
                    <a:pt x="5925" y="35461"/>
                    <a:pt x="5596" y="35461"/>
                  </a:cubicBezTo>
                  <a:cubicBezTo>
                    <a:pt x="5267" y="35461"/>
                    <a:pt x="4773" y="35461"/>
                    <a:pt x="4609" y="35461"/>
                  </a:cubicBezTo>
                  <a:cubicBezTo>
                    <a:pt x="4444" y="35679"/>
                    <a:pt x="2139" y="36699"/>
                    <a:pt x="2139" y="36699"/>
                  </a:cubicBezTo>
                  <a:cubicBezTo>
                    <a:pt x="1975" y="36844"/>
                    <a:pt x="1646" y="36917"/>
                    <a:pt x="1152" y="36990"/>
                  </a:cubicBezTo>
                  <a:cubicBezTo>
                    <a:pt x="823" y="37135"/>
                    <a:pt x="164" y="37354"/>
                    <a:pt x="0" y="37427"/>
                  </a:cubicBezTo>
                  <a:cubicBezTo>
                    <a:pt x="164" y="37500"/>
                    <a:pt x="0" y="37572"/>
                    <a:pt x="0" y="37645"/>
                  </a:cubicBezTo>
                  <a:cubicBezTo>
                    <a:pt x="0" y="37864"/>
                    <a:pt x="0" y="38300"/>
                    <a:pt x="164" y="38446"/>
                  </a:cubicBezTo>
                  <a:cubicBezTo>
                    <a:pt x="164" y="38446"/>
                    <a:pt x="329" y="38519"/>
                    <a:pt x="329" y="38519"/>
                  </a:cubicBezTo>
                  <a:cubicBezTo>
                    <a:pt x="658" y="38665"/>
                    <a:pt x="987" y="38810"/>
                    <a:pt x="987" y="39029"/>
                  </a:cubicBezTo>
                  <a:cubicBezTo>
                    <a:pt x="987" y="39101"/>
                    <a:pt x="1316" y="39320"/>
                    <a:pt x="1481" y="39393"/>
                  </a:cubicBezTo>
                  <a:cubicBezTo>
                    <a:pt x="1646" y="39466"/>
                    <a:pt x="1646" y="39466"/>
                    <a:pt x="1810" y="39538"/>
                  </a:cubicBezTo>
                  <a:cubicBezTo>
                    <a:pt x="1975" y="39684"/>
                    <a:pt x="2633" y="39902"/>
                    <a:pt x="2962" y="39902"/>
                  </a:cubicBezTo>
                  <a:cubicBezTo>
                    <a:pt x="2962" y="39902"/>
                    <a:pt x="2962" y="39902"/>
                    <a:pt x="2962" y="39902"/>
                  </a:cubicBezTo>
                  <a:cubicBezTo>
                    <a:pt x="3621" y="39902"/>
                    <a:pt x="4773" y="39902"/>
                    <a:pt x="4773" y="40266"/>
                  </a:cubicBezTo>
                  <a:cubicBezTo>
                    <a:pt x="4938" y="40485"/>
                    <a:pt x="5267" y="40849"/>
                    <a:pt x="5432" y="40922"/>
                  </a:cubicBezTo>
                  <a:cubicBezTo>
                    <a:pt x="5596" y="40922"/>
                    <a:pt x="5596" y="40922"/>
                    <a:pt x="5925" y="40849"/>
                  </a:cubicBezTo>
                  <a:cubicBezTo>
                    <a:pt x="6090" y="40849"/>
                    <a:pt x="6090" y="40849"/>
                    <a:pt x="6090" y="40849"/>
                  </a:cubicBezTo>
                  <a:cubicBezTo>
                    <a:pt x="6090" y="40849"/>
                    <a:pt x="6255" y="40776"/>
                    <a:pt x="6419" y="40776"/>
                  </a:cubicBezTo>
                  <a:cubicBezTo>
                    <a:pt x="6584" y="40631"/>
                    <a:pt x="6748" y="40558"/>
                    <a:pt x="7078" y="40558"/>
                  </a:cubicBezTo>
                  <a:cubicBezTo>
                    <a:pt x="7242" y="40558"/>
                    <a:pt x="7242" y="40631"/>
                    <a:pt x="7407" y="40631"/>
                  </a:cubicBezTo>
                  <a:cubicBezTo>
                    <a:pt x="7407" y="40703"/>
                    <a:pt x="7572" y="40776"/>
                    <a:pt x="7736" y="40776"/>
                  </a:cubicBezTo>
                  <a:cubicBezTo>
                    <a:pt x="7901" y="40776"/>
                    <a:pt x="7901" y="40703"/>
                    <a:pt x="8065" y="40631"/>
                  </a:cubicBezTo>
                  <a:cubicBezTo>
                    <a:pt x="8395" y="40412"/>
                    <a:pt x="8724" y="40266"/>
                    <a:pt x="9053" y="40339"/>
                  </a:cubicBezTo>
                  <a:cubicBezTo>
                    <a:pt x="9218" y="40339"/>
                    <a:pt x="9382" y="40412"/>
                    <a:pt x="9382" y="40558"/>
                  </a:cubicBezTo>
                  <a:cubicBezTo>
                    <a:pt x="9382" y="40703"/>
                    <a:pt x="9382" y="40776"/>
                    <a:pt x="9218" y="40849"/>
                  </a:cubicBezTo>
                  <a:cubicBezTo>
                    <a:pt x="9218" y="41140"/>
                    <a:pt x="9218" y="41140"/>
                    <a:pt x="9382" y="41213"/>
                  </a:cubicBezTo>
                  <a:cubicBezTo>
                    <a:pt x="9547" y="41213"/>
                    <a:pt x="9711" y="41213"/>
                    <a:pt x="9876" y="41286"/>
                  </a:cubicBezTo>
                  <a:cubicBezTo>
                    <a:pt x="10534" y="41359"/>
                    <a:pt x="11358" y="41432"/>
                    <a:pt x="11358" y="41723"/>
                  </a:cubicBezTo>
                  <a:cubicBezTo>
                    <a:pt x="11358" y="41796"/>
                    <a:pt x="11358" y="41868"/>
                    <a:pt x="11358" y="41941"/>
                  </a:cubicBezTo>
                  <a:cubicBezTo>
                    <a:pt x="11358" y="42087"/>
                    <a:pt x="11193" y="42378"/>
                    <a:pt x="11358" y="42451"/>
                  </a:cubicBezTo>
                  <a:cubicBezTo>
                    <a:pt x="11522" y="42524"/>
                    <a:pt x="12510" y="43252"/>
                    <a:pt x="12181" y="43543"/>
                  </a:cubicBezTo>
                  <a:cubicBezTo>
                    <a:pt x="12181" y="43616"/>
                    <a:pt x="12181" y="43689"/>
                    <a:pt x="12181" y="43762"/>
                  </a:cubicBezTo>
                  <a:cubicBezTo>
                    <a:pt x="12016" y="43980"/>
                    <a:pt x="11851" y="44271"/>
                    <a:pt x="11358" y="44271"/>
                  </a:cubicBezTo>
                  <a:cubicBezTo>
                    <a:pt x="11193" y="44271"/>
                    <a:pt x="11028" y="44271"/>
                    <a:pt x="11028" y="44271"/>
                  </a:cubicBezTo>
                  <a:cubicBezTo>
                    <a:pt x="11028" y="44344"/>
                    <a:pt x="11028" y="44344"/>
                    <a:pt x="11028" y="44344"/>
                  </a:cubicBezTo>
                  <a:cubicBezTo>
                    <a:pt x="11028" y="44417"/>
                    <a:pt x="11193" y="44490"/>
                    <a:pt x="11193" y="44563"/>
                  </a:cubicBezTo>
                  <a:cubicBezTo>
                    <a:pt x="11358" y="44708"/>
                    <a:pt x="11522" y="44927"/>
                    <a:pt x="11522" y="45145"/>
                  </a:cubicBezTo>
                  <a:cubicBezTo>
                    <a:pt x="11522" y="45145"/>
                    <a:pt x="11522" y="45145"/>
                    <a:pt x="11522" y="45145"/>
                  </a:cubicBezTo>
                  <a:cubicBezTo>
                    <a:pt x="11358" y="45582"/>
                    <a:pt x="11193" y="45946"/>
                    <a:pt x="10864" y="46165"/>
                  </a:cubicBezTo>
                  <a:cubicBezTo>
                    <a:pt x="10699" y="46237"/>
                    <a:pt x="10370" y="46310"/>
                    <a:pt x="10205" y="46310"/>
                  </a:cubicBezTo>
                  <a:cubicBezTo>
                    <a:pt x="10041" y="46383"/>
                    <a:pt x="9876" y="46456"/>
                    <a:pt x="9876" y="46529"/>
                  </a:cubicBezTo>
                  <a:cubicBezTo>
                    <a:pt x="9876" y="46529"/>
                    <a:pt x="9876" y="46601"/>
                    <a:pt x="9876" y="46674"/>
                  </a:cubicBezTo>
                  <a:cubicBezTo>
                    <a:pt x="9876" y="46893"/>
                    <a:pt x="9876" y="47257"/>
                    <a:pt x="9053" y="47257"/>
                  </a:cubicBezTo>
                  <a:cubicBezTo>
                    <a:pt x="8888" y="47257"/>
                    <a:pt x="8559" y="47257"/>
                    <a:pt x="8395" y="47257"/>
                  </a:cubicBezTo>
                  <a:cubicBezTo>
                    <a:pt x="8230" y="47257"/>
                    <a:pt x="8065" y="47184"/>
                    <a:pt x="7901" y="47184"/>
                  </a:cubicBezTo>
                  <a:cubicBezTo>
                    <a:pt x="7901" y="47257"/>
                    <a:pt x="7736" y="47330"/>
                    <a:pt x="7736" y="47402"/>
                  </a:cubicBezTo>
                  <a:cubicBezTo>
                    <a:pt x="7572" y="47475"/>
                    <a:pt x="7572" y="47548"/>
                    <a:pt x="7736" y="47694"/>
                  </a:cubicBezTo>
                  <a:cubicBezTo>
                    <a:pt x="7736" y="47694"/>
                    <a:pt x="7901" y="47766"/>
                    <a:pt x="7901" y="47839"/>
                  </a:cubicBezTo>
                  <a:cubicBezTo>
                    <a:pt x="8230" y="47985"/>
                    <a:pt x="8559" y="48131"/>
                    <a:pt x="8559" y="48422"/>
                  </a:cubicBezTo>
                  <a:cubicBezTo>
                    <a:pt x="8724" y="48495"/>
                    <a:pt x="8724" y="48567"/>
                    <a:pt x="8888" y="48640"/>
                  </a:cubicBezTo>
                  <a:cubicBezTo>
                    <a:pt x="9053" y="48932"/>
                    <a:pt x="9382" y="49296"/>
                    <a:pt x="8888" y="49514"/>
                  </a:cubicBezTo>
                  <a:cubicBezTo>
                    <a:pt x="8559" y="49587"/>
                    <a:pt x="8230" y="49805"/>
                    <a:pt x="8230" y="50024"/>
                  </a:cubicBezTo>
                  <a:cubicBezTo>
                    <a:pt x="8230" y="50024"/>
                    <a:pt x="8230" y="50024"/>
                    <a:pt x="8230" y="50097"/>
                  </a:cubicBezTo>
                  <a:cubicBezTo>
                    <a:pt x="8395" y="50097"/>
                    <a:pt x="8395" y="50169"/>
                    <a:pt x="8559" y="50169"/>
                  </a:cubicBezTo>
                  <a:cubicBezTo>
                    <a:pt x="8888" y="50242"/>
                    <a:pt x="9218" y="50388"/>
                    <a:pt x="9218" y="50606"/>
                  </a:cubicBezTo>
                  <a:cubicBezTo>
                    <a:pt x="9218" y="50679"/>
                    <a:pt x="9218" y="50752"/>
                    <a:pt x="9053" y="50825"/>
                  </a:cubicBezTo>
                  <a:cubicBezTo>
                    <a:pt x="9053" y="50970"/>
                    <a:pt x="9053" y="51043"/>
                    <a:pt x="9218" y="51116"/>
                  </a:cubicBezTo>
                  <a:cubicBezTo>
                    <a:pt x="9382" y="51189"/>
                    <a:pt x="10041" y="51407"/>
                    <a:pt x="10534" y="51480"/>
                  </a:cubicBezTo>
                  <a:cubicBezTo>
                    <a:pt x="11193" y="51699"/>
                    <a:pt x="11687" y="51844"/>
                    <a:pt x="11851" y="51917"/>
                  </a:cubicBezTo>
                  <a:cubicBezTo>
                    <a:pt x="11851" y="51990"/>
                    <a:pt x="12839" y="52718"/>
                    <a:pt x="12510" y="52936"/>
                  </a:cubicBezTo>
                  <a:cubicBezTo>
                    <a:pt x="12345" y="53009"/>
                    <a:pt x="12181" y="53082"/>
                    <a:pt x="11851" y="53155"/>
                  </a:cubicBezTo>
                  <a:cubicBezTo>
                    <a:pt x="11687" y="53228"/>
                    <a:pt x="11358" y="53373"/>
                    <a:pt x="11193" y="53446"/>
                  </a:cubicBezTo>
                  <a:cubicBezTo>
                    <a:pt x="11193" y="53519"/>
                    <a:pt x="11193" y="53519"/>
                    <a:pt x="11193" y="53592"/>
                  </a:cubicBezTo>
                  <a:cubicBezTo>
                    <a:pt x="11193" y="53665"/>
                    <a:pt x="11193" y="53883"/>
                    <a:pt x="11193" y="53956"/>
                  </a:cubicBezTo>
                  <a:cubicBezTo>
                    <a:pt x="11358" y="54029"/>
                    <a:pt x="11358" y="54029"/>
                    <a:pt x="11358" y="54029"/>
                  </a:cubicBezTo>
                  <a:cubicBezTo>
                    <a:pt x="11522" y="54174"/>
                    <a:pt x="11851" y="54320"/>
                    <a:pt x="11851" y="54466"/>
                  </a:cubicBezTo>
                  <a:cubicBezTo>
                    <a:pt x="11851" y="54538"/>
                    <a:pt x="11851" y="54611"/>
                    <a:pt x="11851" y="54684"/>
                  </a:cubicBezTo>
                  <a:cubicBezTo>
                    <a:pt x="11851" y="55412"/>
                    <a:pt x="11851" y="55558"/>
                    <a:pt x="11522" y="55703"/>
                  </a:cubicBezTo>
                  <a:cubicBezTo>
                    <a:pt x="11193" y="55776"/>
                    <a:pt x="11028" y="55922"/>
                    <a:pt x="11193" y="55995"/>
                  </a:cubicBezTo>
                  <a:cubicBezTo>
                    <a:pt x="11193" y="56067"/>
                    <a:pt x="11358" y="56213"/>
                    <a:pt x="11358" y="56286"/>
                  </a:cubicBezTo>
                  <a:cubicBezTo>
                    <a:pt x="11522" y="56432"/>
                    <a:pt x="11687" y="56723"/>
                    <a:pt x="11851" y="56796"/>
                  </a:cubicBezTo>
                  <a:cubicBezTo>
                    <a:pt x="12181" y="56723"/>
                    <a:pt x="13497" y="56723"/>
                    <a:pt x="13991" y="57087"/>
                  </a:cubicBezTo>
                  <a:cubicBezTo>
                    <a:pt x="13991" y="57160"/>
                    <a:pt x="14320" y="57305"/>
                    <a:pt x="14650" y="57451"/>
                  </a:cubicBezTo>
                  <a:cubicBezTo>
                    <a:pt x="15308" y="57815"/>
                    <a:pt x="15967" y="58106"/>
                    <a:pt x="15967" y="58325"/>
                  </a:cubicBezTo>
                  <a:cubicBezTo>
                    <a:pt x="15967" y="58325"/>
                    <a:pt x="16790" y="59635"/>
                    <a:pt x="16131" y="59854"/>
                  </a:cubicBezTo>
                  <a:cubicBezTo>
                    <a:pt x="15802" y="59854"/>
                    <a:pt x="15308" y="60000"/>
                    <a:pt x="15308" y="60145"/>
                  </a:cubicBezTo>
                  <a:cubicBezTo>
                    <a:pt x="15308" y="60436"/>
                    <a:pt x="15473" y="60946"/>
                    <a:pt x="15637" y="61019"/>
                  </a:cubicBezTo>
                  <a:cubicBezTo>
                    <a:pt x="15637" y="61019"/>
                    <a:pt x="15967" y="61092"/>
                    <a:pt x="16296" y="61092"/>
                  </a:cubicBezTo>
                  <a:cubicBezTo>
                    <a:pt x="17283" y="61237"/>
                    <a:pt x="17942" y="61310"/>
                    <a:pt x="18271" y="61383"/>
                  </a:cubicBezTo>
                  <a:cubicBezTo>
                    <a:pt x="18271" y="61456"/>
                    <a:pt x="18271" y="61456"/>
                    <a:pt x="18271" y="61456"/>
                  </a:cubicBezTo>
                  <a:cubicBezTo>
                    <a:pt x="18930" y="61820"/>
                    <a:pt x="19094" y="61893"/>
                    <a:pt x="19259" y="61893"/>
                  </a:cubicBezTo>
                  <a:cubicBezTo>
                    <a:pt x="19259" y="61893"/>
                    <a:pt x="19423" y="61820"/>
                    <a:pt x="19588" y="61747"/>
                  </a:cubicBezTo>
                  <a:cubicBezTo>
                    <a:pt x="19917" y="61601"/>
                    <a:pt x="20246" y="61529"/>
                    <a:pt x="20576" y="61529"/>
                  </a:cubicBezTo>
                  <a:cubicBezTo>
                    <a:pt x="20740" y="61529"/>
                    <a:pt x="20905" y="61601"/>
                    <a:pt x="20905" y="61674"/>
                  </a:cubicBezTo>
                  <a:cubicBezTo>
                    <a:pt x="21069" y="61966"/>
                    <a:pt x="21399" y="62912"/>
                    <a:pt x="21234" y="63131"/>
                  </a:cubicBezTo>
                  <a:cubicBezTo>
                    <a:pt x="21069" y="63276"/>
                    <a:pt x="20905" y="63495"/>
                    <a:pt x="21069" y="63640"/>
                  </a:cubicBezTo>
                  <a:cubicBezTo>
                    <a:pt x="21069" y="63713"/>
                    <a:pt x="21069" y="63786"/>
                    <a:pt x="21234" y="63786"/>
                  </a:cubicBezTo>
                  <a:cubicBezTo>
                    <a:pt x="21563" y="64223"/>
                    <a:pt x="21728" y="64514"/>
                    <a:pt x="21563" y="64733"/>
                  </a:cubicBezTo>
                  <a:cubicBezTo>
                    <a:pt x="21399" y="64805"/>
                    <a:pt x="20905" y="65024"/>
                    <a:pt x="20082" y="65388"/>
                  </a:cubicBezTo>
                  <a:cubicBezTo>
                    <a:pt x="19588" y="65606"/>
                    <a:pt x="18930" y="65898"/>
                    <a:pt x="18930" y="65970"/>
                  </a:cubicBezTo>
                  <a:cubicBezTo>
                    <a:pt x="18271" y="66407"/>
                    <a:pt x="17613" y="67208"/>
                    <a:pt x="17777" y="67281"/>
                  </a:cubicBezTo>
                  <a:cubicBezTo>
                    <a:pt x="17777" y="67427"/>
                    <a:pt x="17942" y="67500"/>
                    <a:pt x="18106" y="67572"/>
                  </a:cubicBezTo>
                  <a:cubicBezTo>
                    <a:pt x="18765" y="67936"/>
                    <a:pt x="19094" y="68082"/>
                    <a:pt x="19094" y="68300"/>
                  </a:cubicBezTo>
                  <a:cubicBezTo>
                    <a:pt x="19094" y="68373"/>
                    <a:pt x="19094" y="68446"/>
                    <a:pt x="19094" y="68519"/>
                  </a:cubicBezTo>
                  <a:cubicBezTo>
                    <a:pt x="19094" y="69466"/>
                    <a:pt x="19094" y="69757"/>
                    <a:pt x="18765" y="69830"/>
                  </a:cubicBezTo>
                  <a:cubicBezTo>
                    <a:pt x="18765" y="69902"/>
                    <a:pt x="18765" y="69902"/>
                    <a:pt x="18600" y="69975"/>
                  </a:cubicBezTo>
                  <a:cubicBezTo>
                    <a:pt x="17942" y="70194"/>
                    <a:pt x="17613" y="70339"/>
                    <a:pt x="17613" y="70412"/>
                  </a:cubicBezTo>
                  <a:cubicBezTo>
                    <a:pt x="17613" y="71432"/>
                    <a:pt x="17448" y="71577"/>
                    <a:pt x="17119" y="71723"/>
                  </a:cubicBezTo>
                  <a:cubicBezTo>
                    <a:pt x="16790" y="71796"/>
                    <a:pt x="13662" y="73106"/>
                    <a:pt x="13497" y="73325"/>
                  </a:cubicBezTo>
                  <a:cubicBezTo>
                    <a:pt x="13662" y="73398"/>
                    <a:pt x="13497" y="73398"/>
                    <a:pt x="13497" y="73543"/>
                  </a:cubicBezTo>
                  <a:cubicBezTo>
                    <a:pt x="13497" y="73834"/>
                    <a:pt x="13333" y="74490"/>
                    <a:pt x="13991" y="74708"/>
                  </a:cubicBezTo>
                  <a:cubicBezTo>
                    <a:pt x="14650" y="74854"/>
                    <a:pt x="15637" y="75145"/>
                    <a:pt x="16625" y="75436"/>
                  </a:cubicBezTo>
                  <a:cubicBezTo>
                    <a:pt x="17613" y="75655"/>
                    <a:pt x="18271" y="75800"/>
                    <a:pt x="18436" y="75873"/>
                  </a:cubicBezTo>
                  <a:cubicBezTo>
                    <a:pt x="18600" y="75946"/>
                    <a:pt x="18765" y="75946"/>
                    <a:pt x="18765" y="76019"/>
                  </a:cubicBezTo>
                  <a:cubicBezTo>
                    <a:pt x="19094" y="76019"/>
                    <a:pt x="19588" y="76165"/>
                    <a:pt x="19423" y="76456"/>
                  </a:cubicBezTo>
                  <a:cubicBezTo>
                    <a:pt x="19259" y="76674"/>
                    <a:pt x="17777" y="77548"/>
                    <a:pt x="17448" y="77694"/>
                  </a:cubicBezTo>
                  <a:cubicBezTo>
                    <a:pt x="16954" y="77839"/>
                    <a:pt x="14650" y="78203"/>
                    <a:pt x="13991" y="78276"/>
                  </a:cubicBezTo>
                  <a:cubicBezTo>
                    <a:pt x="11358" y="79368"/>
                    <a:pt x="11358" y="79368"/>
                    <a:pt x="11358" y="79368"/>
                  </a:cubicBezTo>
                  <a:cubicBezTo>
                    <a:pt x="11358" y="79441"/>
                    <a:pt x="11522" y="79514"/>
                    <a:pt x="11522" y="79514"/>
                  </a:cubicBezTo>
                  <a:cubicBezTo>
                    <a:pt x="13333" y="80970"/>
                    <a:pt x="13827" y="81480"/>
                    <a:pt x="13333" y="81626"/>
                  </a:cubicBezTo>
                  <a:cubicBezTo>
                    <a:pt x="13168" y="81699"/>
                    <a:pt x="13004" y="81771"/>
                    <a:pt x="12674" y="81917"/>
                  </a:cubicBezTo>
                  <a:cubicBezTo>
                    <a:pt x="12345" y="81990"/>
                    <a:pt x="11522" y="82281"/>
                    <a:pt x="11522" y="82427"/>
                  </a:cubicBezTo>
                  <a:cubicBezTo>
                    <a:pt x="11522" y="82500"/>
                    <a:pt x="11522" y="82500"/>
                    <a:pt x="11687" y="82572"/>
                  </a:cubicBezTo>
                  <a:cubicBezTo>
                    <a:pt x="11687" y="82791"/>
                    <a:pt x="12016" y="83300"/>
                    <a:pt x="12181" y="83373"/>
                  </a:cubicBezTo>
                  <a:cubicBezTo>
                    <a:pt x="12674" y="83446"/>
                    <a:pt x="14320" y="83737"/>
                    <a:pt x="14650" y="83737"/>
                  </a:cubicBezTo>
                  <a:cubicBezTo>
                    <a:pt x="15144" y="83665"/>
                    <a:pt x="17777" y="83228"/>
                    <a:pt x="19259" y="83300"/>
                  </a:cubicBezTo>
                  <a:cubicBezTo>
                    <a:pt x="19259" y="83300"/>
                    <a:pt x="24197" y="83446"/>
                    <a:pt x="24526" y="83810"/>
                  </a:cubicBezTo>
                  <a:cubicBezTo>
                    <a:pt x="25349" y="84466"/>
                    <a:pt x="25349" y="84466"/>
                    <a:pt x="25349" y="84466"/>
                  </a:cubicBezTo>
                  <a:cubicBezTo>
                    <a:pt x="25349" y="84538"/>
                    <a:pt x="26008" y="84830"/>
                    <a:pt x="26502" y="84975"/>
                  </a:cubicBezTo>
                  <a:cubicBezTo>
                    <a:pt x="27818" y="85485"/>
                    <a:pt x="28312" y="85631"/>
                    <a:pt x="28312" y="85776"/>
                  </a:cubicBezTo>
                  <a:cubicBezTo>
                    <a:pt x="28312" y="86067"/>
                    <a:pt x="28477" y="86650"/>
                    <a:pt x="28641" y="86650"/>
                  </a:cubicBezTo>
                  <a:cubicBezTo>
                    <a:pt x="28806" y="86650"/>
                    <a:pt x="29300" y="86650"/>
                    <a:pt x="29629" y="86650"/>
                  </a:cubicBezTo>
                  <a:cubicBezTo>
                    <a:pt x="30946" y="86504"/>
                    <a:pt x="31604" y="86504"/>
                    <a:pt x="31934" y="86577"/>
                  </a:cubicBezTo>
                  <a:cubicBezTo>
                    <a:pt x="31934" y="86577"/>
                    <a:pt x="33251" y="87087"/>
                    <a:pt x="32757" y="87451"/>
                  </a:cubicBezTo>
                  <a:cubicBezTo>
                    <a:pt x="32592" y="87524"/>
                    <a:pt x="32098" y="87815"/>
                    <a:pt x="31111" y="88325"/>
                  </a:cubicBezTo>
                  <a:cubicBezTo>
                    <a:pt x="30452" y="88616"/>
                    <a:pt x="29629" y="88980"/>
                    <a:pt x="29629" y="89053"/>
                  </a:cubicBezTo>
                  <a:cubicBezTo>
                    <a:pt x="29629" y="89126"/>
                    <a:pt x="29465" y="89199"/>
                    <a:pt x="29300" y="89271"/>
                  </a:cubicBezTo>
                  <a:cubicBezTo>
                    <a:pt x="29135" y="89490"/>
                    <a:pt x="28312" y="90145"/>
                    <a:pt x="28477" y="90291"/>
                  </a:cubicBezTo>
                  <a:cubicBezTo>
                    <a:pt x="28477" y="90364"/>
                    <a:pt x="28806" y="90509"/>
                    <a:pt x="28971" y="90655"/>
                  </a:cubicBezTo>
                  <a:cubicBezTo>
                    <a:pt x="29300" y="90873"/>
                    <a:pt x="29794" y="91165"/>
                    <a:pt x="29958" y="91310"/>
                  </a:cubicBezTo>
                  <a:cubicBezTo>
                    <a:pt x="30123" y="91456"/>
                    <a:pt x="30123" y="91601"/>
                    <a:pt x="30288" y="91820"/>
                  </a:cubicBezTo>
                  <a:cubicBezTo>
                    <a:pt x="30288" y="91966"/>
                    <a:pt x="30288" y="92184"/>
                    <a:pt x="30452" y="92184"/>
                  </a:cubicBezTo>
                  <a:cubicBezTo>
                    <a:pt x="30617" y="92184"/>
                    <a:pt x="30946" y="92257"/>
                    <a:pt x="31275" y="92257"/>
                  </a:cubicBezTo>
                  <a:cubicBezTo>
                    <a:pt x="31769" y="92257"/>
                    <a:pt x="32263" y="92257"/>
                    <a:pt x="32427" y="92330"/>
                  </a:cubicBezTo>
                  <a:cubicBezTo>
                    <a:pt x="32592" y="92330"/>
                    <a:pt x="32921" y="92330"/>
                    <a:pt x="33251" y="92402"/>
                  </a:cubicBezTo>
                  <a:cubicBezTo>
                    <a:pt x="34897" y="92548"/>
                    <a:pt x="35720" y="92694"/>
                    <a:pt x="35720" y="92912"/>
                  </a:cubicBezTo>
                  <a:cubicBezTo>
                    <a:pt x="35720" y="92912"/>
                    <a:pt x="36213" y="93932"/>
                    <a:pt x="35555" y="94150"/>
                  </a:cubicBezTo>
                  <a:cubicBezTo>
                    <a:pt x="35390" y="94223"/>
                    <a:pt x="35226" y="94296"/>
                    <a:pt x="34732" y="94368"/>
                  </a:cubicBezTo>
                  <a:cubicBezTo>
                    <a:pt x="34403" y="94441"/>
                    <a:pt x="33744" y="94587"/>
                    <a:pt x="33580" y="94660"/>
                  </a:cubicBezTo>
                  <a:cubicBezTo>
                    <a:pt x="33415" y="94733"/>
                    <a:pt x="33251" y="94805"/>
                    <a:pt x="32921" y="95024"/>
                  </a:cubicBezTo>
                  <a:cubicBezTo>
                    <a:pt x="32592" y="95242"/>
                    <a:pt x="32098" y="95679"/>
                    <a:pt x="31934" y="95752"/>
                  </a:cubicBezTo>
                  <a:cubicBezTo>
                    <a:pt x="32098" y="95752"/>
                    <a:pt x="32098" y="95825"/>
                    <a:pt x="32098" y="95970"/>
                  </a:cubicBezTo>
                  <a:cubicBezTo>
                    <a:pt x="32098" y="96480"/>
                    <a:pt x="32098" y="96990"/>
                    <a:pt x="31934" y="97208"/>
                  </a:cubicBezTo>
                  <a:cubicBezTo>
                    <a:pt x="31934" y="97281"/>
                    <a:pt x="31934" y="97354"/>
                    <a:pt x="31769" y="97500"/>
                  </a:cubicBezTo>
                  <a:cubicBezTo>
                    <a:pt x="31769" y="97718"/>
                    <a:pt x="31440" y="98082"/>
                    <a:pt x="31440" y="98300"/>
                  </a:cubicBezTo>
                  <a:cubicBezTo>
                    <a:pt x="31604" y="98373"/>
                    <a:pt x="31604" y="98446"/>
                    <a:pt x="31604" y="98592"/>
                  </a:cubicBezTo>
                  <a:cubicBezTo>
                    <a:pt x="31604" y="98737"/>
                    <a:pt x="31604" y="99101"/>
                    <a:pt x="31769" y="99101"/>
                  </a:cubicBezTo>
                  <a:cubicBezTo>
                    <a:pt x="31934" y="99174"/>
                    <a:pt x="31934" y="99174"/>
                    <a:pt x="31934" y="99174"/>
                  </a:cubicBezTo>
                  <a:cubicBezTo>
                    <a:pt x="33086" y="99393"/>
                    <a:pt x="34074" y="99611"/>
                    <a:pt x="34403" y="99757"/>
                  </a:cubicBezTo>
                  <a:cubicBezTo>
                    <a:pt x="34732" y="99902"/>
                    <a:pt x="35061" y="100194"/>
                    <a:pt x="35390" y="100558"/>
                  </a:cubicBezTo>
                  <a:cubicBezTo>
                    <a:pt x="35390" y="100631"/>
                    <a:pt x="35555" y="100631"/>
                    <a:pt x="35555" y="100703"/>
                  </a:cubicBezTo>
                  <a:cubicBezTo>
                    <a:pt x="35720" y="100776"/>
                    <a:pt x="35720" y="100995"/>
                    <a:pt x="35720" y="101359"/>
                  </a:cubicBezTo>
                  <a:cubicBezTo>
                    <a:pt x="35720" y="101504"/>
                    <a:pt x="35720" y="101723"/>
                    <a:pt x="35720" y="101796"/>
                  </a:cubicBezTo>
                  <a:cubicBezTo>
                    <a:pt x="35720" y="101868"/>
                    <a:pt x="35720" y="101868"/>
                    <a:pt x="35720" y="101868"/>
                  </a:cubicBezTo>
                  <a:cubicBezTo>
                    <a:pt x="35884" y="102087"/>
                    <a:pt x="35884" y="102378"/>
                    <a:pt x="35555" y="102524"/>
                  </a:cubicBezTo>
                  <a:cubicBezTo>
                    <a:pt x="35555" y="102524"/>
                    <a:pt x="35390" y="102597"/>
                    <a:pt x="35226" y="102597"/>
                  </a:cubicBezTo>
                  <a:cubicBezTo>
                    <a:pt x="34567" y="102597"/>
                    <a:pt x="34238" y="102669"/>
                    <a:pt x="34238" y="102669"/>
                  </a:cubicBezTo>
                  <a:cubicBezTo>
                    <a:pt x="34074" y="102888"/>
                    <a:pt x="32921" y="103398"/>
                    <a:pt x="32592" y="103470"/>
                  </a:cubicBezTo>
                  <a:cubicBezTo>
                    <a:pt x="32427" y="103543"/>
                    <a:pt x="32427" y="103543"/>
                    <a:pt x="32427" y="103543"/>
                  </a:cubicBezTo>
                  <a:cubicBezTo>
                    <a:pt x="32427" y="103543"/>
                    <a:pt x="32427" y="103543"/>
                    <a:pt x="32427" y="103543"/>
                  </a:cubicBezTo>
                  <a:cubicBezTo>
                    <a:pt x="32757" y="103762"/>
                    <a:pt x="33580" y="104417"/>
                    <a:pt x="34074" y="104708"/>
                  </a:cubicBezTo>
                  <a:cubicBezTo>
                    <a:pt x="34567" y="105000"/>
                    <a:pt x="35226" y="105291"/>
                    <a:pt x="35720" y="105436"/>
                  </a:cubicBezTo>
                  <a:cubicBezTo>
                    <a:pt x="36213" y="105582"/>
                    <a:pt x="37201" y="105728"/>
                    <a:pt x="37530" y="105655"/>
                  </a:cubicBezTo>
                  <a:cubicBezTo>
                    <a:pt x="37695" y="105582"/>
                    <a:pt x="37860" y="105509"/>
                    <a:pt x="38024" y="105436"/>
                  </a:cubicBezTo>
                  <a:cubicBezTo>
                    <a:pt x="38353" y="105291"/>
                    <a:pt x="38847" y="105072"/>
                    <a:pt x="39341" y="105145"/>
                  </a:cubicBezTo>
                  <a:cubicBezTo>
                    <a:pt x="40164" y="105218"/>
                    <a:pt x="41810" y="105364"/>
                    <a:pt x="42139" y="105364"/>
                  </a:cubicBezTo>
                  <a:cubicBezTo>
                    <a:pt x="42633" y="105291"/>
                    <a:pt x="44279" y="105000"/>
                    <a:pt x="44279" y="105000"/>
                  </a:cubicBezTo>
                  <a:cubicBezTo>
                    <a:pt x="44279" y="104927"/>
                    <a:pt x="44444" y="104927"/>
                    <a:pt x="44609" y="105000"/>
                  </a:cubicBezTo>
                  <a:cubicBezTo>
                    <a:pt x="44609" y="105000"/>
                    <a:pt x="45761" y="105436"/>
                    <a:pt x="45267" y="105873"/>
                  </a:cubicBezTo>
                  <a:cubicBezTo>
                    <a:pt x="45267" y="105946"/>
                    <a:pt x="45267" y="105946"/>
                    <a:pt x="45267" y="105946"/>
                  </a:cubicBezTo>
                  <a:cubicBezTo>
                    <a:pt x="44938" y="106237"/>
                    <a:pt x="44279" y="106820"/>
                    <a:pt x="44609" y="106966"/>
                  </a:cubicBezTo>
                  <a:cubicBezTo>
                    <a:pt x="44773" y="107111"/>
                    <a:pt x="45432" y="107402"/>
                    <a:pt x="45925" y="107621"/>
                  </a:cubicBezTo>
                  <a:cubicBezTo>
                    <a:pt x="46748" y="107912"/>
                    <a:pt x="46913" y="107985"/>
                    <a:pt x="46913" y="108058"/>
                  </a:cubicBezTo>
                  <a:cubicBezTo>
                    <a:pt x="47078" y="108131"/>
                    <a:pt x="47078" y="108203"/>
                    <a:pt x="47078" y="108276"/>
                  </a:cubicBezTo>
                  <a:cubicBezTo>
                    <a:pt x="47242" y="108495"/>
                    <a:pt x="47407" y="109150"/>
                    <a:pt x="47736" y="109296"/>
                  </a:cubicBezTo>
                  <a:cubicBezTo>
                    <a:pt x="47736" y="109296"/>
                    <a:pt x="50205" y="110169"/>
                    <a:pt x="50205" y="110461"/>
                  </a:cubicBezTo>
                  <a:cubicBezTo>
                    <a:pt x="50205" y="110533"/>
                    <a:pt x="50041" y="110533"/>
                    <a:pt x="50041" y="110679"/>
                  </a:cubicBezTo>
                  <a:cubicBezTo>
                    <a:pt x="50041" y="110825"/>
                    <a:pt x="49876" y="111189"/>
                    <a:pt x="50041" y="111407"/>
                  </a:cubicBezTo>
                  <a:cubicBezTo>
                    <a:pt x="50205" y="111480"/>
                    <a:pt x="50205" y="111553"/>
                    <a:pt x="50370" y="111626"/>
                  </a:cubicBezTo>
                  <a:cubicBezTo>
                    <a:pt x="50699" y="111917"/>
                    <a:pt x="50864" y="112135"/>
                    <a:pt x="50864" y="112354"/>
                  </a:cubicBezTo>
                  <a:cubicBezTo>
                    <a:pt x="50864" y="112354"/>
                    <a:pt x="50370" y="113373"/>
                    <a:pt x="50041" y="113519"/>
                  </a:cubicBezTo>
                  <a:cubicBezTo>
                    <a:pt x="49876" y="113592"/>
                    <a:pt x="49876" y="113665"/>
                    <a:pt x="49547" y="113737"/>
                  </a:cubicBezTo>
                  <a:cubicBezTo>
                    <a:pt x="49218" y="113810"/>
                    <a:pt x="48395" y="114101"/>
                    <a:pt x="48230" y="114174"/>
                  </a:cubicBezTo>
                  <a:cubicBezTo>
                    <a:pt x="48230" y="114320"/>
                    <a:pt x="48559" y="115266"/>
                    <a:pt x="48065" y="115485"/>
                  </a:cubicBezTo>
                  <a:cubicBezTo>
                    <a:pt x="48065" y="115485"/>
                    <a:pt x="47901" y="115558"/>
                    <a:pt x="47736" y="115631"/>
                  </a:cubicBezTo>
                  <a:cubicBezTo>
                    <a:pt x="47242" y="115922"/>
                    <a:pt x="46584" y="116140"/>
                    <a:pt x="46255" y="116213"/>
                  </a:cubicBezTo>
                  <a:cubicBezTo>
                    <a:pt x="45761" y="116359"/>
                    <a:pt x="44773" y="116577"/>
                    <a:pt x="44609" y="116650"/>
                  </a:cubicBezTo>
                  <a:cubicBezTo>
                    <a:pt x="44609" y="116650"/>
                    <a:pt x="44444" y="116723"/>
                    <a:pt x="44279" y="116941"/>
                  </a:cubicBezTo>
                  <a:cubicBezTo>
                    <a:pt x="43621" y="117451"/>
                    <a:pt x="43127" y="117888"/>
                    <a:pt x="42798" y="118106"/>
                  </a:cubicBezTo>
                  <a:cubicBezTo>
                    <a:pt x="43456" y="118543"/>
                    <a:pt x="44115" y="118907"/>
                    <a:pt x="44444" y="118980"/>
                  </a:cubicBezTo>
                  <a:cubicBezTo>
                    <a:pt x="44773" y="118980"/>
                    <a:pt x="44773" y="118980"/>
                    <a:pt x="44773" y="118980"/>
                  </a:cubicBezTo>
                  <a:cubicBezTo>
                    <a:pt x="46090" y="119271"/>
                    <a:pt x="46748" y="119344"/>
                    <a:pt x="47078" y="119344"/>
                  </a:cubicBezTo>
                  <a:cubicBezTo>
                    <a:pt x="47078" y="119344"/>
                    <a:pt x="47407" y="119417"/>
                    <a:pt x="47736" y="119417"/>
                  </a:cubicBezTo>
                  <a:cubicBezTo>
                    <a:pt x="48230" y="119417"/>
                    <a:pt x="49218" y="119417"/>
                    <a:pt x="49382" y="119417"/>
                  </a:cubicBezTo>
                  <a:cubicBezTo>
                    <a:pt x="49711" y="119417"/>
                    <a:pt x="50370" y="119490"/>
                    <a:pt x="51358" y="119708"/>
                  </a:cubicBezTo>
                  <a:cubicBezTo>
                    <a:pt x="51522" y="119781"/>
                    <a:pt x="51851" y="119854"/>
                    <a:pt x="52016" y="119854"/>
                  </a:cubicBezTo>
                  <a:cubicBezTo>
                    <a:pt x="52510" y="119927"/>
                    <a:pt x="52839" y="120000"/>
                    <a:pt x="53497" y="119927"/>
                  </a:cubicBezTo>
                  <a:cubicBezTo>
                    <a:pt x="55308" y="119781"/>
                    <a:pt x="55637" y="119635"/>
                    <a:pt x="55802" y="119563"/>
                  </a:cubicBezTo>
                  <a:cubicBezTo>
                    <a:pt x="55967" y="119490"/>
                    <a:pt x="56790" y="119199"/>
                    <a:pt x="57448" y="118907"/>
                  </a:cubicBezTo>
                  <a:cubicBezTo>
                    <a:pt x="58271" y="118616"/>
                    <a:pt x="59259" y="118252"/>
                    <a:pt x="59423" y="118179"/>
                  </a:cubicBezTo>
                  <a:cubicBezTo>
                    <a:pt x="59917" y="117888"/>
                    <a:pt x="60740" y="117888"/>
                    <a:pt x="61563" y="117888"/>
                  </a:cubicBezTo>
                  <a:cubicBezTo>
                    <a:pt x="61728" y="117888"/>
                    <a:pt x="61893" y="117888"/>
                    <a:pt x="61893" y="117815"/>
                  </a:cubicBezTo>
                  <a:cubicBezTo>
                    <a:pt x="62057" y="117815"/>
                    <a:pt x="62222" y="117669"/>
                    <a:pt x="61893" y="116868"/>
                  </a:cubicBezTo>
                  <a:cubicBezTo>
                    <a:pt x="61893" y="116723"/>
                    <a:pt x="61893" y="116650"/>
                    <a:pt x="61893" y="116577"/>
                  </a:cubicBezTo>
                  <a:cubicBezTo>
                    <a:pt x="61893" y="116213"/>
                    <a:pt x="63539" y="115703"/>
                    <a:pt x="63539" y="115703"/>
                  </a:cubicBezTo>
                  <a:cubicBezTo>
                    <a:pt x="63703" y="115703"/>
                    <a:pt x="63703" y="115412"/>
                    <a:pt x="63703" y="115339"/>
                  </a:cubicBezTo>
                  <a:cubicBezTo>
                    <a:pt x="63703" y="115266"/>
                    <a:pt x="63703" y="115266"/>
                    <a:pt x="63703" y="115194"/>
                  </a:cubicBezTo>
                  <a:cubicBezTo>
                    <a:pt x="63703" y="114902"/>
                    <a:pt x="64526" y="114830"/>
                    <a:pt x="65349" y="114757"/>
                  </a:cubicBezTo>
                  <a:cubicBezTo>
                    <a:pt x="65679" y="114684"/>
                    <a:pt x="66008" y="114684"/>
                    <a:pt x="66172" y="114611"/>
                  </a:cubicBezTo>
                  <a:cubicBezTo>
                    <a:pt x="66502" y="114466"/>
                    <a:pt x="66831" y="113300"/>
                    <a:pt x="66831" y="113009"/>
                  </a:cubicBezTo>
                  <a:cubicBezTo>
                    <a:pt x="66831" y="112718"/>
                    <a:pt x="68312" y="112281"/>
                    <a:pt x="68312" y="112281"/>
                  </a:cubicBezTo>
                  <a:cubicBezTo>
                    <a:pt x="68641" y="112208"/>
                    <a:pt x="69629" y="112208"/>
                    <a:pt x="71275" y="112427"/>
                  </a:cubicBezTo>
                  <a:cubicBezTo>
                    <a:pt x="71440" y="112427"/>
                    <a:pt x="72263" y="112281"/>
                    <a:pt x="73251" y="111626"/>
                  </a:cubicBezTo>
                  <a:cubicBezTo>
                    <a:pt x="73415" y="111407"/>
                    <a:pt x="74403" y="111407"/>
                    <a:pt x="76049" y="111553"/>
                  </a:cubicBezTo>
                  <a:cubicBezTo>
                    <a:pt x="76213" y="111553"/>
                    <a:pt x="76543" y="111553"/>
                    <a:pt x="76872" y="111189"/>
                  </a:cubicBezTo>
                  <a:cubicBezTo>
                    <a:pt x="77037" y="111116"/>
                    <a:pt x="77201" y="111116"/>
                    <a:pt x="77366" y="111043"/>
                  </a:cubicBezTo>
                  <a:cubicBezTo>
                    <a:pt x="77530" y="111043"/>
                    <a:pt x="77695" y="111116"/>
                    <a:pt x="78024" y="111189"/>
                  </a:cubicBezTo>
                  <a:cubicBezTo>
                    <a:pt x="78024" y="111189"/>
                    <a:pt x="78189" y="111262"/>
                    <a:pt x="78353" y="111262"/>
                  </a:cubicBezTo>
                  <a:cubicBezTo>
                    <a:pt x="78518" y="111189"/>
                    <a:pt x="78518" y="110970"/>
                    <a:pt x="78518" y="110825"/>
                  </a:cubicBezTo>
                  <a:cubicBezTo>
                    <a:pt x="78353" y="110752"/>
                    <a:pt x="78024" y="110679"/>
                    <a:pt x="77860" y="110679"/>
                  </a:cubicBezTo>
                  <a:cubicBezTo>
                    <a:pt x="77530" y="110533"/>
                    <a:pt x="76543" y="110024"/>
                    <a:pt x="75884" y="109805"/>
                  </a:cubicBezTo>
                  <a:cubicBezTo>
                    <a:pt x="75720" y="109660"/>
                    <a:pt x="75061" y="109441"/>
                    <a:pt x="74732" y="109223"/>
                  </a:cubicBezTo>
                  <a:cubicBezTo>
                    <a:pt x="74403" y="109150"/>
                    <a:pt x="74238" y="109077"/>
                    <a:pt x="74238" y="109004"/>
                  </a:cubicBezTo>
                  <a:cubicBezTo>
                    <a:pt x="74074" y="109004"/>
                    <a:pt x="73744" y="108932"/>
                    <a:pt x="73415" y="108786"/>
                  </a:cubicBezTo>
                  <a:cubicBezTo>
                    <a:pt x="72921" y="108713"/>
                    <a:pt x="72427" y="108567"/>
                    <a:pt x="72098" y="108422"/>
                  </a:cubicBezTo>
                  <a:cubicBezTo>
                    <a:pt x="71769" y="108349"/>
                    <a:pt x="71440" y="108058"/>
                    <a:pt x="72098" y="107621"/>
                  </a:cubicBezTo>
                  <a:cubicBezTo>
                    <a:pt x="72427" y="107475"/>
                    <a:pt x="73086" y="107475"/>
                    <a:pt x="73580" y="107548"/>
                  </a:cubicBezTo>
                  <a:cubicBezTo>
                    <a:pt x="73744" y="107548"/>
                    <a:pt x="73744" y="107548"/>
                    <a:pt x="73909" y="107548"/>
                  </a:cubicBezTo>
                  <a:cubicBezTo>
                    <a:pt x="73909" y="107548"/>
                    <a:pt x="73909" y="107475"/>
                    <a:pt x="73909" y="107475"/>
                  </a:cubicBezTo>
                  <a:cubicBezTo>
                    <a:pt x="73909" y="107402"/>
                    <a:pt x="73909" y="107330"/>
                    <a:pt x="73909" y="107257"/>
                  </a:cubicBezTo>
                  <a:cubicBezTo>
                    <a:pt x="73909" y="106966"/>
                    <a:pt x="74897" y="106966"/>
                    <a:pt x="76378" y="106893"/>
                  </a:cubicBezTo>
                  <a:cubicBezTo>
                    <a:pt x="76707" y="106893"/>
                    <a:pt x="76872" y="106893"/>
                    <a:pt x="77037" y="106893"/>
                  </a:cubicBezTo>
                  <a:cubicBezTo>
                    <a:pt x="77201" y="106820"/>
                    <a:pt x="77037" y="106529"/>
                    <a:pt x="77037" y="106383"/>
                  </a:cubicBezTo>
                  <a:cubicBezTo>
                    <a:pt x="76872" y="106237"/>
                    <a:pt x="76872" y="106165"/>
                    <a:pt x="76872" y="106092"/>
                  </a:cubicBezTo>
                  <a:cubicBezTo>
                    <a:pt x="76872" y="105946"/>
                    <a:pt x="77201" y="105728"/>
                    <a:pt x="77366" y="105582"/>
                  </a:cubicBezTo>
                  <a:cubicBezTo>
                    <a:pt x="77530" y="105582"/>
                    <a:pt x="77695" y="105509"/>
                    <a:pt x="77695" y="105436"/>
                  </a:cubicBezTo>
                  <a:cubicBezTo>
                    <a:pt x="77860" y="105364"/>
                    <a:pt x="77860" y="105364"/>
                    <a:pt x="77530" y="105291"/>
                  </a:cubicBezTo>
                  <a:cubicBezTo>
                    <a:pt x="77530" y="105218"/>
                    <a:pt x="77366" y="105145"/>
                    <a:pt x="77366" y="105072"/>
                  </a:cubicBezTo>
                  <a:cubicBezTo>
                    <a:pt x="77037" y="104927"/>
                    <a:pt x="77201" y="104563"/>
                    <a:pt x="77201" y="104053"/>
                  </a:cubicBezTo>
                  <a:cubicBezTo>
                    <a:pt x="77201" y="103907"/>
                    <a:pt x="77201" y="103834"/>
                    <a:pt x="77201" y="103762"/>
                  </a:cubicBezTo>
                  <a:cubicBezTo>
                    <a:pt x="77201" y="103543"/>
                    <a:pt x="77530" y="103470"/>
                    <a:pt x="77695" y="103398"/>
                  </a:cubicBezTo>
                  <a:cubicBezTo>
                    <a:pt x="77860" y="103398"/>
                    <a:pt x="78024" y="103398"/>
                    <a:pt x="78024" y="103398"/>
                  </a:cubicBezTo>
                  <a:cubicBezTo>
                    <a:pt x="78189" y="103325"/>
                    <a:pt x="78024" y="102961"/>
                    <a:pt x="78024" y="102815"/>
                  </a:cubicBezTo>
                  <a:cubicBezTo>
                    <a:pt x="78024" y="102669"/>
                    <a:pt x="78024" y="102669"/>
                    <a:pt x="78024" y="102669"/>
                  </a:cubicBezTo>
                  <a:cubicBezTo>
                    <a:pt x="77860" y="102524"/>
                    <a:pt x="77530" y="102305"/>
                    <a:pt x="77201" y="102087"/>
                  </a:cubicBezTo>
                  <a:cubicBezTo>
                    <a:pt x="77037" y="102014"/>
                    <a:pt x="77037" y="102014"/>
                    <a:pt x="76872" y="101941"/>
                  </a:cubicBezTo>
                  <a:cubicBezTo>
                    <a:pt x="76543" y="101723"/>
                    <a:pt x="76872" y="101432"/>
                    <a:pt x="77201" y="101286"/>
                  </a:cubicBezTo>
                  <a:cubicBezTo>
                    <a:pt x="77201" y="101213"/>
                    <a:pt x="77201" y="101213"/>
                    <a:pt x="77201" y="101213"/>
                  </a:cubicBezTo>
                  <a:cubicBezTo>
                    <a:pt x="77366" y="101067"/>
                    <a:pt x="77860" y="100194"/>
                    <a:pt x="78024" y="100048"/>
                  </a:cubicBezTo>
                  <a:cubicBezTo>
                    <a:pt x="78024" y="99830"/>
                    <a:pt x="78683" y="99757"/>
                    <a:pt x="80000" y="99757"/>
                  </a:cubicBezTo>
                  <a:cubicBezTo>
                    <a:pt x="80164" y="99684"/>
                    <a:pt x="80329" y="99320"/>
                    <a:pt x="80493" y="99174"/>
                  </a:cubicBezTo>
                  <a:cubicBezTo>
                    <a:pt x="80493" y="99101"/>
                    <a:pt x="80658" y="99029"/>
                    <a:pt x="80658" y="98956"/>
                  </a:cubicBezTo>
                  <a:cubicBezTo>
                    <a:pt x="80823" y="98737"/>
                    <a:pt x="81481" y="98665"/>
                    <a:pt x="82139" y="98592"/>
                  </a:cubicBezTo>
                  <a:cubicBezTo>
                    <a:pt x="82304" y="98592"/>
                    <a:pt x="82304" y="98592"/>
                    <a:pt x="82304" y="98592"/>
                  </a:cubicBezTo>
                  <a:cubicBezTo>
                    <a:pt x="82469" y="98592"/>
                    <a:pt x="82469" y="98300"/>
                    <a:pt x="82469" y="98228"/>
                  </a:cubicBezTo>
                  <a:cubicBezTo>
                    <a:pt x="82469" y="98082"/>
                    <a:pt x="82469" y="98082"/>
                    <a:pt x="82469" y="98009"/>
                  </a:cubicBezTo>
                  <a:cubicBezTo>
                    <a:pt x="82469" y="97864"/>
                    <a:pt x="81810" y="97354"/>
                    <a:pt x="81481" y="96917"/>
                  </a:cubicBezTo>
                  <a:cubicBezTo>
                    <a:pt x="81316" y="96844"/>
                    <a:pt x="80987" y="96771"/>
                    <a:pt x="80658" y="96699"/>
                  </a:cubicBezTo>
                  <a:cubicBezTo>
                    <a:pt x="80329" y="96553"/>
                    <a:pt x="79835" y="96480"/>
                    <a:pt x="79670" y="96262"/>
                  </a:cubicBezTo>
                  <a:cubicBezTo>
                    <a:pt x="79176" y="95898"/>
                    <a:pt x="79670" y="94805"/>
                    <a:pt x="79835" y="94587"/>
                  </a:cubicBezTo>
                  <a:cubicBezTo>
                    <a:pt x="80000" y="94368"/>
                    <a:pt x="80658" y="94077"/>
                    <a:pt x="81316" y="93932"/>
                  </a:cubicBezTo>
                  <a:cubicBezTo>
                    <a:pt x="81481" y="93786"/>
                    <a:pt x="81316" y="93058"/>
                    <a:pt x="81152" y="92839"/>
                  </a:cubicBezTo>
                  <a:cubicBezTo>
                    <a:pt x="81152" y="92694"/>
                    <a:pt x="81152" y="92548"/>
                    <a:pt x="81152" y="92475"/>
                  </a:cubicBezTo>
                  <a:cubicBezTo>
                    <a:pt x="81152" y="92038"/>
                    <a:pt x="83950" y="92038"/>
                    <a:pt x="84115" y="92038"/>
                  </a:cubicBezTo>
                  <a:cubicBezTo>
                    <a:pt x="84279" y="92038"/>
                    <a:pt x="84609" y="92111"/>
                    <a:pt x="85102" y="92111"/>
                  </a:cubicBezTo>
                  <a:cubicBezTo>
                    <a:pt x="85432" y="92184"/>
                    <a:pt x="85761" y="92184"/>
                    <a:pt x="86090" y="92184"/>
                  </a:cubicBezTo>
                  <a:cubicBezTo>
                    <a:pt x="86419" y="92184"/>
                    <a:pt x="88559" y="91820"/>
                    <a:pt x="88888" y="91674"/>
                  </a:cubicBezTo>
                  <a:cubicBezTo>
                    <a:pt x="89053" y="91601"/>
                    <a:pt x="89382" y="91092"/>
                    <a:pt x="89547" y="90946"/>
                  </a:cubicBezTo>
                  <a:cubicBezTo>
                    <a:pt x="89547" y="90800"/>
                    <a:pt x="89547" y="90800"/>
                    <a:pt x="89547" y="90800"/>
                  </a:cubicBezTo>
                  <a:cubicBezTo>
                    <a:pt x="89711" y="90509"/>
                    <a:pt x="90699" y="90436"/>
                    <a:pt x="91358" y="90364"/>
                  </a:cubicBezTo>
                  <a:cubicBezTo>
                    <a:pt x="91522" y="90364"/>
                    <a:pt x="91522" y="90364"/>
                    <a:pt x="91522" y="90364"/>
                  </a:cubicBezTo>
                  <a:cubicBezTo>
                    <a:pt x="92181" y="90218"/>
                    <a:pt x="92839" y="90728"/>
                    <a:pt x="93497" y="91019"/>
                  </a:cubicBezTo>
                  <a:cubicBezTo>
                    <a:pt x="93497" y="91092"/>
                    <a:pt x="93662" y="91165"/>
                    <a:pt x="93662" y="91237"/>
                  </a:cubicBezTo>
                  <a:cubicBezTo>
                    <a:pt x="93991" y="91383"/>
                    <a:pt x="94485" y="91966"/>
                    <a:pt x="94814" y="92402"/>
                  </a:cubicBezTo>
                  <a:cubicBezTo>
                    <a:pt x="94979" y="92548"/>
                    <a:pt x="95802" y="92694"/>
                    <a:pt x="96296" y="92766"/>
                  </a:cubicBezTo>
                  <a:cubicBezTo>
                    <a:pt x="96460" y="92839"/>
                    <a:pt x="96625" y="92839"/>
                    <a:pt x="96790" y="92912"/>
                  </a:cubicBezTo>
                  <a:cubicBezTo>
                    <a:pt x="97119" y="92912"/>
                    <a:pt x="97119" y="92912"/>
                    <a:pt x="97448" y="92766"/>
                  </a:cubicBezTo>
                  <a:cubicBezTo>
                    <a:pt x="97613" y="92694"/>
                    <a:pt x="97777" y="92621"/>
                    <a:pt x="97942" y="92548"/>
                  </a:cubicBezTo>
                  <a:cubicBezTo>
                    <a:pt x="97777" y="92402"/>
                    <a:pt x="97283" y="92184"/>
                    <a:pt x="96954" y="92111"/>
                  </a:cubicBezTo>
                  <a:cubicBezTo>
                    <a:pt x="96954" y="92038"/>
                    <a:pt x="96790" y="92038"/>
                    <a:pt x="96790" y="91966"/>
                  </a:cubicBezTo>
                  <a:cubicBezTo>
                    <a:pt x="96460" y="91820"/>
                    <a:pt x="96625" y="91529"/>
                    <a:pt x="97283" y="90800"/>
                  </a:cubicBezTo>
                  <a:cubicBezTo>
                    <a:pt x="97448" y="90582"/>
                    <a:pt x="97613" y="90364"/>
                    <a:pt x="97777" y="90291"/>
                  </a:cubicBezTo>
                  <a:cubicBezTo>
                    <a:pt x="97777" y="90072"/>
                    <a:pt x="98600" y="89271"/>
                    <a:pt x="98600" y="89271"/>
                  </a:cubicBezTo>
                  <a:cubicBezTo>
                    <a:pt x="98765" y="89126"/>
                    <a:pt x="99259" y="88907"/>
                    <a:pt x="100082" y="88543"/>
                  </a:cubicBezTo>
                  <a:cubicBezTo>
                    <a:pt x="100576" y="88325"/>
                    <a:pt x="100905" y="88179"/>
                    <a:pt x="101069" y="88033"/>
                  </a:cubicBezTo>
                  <a:cubicBezTo>
                    <a:pt x="101399" y="87961"/>
                    <a:pt x="101728" y="87742"/>
                    <a:pt x="102057" y="87524"/>
                  </a:cubicBezTo>
                  <a:cubicBezTo>
                    <a:pt x="102716" y="87160"/>
                    <a:pt x="103374" y="86796"/>
                    <a:pt x="103703" y="86650"/>
                  </a:cubicBezTo>
                  <a:cubicBezTo>
                    <a:pt x="103868" y="86577"/>
                    <a:pt x="103539" y="86286"/>
                    <a:pt x="102880" y="85703"/>
                  </a:cubicBezTo>
                  <a:cubicBezTo>
                    <a:pt x="102716" y="85558"/>
                    <a:pt x="102716" y="85558"/>
                    <a:pt x="102716" y="85558"/>
                  </a:cubicBezTo>
                  <a:cubicBezTo>
                    <a:pt x="102386" y="85266"/>
                    <a:pt x="103045" y="84830"/>
                    <a:pt x="103703" y="84393"/>
                  </a:cubicBezTo>
                  <a:cubicBezTo>
                    <a:pt x="103868" y="84320"/>
                    <a:pt x="103868" y="84320"/>
                    <a:pt x="103868" y="84320"/>
                  </a:cubicBezTo>
                  <a:cubicBezTo>
                    <a:pt x="104197" y="84029"/>
                    <a:pt x="105679" y="83883"/>
                    <a:pt x="106008" y="83883"/>
                  </a:cubicBezTo>
                  <a:cubicBezTo>
                    <a:pt x="106337" y="83883"/>
                    <a:pt x="107489" y="84174"/>
                    <a:pt x="107654" y="84393"/>
                  </a:cubicBezTo>
                  <a:cubicBezTo>
                    <a:pt x="107818" y="84466"/>
                    <a:pt x="108806" y="84902"/>
                    <a:pt x="109135" y="84902"/>
                  </a:cubicBezTo>
                  <a:cubicBezTo>
                    <a:pt x="109629" y="84975"/>
                    <a:pt x="109958" y="85194"/>
                    <a:pt x="110288" y="85558"/>
                  </a:cubicBezTo>
                  <a:cubicBezTo>
                    <a:pt x="110452" y="85558"/>
                    <a:pt x="111275" y="85558"/>
                    <a:pt x="111604" y="85558"/>
                  </a:cubicBezTo>
                  <a:cubicBezTo>
                    <a:pt x="111769" y="85485"/>
                    <a:pt x="111934" y="85485"/>
                    <a:pt x="112098" y="85485"/>
                  </a:cubicBezTo>
                  <a:cubicBezTo>
                    <a:pt x="112921" y="85485"/>
                    <a:pt x="113580" y="85995"/>
                    <a:pt x="113744" y="86213"/>
                  </a:cubicBezTo>
                  <a:cubicBezTo>
                    <a:pt x="113909" y="86286"/>
                    <a:pt x="114567" y="86213"/>
                    <a:pt x="114732" y="86213"/>
                  </a:cubicBezTo>
                  <a:cubicBezTo>
                    <a:pt x="114897" y="86140"/>
                    <a:pt x="115061" y="86140"/>
                    <a:pt x="115061" y="86140"/>
                  </a:cubicBezTo>
                  <a:cubicBezTo>
                    <a:pt x="115226" y="85995"/>
                    <a:pt x="115555" y="85339"/>
                    <a:pt x="115555" y="85048"/>
                  </a:cubicBezTo>
                  <a:cubicBezTo>
                    <a:pt x="115555" y="84757"/>
                    <a:pt x="117201" y="83956"/>
                    <a:pt x="117530" y="83810"/>
                  </a:cubicBezTo>
                  <a:cubicBezTo>
                    <a:pt x="117530" y="83592"/>
                    <a:pt x="116378" y="82718"/>
                    <a:pt x="115884" y="82281"/>
                  </a:cubicBezTo>
                  <a:cubicBezTo>
                    <a:pt x="115884" y="82281"/>
                    <a:pt x="115720" y="82281"/>
                    <a:pt x="115555" y="82281"/>
                  </a:cubicBezTo>
                  <a:cubicBezTo>
                    <a:pt x="115390" y="82354"/>
                    <a:pt x="115061" y="82354"/>
                    <a:pt x="114732" y="82281"/>
                  </a:cubicBezTo>
                  <a:cubicBezTo>
                    <a:pt x="114074" y="82208"/>
                    <a:pt x="113909" y="81990"/>
                    <a:pt x="113909" y="81844"/>
                  </a:cubicBezTo>
                  <a:cubicBezTo>
                    <a:pt x="113909" y="81626"/>
                    <a:pt x="114897" y="80679"/>
                    <a:pt x="115390" y="80533"/>
                  </a:cubicBezTo>
                  <a:cubicBezTo>
                    <a:pt x="115720" y="80315"/>
                    <a:pt x="116213" y="80388"/>
                    <a:pt x="116707" y="80388"/>
                  </a:cubicBezTo>
                  <a:cubicBezTo>
                    <a:pt x="116707" y="80388"/>
                    <a:pt x="116707" y="80388"/>
                    <a:pt x="116707" y="80388"/>
                  </a:cubicBezTo>
                  <a:cubicBezTo>
                    <a:pt x="116707" y="80388"/>
                    <a:pt x="116707" y="80315"/>
                    <a:pt x="116707" y="80315"/>
                  </a:cubicBezTo>
                  <a:cubicBezTo>
                    <a:pt x="116543" y="80242"/>
                    <a:pt x="116378" y="80169"/>
                    <a:pt x="116378" y="80097"/>
                  </a:cubicBezTo>
                  <a:cubicBezTo>
                    <a:pt x="116049" y="79878"/>
                    <a:pt x="116049" y="79150"/>
                    <a:pt x="116049" y="78932"/>
                  </a:cubicBezTo>
                  <a:cubicBezTo>
                    <a:pt x="115884" y="78859"/>
                    <a:pt x="115226" y="78786"/>
                    <a:pt x="114897" y="78786"/>
                  </a:cubicBezTo>
                  <a:cubicBezTo>
                    <a:pt x="114732" y="78713"/>
                    <a:pt x="114403" y="78713"/>
                    <a:pt x="114238" y="78713"/>
                  </a:cubicBezTo>
                  <a:cubicBezTo>
                    <a:pt x="114238" y="78713"/>
                    <a:pt x="114238" y="78713"/>
                    <a:pt x="114238" y="78786"/>
                  </a:cubicBezTo>
                  <a:cubicBezTo>
                    <a:pt x="114074" y="78859"/>
                    <a:pt x="114074" y="78932"/>
                    <a:pt x="113909" y="79004"/>
                  </a:cubicBezTo>
                  <a:cubicBezTo>
                    <a:pt x="113415" y="79150"/>
                    <a:pt x="112757" y="78786"/>
                    <a:pt x="111769" y="78276"/>
                  </a:cubicBezTo>
                  <a:cubicBezTo>
                    <a:pt x="111769" y="78203"/>
                    <a:pt x="111604" y="78203"/>
                    <a:pt x="111604" y="78131"/>
                  </a:cubicBezTo>
                  <a:cubicBezTo>
                    <a:pt x="111440" y="78058"/>
                    <a:pt x="111275" y="78058"/>
                    <a:pt x="111111" y="77985"/>
                  </a:cubicBezTo>
                  <a:cubicBezTo>
                    <a:pt x="110946" y="77985"/>
                    <a:pt x="110781" y="77912"/>
                    <a:pt x="110617" y="77839"/>
                  </a:cubicBezTo>
                  <a:cubicBezTo>
                    <a:pt x="110123" y="77694"/>
                    <a:pt x="109958" y="77402"/>
                    <a:pt x="109958" y="77038"/>
                  </a:cubicBezTo>
                  <a:cubicBezTo>
                    <a:pt x="109958" y="76601"/>
                    <a:pt x="109958" y="76019"/>
                    <a:pt x="110123" y="75800"/>
                  </a:cubicBezTo>
                  <a:cubicBezTo>
                    <a:pt x="110123" y="75509"/>
                    <a:pt x="110617" y="75291"/>
                    <a:pt x="110946" y="75218"/>
                  </a:cubicBezTo>
                  <a:cubicBezTo>
                    <a:pt x="110946" y="75145"/>
                    <a:pt x="110781" y="74781"/>
                    <a:pt x="110617" y="74563"/>
                  </a:cubicBezTo>
                  <a:cubicBezTo>
                    <a:pt x="110617" y="74490"/>
                    <a:pt x="110617" y="74344"/>
                    <a:pt x="110617" y="74271"/>
                  </a:cubicBezTo>
                  <a:cubicBezTo>
                    <a:pt x="110452" y="73907"/>
                    <a:pt x="111604" y="73689"/>
                    <a:pt x="112263" y="73616"/>
                  </a:cubicBezTo>
                  <a:cubicBezTo>
                    <a:pt x="112427" y="73543"/>
                    <a:pt x="112427" y="73543"/>
                    <a:pt x="112427" y="73543"/>
                  </a:cubicBezTo>
                  <a:cubicBezTo>
                    <a:pt x="112592" y="73543"/>
                    <a:pt x="112921" y="73179"/>
                    <a:pt x="113251" y="72742"/>
                  </a:cubicBezTo>
                  <a:cubicBezTo>
                    <a:pt x="113251" y="72597"/>
                    <a:pt x="113744" y="72451"/>
                    <a:pt x="114074" y="72305"/>
                  </a:cubicBezTo>
                  <a:cubicBezTo>
                    <a:pt x="114238" y="72305"/>
                    <a:pt x="114238" y="72305"/>
                    <a:pt x="114238" y="72305"/>
                  </a:cubicBezTo>
                  <a:cubicBezTo>
                    <a:pt x="114238" y="72160"/>
                    <a:pt x="114238" y="71723"/>
                    <a:pt x="114238" y="71504"/>
                  </a:cubicBezTo>
                  <a:cubicBezTo>
                    <a:pt x="114238" y="71359"/>
                    <a:pt x="114238" y="71286"/>
                    <a:pt x="114238" y="71213"/>
                  </a:cubicBezTo>
                  <a:cubicBezTo>
                    <a:pt x="114238" y="71067"/>
                    <a:pt x="114567" y="70849"/>
                    <a:pt x="115555" y="70485"/>
                  </a:cubicBezTo>
                  <a:cubicBezTo>
                    <a:pt x="115884" y="70339"/>
                    <a:pt x="116213" y="70194"/>
                    <a:pt x="116378" y="70121"/>
                  </a:cubicBezTo>
                  <a:cubicBezTo>
                    <a:pt x="116378" y="70048"/>
                    <a:pt x="116213" y="69902"/>
                    <a:pt x="115390" y="69538"/>
                  </a:cubicBezTo>
                  <a:cubicBezTo>
                    <a:pt x="115061" y="69320"/>
                    <a:pt x="115390" y="68956"/>
                    <a:pt x="116049" y="68446"/>
                  </a:cubicBezTo>
                  <a:cubicBezTo>
                    <a:pt x="116049" y="68300"/>
                    <a:pt x="116213" y="68228"/>
                    <a:pt x="116213" y="68155"/>
                  </a:cubicBezTo>
                  <a:cubicBezTo>
                    <a:pt x="116213" y="68009"/>
                    <a:pt x="115061" y="67500"/>
                    <a:pt x="114403" y="67208"/>
                  </a:cubicBezTo>
                  <a:cubicBezTo>
                    <a:pt x="114074" y="67063"/>
                    <a:pt x="113744" y="66917"/>
                    <a:pt x="113415" y="66844"/>
                  </a:cubicBezTo>
                  <a:cubicBezTo>
                    <a:pt x="112921" y="66553"/>
                    <a:pt x="113251" y="66043"/>
                    <a:pt x="113415" y="65825"/>
                  </a:cubicBezTo>
                  <a:cubicBezTo>
                    <a:pt x="113415" y="65752"/>
                    <a:pt x="113415" y="65679"/>
                    <a:pt x="113580" y="65606"/>
                  </a:cubicBezTo>
                  <a:cubicBezTo>
                    <a:pt x="113580" y="65461"/>
                    <a:pt x="113744" y="65169"/>
                    <a:pt x="113909" y="64951"/>
                  </a:cubicBezTo>
                  <a:cubicBezTo>
                    <a:pt x="114074" y="64878"/>
                    <a:pt x="113909" y="64733"/>
                    <a:pt x="113251" y="64368"/>
                  </a:cubicBezTo>
                  <a:cubicBezTo>
                    <a:pt x="112921" y="64077"/>
                    <a:pt x="112921" y="63713"/>
                    <a:pt x="112921" y="63422"/>
                  </a:cubicBezTo>
                  <a:cubicBezTo>
                    <a:pt x="112921" y="63349"/>
                    <a:pt x="113086" y="63276"/>
                    <a:pt x="113086" y="63203"/>
                  </a:cubicBezTo>
                  <a:cubicBezTo>
                    <a:pt x="113086" y="62839"/>
                    <a:pt x="114074" y="62257"/>
                    <a:pt x="114403" y="62111"/>
                  </a:cubicBezTo>
                  <a:cubicBezTo>
                    <a:pt x="114732" y="61893"/>
                    <a:pt x="115226" y="61893"/>
                    <a:pt x="115555" y="61820"/>
                  </a:cubicBezTo>
                  <a:cubicBezTo>
                    <a:pt x="115720" y="61820"/>
                    <a:pt x="115720" y="61820"/>
                    <a:pt x="115720" y="61820"/>
                  </a:cubicBezTo>
                  <a:cubicBezTo>
                    <a:pt x="115884" y="61820"/>
                    <a:pt x="116872" y="61383"/>
                    <a:pt x="117037" y="61237"/>
                  </a:cubicBezTo>
                  <a:cubicBezTo>
                    <a:pt x="117366" y="61019"/>
                    <a:pt x="118024" y="61092"/>
                    <a:pt x="118518" y="61165"/>
                  </a:cubicBezTo>
                  <a:cubicBezTo>
                    <a:pt x="118683" y="61165"/>
                    <a:pt x="118847" y="61165"/>
                    <a:pt x="119012" y="61165"/>
                  </a:cubicBezTo>
                  <a:cubicBezTo>
                    <a:pt x="119176" y="61237"/>
                    <a:pt x="119341" y="60946"/>
                    <a:pt x="119506" y="60873"/>
                  </a:cubicBezTo>
                  <a:cubicBezTo>
                    <a:pt x="119506" y="60800"/>
                    <a:pt x="119506" y="60728"/>
                    <a:pt x="119670" y="60655"/>
                  </a:cubicBezTo>
                  <a:cubicBezTo>
                    <a:pt x="119670" y="60655"/>
                    <a:pt x="119670" y="60509"/>
                    <a:pt x="119835" y="60364"/>
                  </a:cubicBezTo>
                  <a:cubicBezTo>
                    <a:pt x="119670" y="60291"/>
                    <a:pt x="119670" y="60291"/>
                    <a:pt x="119835" y="60218"/>
                  </a:cubicBezTo>
                  <a:cubicBezTo>
                    <a:pt x="119835" y="60218"/>
                    <a:pt x="119835" y="60218"/>
                    <a:pt x="119835" y="60145"/>
                  </a:cubicBezTo>
                  <a:cubicBezTo>
                    <a:pt x="120000" y="60000"/>
                    <a:pt x="120000" y="59781"/>
                    <a:pt x="120000" y="59708"/>
                  </a:cubicBezTo>
                  <a:cubicBezTo>
                    <a:pt x="119835" y="59708"/>
                    <a:pt x="119341" y="59708"/>
                    <a:pt x="119012" y="59781"/>
                  </a:cubicBezTo>
                  <a:cubicBezTo>
                    <a:pt x="118847" y="59781"/>
                    <a:pt x="118683" y="59781"/>
                    <a:pt x="118518" y="59781"/>
                  </a:cubicBezTo>
                  <a:cubicBezTo>
                    <a:pt x="118353" y="59781"/>
                    <a:pt x="118189" y="59854"/>
                    <a:pt x="118024" y="60000"/>
                  </a:cubicBezTo>
                  <a:cubicBezTo>
                    <a:pt x="117860" y="60072"/>
                    <a:pt x="117530" y="60218"/>
                    <a:pt x="117201" y="60291"/>
                  </a:cubicBezTo>
                  <a:cubicBezTo>
                    <a:pt x="116543" y="60436"/>
                    <a:pt x="115884" y="60218"/>
                    <a:pt x="115555" y="60072"/>
                  </a:cubicBezTo>
                  <a:cubicBezTo>
                    <a:pt x="115390" y="60072"/>
                    <a:pt x="115390" y="60000"/>
                    <a:pt x="115390" y="60000"/>
                  </a:cubicBezTo>
                  <a:cubicBezTo>
                    <a:pt x="115226" y="60000"/>
                    <a:pt x="114732" y="60145"/>
                    <a:pt x="114567" y="60218"/>
                  </a:cubicBezTo>
                  <a:cubicBezTo>
                    <a:pt x="114074" y="60291"/>
                    <a:pt x="113909" y="60364"/>
                    <a:pt x="113744" y="60364"/>
                  </a:cubicBezTo>
                  <a:cubicBezTo>
                    <a:pt x="113415" y="60364"/>
                    <a:pt x="113086" y="60291"/>
                    <a:pt x="112592" y="60145"/>
                  </a:cubicBezTo>
                  <a:cubicBezTo>
                    <a:pt x="112427" y="60000"/>
                    <a:pt x="112098" y="59927"/>
                    <a:pt x="111934" y="59854"/>
                  </a:cubicBezTo>
                  <a:cubicBezTo>
                    <a:pt x="111604" y="59854"/>
                    <a:pt x="111440" y="60000"/>
                    <a:pt x="111275" y="60145"/>
                  </a:cubicBezTo>
                  <a:cubicBezTo>
                    <a:pt x="111111" y="60218"/>
                    <a:pt x="110946" y="60291"/>
                    <a:pt x="110781" y="60364"/>
                  </a:cubicBezTo>
                  <a:cubicBezTo>
                    <a:pt x="110123" y="60509"/>
                    <a:pt x="107818" y="60218"/>
                    <a:pt x="107489" y="60000"/>
                  </a:cubicBezTo>
                  <a:cubicBezTo>
                    <a:pt x="106995" y="59854"/>
                    <a:pt x="107160" y="59490"/>
                    <a:pt x="107160" y="59199"/>
                  </a:cubicBezTo>
                  <a:cubicBezTo>
                    <a:pt x="107160" y="59126"/>
                    <a:pt x="107325" y="59053"/>
                    <a:pt x="107325" y="58980"/>
                  </a:cubicBezTo>
                  <a:cubicBezTo>
                    <a:pt x="107325" y="58834"/>
                    <a:pt x="107489" y="58689"/>
                    <a:pt x="107654" y="58616"/>
                  </a:cubicBezTo>
                  <a:cubicBezTo>
                    <a:pt x="107654" y="58543"/>
                    <a:pt x="107818" y="58543"/>
                    <a:pt x="107818" y="58470"/>
                  </a:cubicBezTo>
                  <a:cubicBezTo>
                    <a:pt x="107983" y="58398"/>
                    <a:pt x="107983" y="58325"/>
                    <a:pt x="107983" y="58179"/>
                  </a:cubicBezTo>
                  <a:cubicBezTo>
                    <a:pt x="107983" y="58106"/>
                    <a:pt x="107983" y="58033"/>
                    <a:pt x="107983" y="57888"/>
                  </a:cubicBezTo>
                  <a:cubicBezTo>
                    <a:pt x="107983" y="57742"/>
                    <a:pt x="107654" y="57451"/>
                    <a:pt x="107654" y="57305"/>
                  </a:cubicBezTo>
                  <a:cubicBezTo>
                    <a:pt x="107489" y="57160"/>
                    <a:pt x="107489" y="57087"/>
                    <a:pt x="107489" y="57014"/>
                  </a:cubicBezTo>
                  <a:cubicBezTo>
                    <a:pt x="107325" y="56796"/>
                    <a:pt x="107654" y="56650"/>
                    <a:pt x="107983" y="56577"/>
                  </a:cubicBezTo>
                  <a:cubicBezTo>
                    <a:pt x="107983" y="56504"/>
                    <a:pt x="108148" y="56504"/>
                    <a:pt x="108148" y="56432"/>
                  </a:cubicBezTo>
                  <a:cubicBezTo>
                    <a:pt x="108477" y="56359"/>
                    <a:pt x="109300" y="55412"/>
                    <a:pt x="109465" y="55266"/>
                  </a:cubicBezTo>
                  <a:cubicBezTo>
                    <a:pt x="109300" y="55194"/>
                    <a:pt x="108312" y="54684"/>
                    <a:pt x="107818" y="54538"/>
                  </a:cubicBezTo>
                  <a:cubicBezTo>
                    <a:pt x="107489" y="54393"/>
                    <a:pt x="107325" y="54320"/>
                    <a:pt x="107325" y="54247"/>
                  </a:cubicBezTo>
                  <a:cubicBezTo>
                    <a:pt x="106995" y="54101"/>
                    <a:pt x="106337" y="52936"/>
                    <a:pt x="106337" y="52645"/>
                  </a:cubicBezTo>
                  <a:cubicBezTo>
                    <a:pt x="106172" y="52645"/>
                    <a:pt x="105679" y="52572"/>
                    <a:pt x="105349" y="52500"/>
                  </a:cubicBezTo>
                  <a:cubicBezTo>
                    <a:pt x="105020" y="52500"/>
                    <a:pt x="104691" y="52427"/>
                    <a:pt x="104526" y="52427"/>
                  </a:cubicBezTo>
                  <a:cubicBezTo>
                    <a:pt x="103868" y="52281"/>
                    <a:pt x="104197" y="51917"/>
                    <a:pt x="104362" y="51626"/>
                  </a:cubicBezTo>
                  <a:cubicBezTo>
                    <a:pt x="104362" y="51553"/>
                    <a:pt x="104526" y="51480"/>
                    <a:pt x="104526" y="51407"/>
                  </a:cubicBezTo>
                  <a:cubicBezTo>
                    <a:pt x="104526" y="51189"/>
                    <a:pt x="104691" y="51043"/>
                    <a:pt x="105185" y="50898"/>
                  </a:cubicBezTo>
                  <a:cubicBezTo>
                    <a:pt x="105020" y="50898"/>
                    <a:pt x="104855" y="50752"/>
                    <a:pt x="104691" y="50679"/>
                  </a:cubicBezTo>
                  <a:cubicBezTo>
                    <a:pt x="104526" y="50606"/>
                    <a:pt x="104526" y="50606"/>
                    <a:pt x="104526" y="50606"/>
                  </a:cubicBezTo>
                  <a:cubicBezTo>
                    <a:pt x="104197" y="50461"/>
                    <a:pt x="104197" y="50242"/>
                    <a:pt x="104362" y="50169"/>
                  </a:cubicBezTo>
                  <a:cubicBezTo>
                    <a:pt x="104362" y="50097"/>
                    <a:pt x="104526" y="50024"/>
                    <a:pt x="104526" y="49951"/>
                  </a:cubicBezTo>
                  <a:cubicBezTo>
                    <a:pt x="104526" y="49878"/>
                    <a:pt x="103703" y="49805"/>
                    <a:pt x="103539" y="49805"/>
                  </a:cubicBezTo>
                  <a:cubicBezTo>
                    <a:pt x="103374" y="49733"/>
                    <a:pt x="103209" y="49733"/>
                    <a:pt x="103045" y="49733"/>
                  </a:cubicBezTo>
                  <a:cubicBezTo>
                    <a:pt x="102880" y="49733"/>
                    <a:pt x="102386" y="49805"/>
                    <a:pt x="102057" y="49878"/>
                  </a:cubicBezTo>
                  <a:cubicBezTo>
                    <a:pt x="101893" y="49951"/>
                    <a:pt x="101728" y="49951"/>
                    <a:pt x="101728" y="49951"/>
                  </a:cubicBezTo>
                  <a:cubicBezTo>
                    <a:pt x="101399" y="50024"/>
                    <a:pt x="101399" y="49951"/>
                    <a:pt x="101234" y="49951"/>
                  </a:cubicBezTo>
                  <a:cubicBezTo>
                    <a:pt x="101069" y="49878"/>
                    <a:pt x="100905" y="49733"/>
                    <a:pt x="100905" y="49514"/>
                  </a:cubicBezTo>
                  <a:cubicBezTo>
                    <a:pt x="100905" y="49296"/>
                    <a:pt x="100905" y="49150"/>
                    <a:pt x="100905" y="48932"/>
                  </a:cubicBezTo>
                  <a:cubicBezTo>
                    <a:pt x="100740" y="48713"/>
                    <a:pt x="100740" y="48640"/>
                    <a:pt x="100905" y="48495"/>
                  </a:cubicBezTo>
                  <a:cubicBezTo>
                    <a:pt x="101234" y="48349"/>
                    <a:pt x="101563" y="48349"/>
                    <a:pt x="101893" y="48349"/>
                  </a:cubicBezTo>
                  <a:cubicBezTo>
                    <a:pt x="101893" y="48349"/>
                    <a:pt x="102057" y="48276"/>
                    <a:pt x="102057" y="48276"/>
                  </a:cubicBezTo>
                  <a:cubicBezTo>
                    <a:pt x="102222" y="48276"/>
                    <a:pt x="102551" y="47985"/>
                    <a:pt x="102880" y="47548"/>
                  </a:cubicBezTo>
                  <a:cubicBezTo>
                    <a:pt x="103045" y="47330"/>
                    <a:pt x="103868" y="47257"/>
                    <a:pt x="104526" y="47184"/>
                  </a:cubicBezTo>
                  <a:cubicBezTo>
                    <a:pt x="104691" y="47184"/>
                    <a:pt x="104855" y="47184"/>
                    <a:pt x="104855" y="47184"/>
                  </a:cubicBezTo>
                  <a:cubicBezTo>
                    <a:pt x="105020" y="46893"/>
                    <a:pt x="104362" y="45436"/>
                    <a:pt x="104032" y="44854"/>
                  </a:cubicBezTo>
                  <a:cubicBezTo>
                    <a:pt x="103868" y="44490"/>
                    <a:pt x="103868" y="44417"/>
                    <a:pt x="103868" y="44344"/>
                  </a:cubicBezTo>
                  <a:cubicBezTo>
                    <a:pt x="103868" y="44271"/>
                    <a:pt x="103868" y="44199"/>
                    <a:pt x="103868" y="44126"/>
                  </a:cubicBezTo>
                  <a:cubicBezTo>
                    <a:pt x="103703" y="43907"/>
                    <a:pt x="103703" y="43762"/>
                    <a:pt x="103703" y="43616"/>
                  </a:cubicBezTo>
                  <a:cubicBezTo>
                    <a:pt x="103703" y="43398"/>
                    <a:pt x="103539" y="43252"/>
                    <a:pt x="103209" y="42961"/>
                  </a:cubicBezTo>
                  <a:cubicBezTo>
                    <a:pt x="103045" y="42815"/>
                    <a:pt x="101893" y="41868"/>
                    <a:pt x="101728" y="41577"/>
                  </a:cubicBezTo>
                  <a:cubicBezTo>
                    <a:pt x="101563" y="41359"/>
                    <a:pt x="101563" y="40849"/>
                    <a:pt x="101563" y="40121"/>
                  </a:cubicBezTo>
                  <a:cubicBezTo>
                    <a:pt x="101563" y="39975"/>
                    <a:pt x="100576" y="39684"/>
                    <a:pt x="100082" y="39538"/>
                  </a:cubicBezTo>
                  <a:cubicBezTo>
                    <a:pt x="99917" y="39466"/>
                    <a:pt x="99753" y="39466"/>
                    <a:pt x="99588" y="39393"/>
                  </a:cubicBezTo>
                  <a:cubicBezTo>
                    <a:pt x="99259" y="39247"/>
                    <a:pt x="98930" y="38883"/>
                    <a:pt x="98600" y="38519"/>
                  </a:cubicBezTo>
                  <a:cubicBezTo>
                    <a:pt x="98436" y="38373"/>
                    <a:pt x="98436" y="38228"/>
                    <a:pt x="98271" y="38155"/>
                  </a:cubicBezTo>
                  <a:cubicBezTo>
                    <a:pt x="97942" y="37791"/>
                    <a:pt x="98106" y="37645"/>
                    <a:pt x="98271" y="37427"/>
                  </a:cubicBezTo>
                  <a:cubicBezTo>
                    <a:pt x="98271" y="37427"/>
                    <a:pt x="98271" y="37354"/>
                    <a:pt x="98436" y="37354"/>
                  </a:cubicBezTo>
                  <a:cubicBezTo>
                    <a:pt x="98436" y="37135"/>
                    <a:pt x="99094" y="37063"/>
                    <a:pt x="100082" y="36844"/>
                  </a:cubicBezTo>
                  <a:cubicBezTo>
                    <a:pt x="100411" y="36844"/>
                    <a:pt x="100740" y="36771"/>
                    <a:pt x="100905" y="36699"/>
                  </a:cubicBezTo>
                  <a:cubicBezTo>
                    <a:pt x="101069" y="36626"/>
                    <a:pt x="102222" y="35898"/>
                    <a:pt x="102716" y="35606"/>
                  </a:cubicBezTo>
                  <a:cubicBezTo>
                    <a:pt x="103045" y="35315"/>
                    <a:pt x="104032" y="35169"/>
                    <a:pt x="104526" y="35097"/>
                  </a:cubicBezTo>
                  <a:cubicBezTo>
                    <a:pt x="104855" y="35097"/>
                    <a:pt x="105514" y="35169"/>
                    <a:pt x="106502" y="35242"/>
                  </a:cubicBezTo>
                  <a:cubicBezTo>
                    <a:pt x="106831" y="35242"/>
                    <a:pt x="106995" y="35315"/>
                    <a:pt x="107160" y="35315"/>
                  </a:cubicBezTo>
                  <a:cubicBezTo>
                    <a:pt x="107489" y="35169"/>
                    <a:pt x="107818" y="34368"/>
                    <a:pt x="107818" y="34004"/>
                  </a:cubicBezTo>
                  <a:cubicBezTo>
                    <a:pt x="107818" y="33859"/>
                    <a:pt x="107489" y="33786"/>
                    <a:pt x="107160" y="33640"/>
                  </a:cubicBezTo>
                  <a:cubicBezTo>
                    <a:pt x="106995" y="33567"/>
                    <a:pt x="106995" y="33567"/>
                    <a:pt x="106995" y="33567"/>
                  </a:cubicBezTo>
                  <a:cubicBezTo>
                    <a:pt x="106337" y="33422"/>
                    <a:pt x="106666" y="32912"/>
                    <a:pt x="106995" y="32475"/>
                  </a:cubicBezTo>
                  <a:cubicBezTo>
                    <a:pt x="107160" y="32184"/>
                    <a:pt x="107818" y="32111"/>
                    <a:pt x="108477" y="32038"/>
                  </a:cubicBezTo>
                  <a:cubicBezTo>
                    <a:pt x="108641" y="32038"/>
                    <a:pt x="108641" y="32038"/>
                    <a:pt x="108806" y="32038"/>
                  </a:cubicBezTo>
                  <a:cubicBezTo>
                    <a:pt x="108971" y="31893"/>
                    <a:pt x="108971" y="31456"/>
                    <a:pt x="108806" y="30655"/>
                  </a:cubicBezTo>
                  <a:cubicBezTo>
                    <a:pt x="108806" y="30509"/>
                    <a:pt x="108806" y="30436"/>
                    <a:pt x="108806" y="30364"/>
                  </a:cubicBezTo>
                  <a:cubicBezTo>
                    <a:pt x="108806" y="30218"/>
                    <a:pt x="109135" y="30072"/>
                    <a:pt x="110617" y="29635"/>
                  </a:cubicBezTo>
                  <a:cubicBezTo>
                    <a:pt x="111111" y="29417"/>
                    <a:pt x="111604" y="29199"/>
                    <a:pt x="111769" y="29126"/>
                  </a:cubicBezTo>
                  <a:cubicBezTo>
                    <a:pt x="112263" y="28907"/>
                    <a:pt x="113251" y="28106"/>
                    <a:pt x="113415" y="27961"/>
                  </a:cubicBezTo>
                  <a:cubicBezTo>
                    <a:pt x="113415" y="27815"/>
                    <a:pt x="113909" y="27742"/>
                    <a:pt x="114074" y="27742"/>
                  </a:cubicBezTo>
                  <a:cubicBezTo>
                    <a:pt x="114238" y="27742"/>
                    <a:pt x="114238" y="27669"/>
                    <a:pt x="114403" y="27669"/>
                  </a:cubicBezTo>
                  <a:cubicBezTo>
                    <a:pt x="114403" y="27597"/>
                    <a:pt x="114238" y="27378"/>
                    <a:pt x="114238" y="27305"/>
                  </a:cubicBezTo>
                  <a:cubicBezTo>
                    <a:pt x="114074" y="27233"/>
                    <a:pt x="114074" y="27160"/>
                    <a:pt x="114074" y="27087"/>
                  </a:cubicBezTo>
                  <a:cubicBezTo>
                    <a:pt x="114074" y="27087"/>
                    <a:pt x="113744" y="27014"/>
                    <a:pt x="112757" y="27014"/>
                  </a:cubicBezTo>
                  <a:cubicBezTo>
                    <a:pt x="112098" y="27014"/>
                    <a:pt x="111769" y="26723"/>
                    <a:pt x="111275" y="25995"/>
                  </a:cubicBezTo>
                  <a:cubicBezTo>
                    <a:pt x="110946" y="25849"/>
                    <a:pt x="110781" y="25631"/>
                    <a:pt x="110781" y="25558"/>
                  </a:cubicBezTo>
                  <a:cubicBezTo>
                    <a:pt x="110288" y="25266"/>
                    <a:pt x="110617" y="24538"/>
                    <a:pt x="110617" y="24320"/>
                  </a:cubicBezTo>
                  <a:cubicBezTo>
                    <a:pt x="110288" y="24101"/>
                    <a:pt x="108477" y="23446"/>
                    <a:pt x="107489" y="23082"/>
                  </a:cubicBezTo>
                  <a:cubicBezTo>
                    <a:pt x="106831" y="22864"/>
                    <a:pt x="106502" y="22791"/>
                    <a:pt x="106337" y="22718"/>
                  </a:cubicBezTo>
                  <a:cubicBezTo>
                    <a:pt x="106008" y="22572"/>
                    <a:pt x="106008" y="22281"/>
                    <a:pt x="106008" y="22135"/>
                  </a:cubicBezTo>
                  <a:cubicBezTo>
                    <a:pt x="106008" y="22135"/>
                    <a:pt x="106008" y="22135"/>
                    <a:pt x="106008" y="22135"/>
                  </a:cubicBezTo>
                  <a:cubicBezTo>
                    <a:pt x="105843" y="22063"/>
                    <a:pt x="105185" y="21990"/>
                    <a:pt x="104855" y="21917"/>
                  </a:cubicBezTo>
                  <a:cubicBezTo>
                    <a:pt x="104691" y="21917"/>
                    <a:pt x="104526" y="21917"/>
                    <a:pt x="104362" y="21844"/>
                  </a:cubicBezTo>
                  <a:cubicBezTo>
                    <a:pt x="103703" y="21771"/>
                    <a:pt x="103209" y="21262"/>
                    <a:pt x="103045" y="21189"/>
                  </a:cubicBezTo>
                  <a:cubicBezTo>
                    <a:pt x="102880" y="20970"/>
                    <a:pt x="102880" y="20533"/>
                    <a:pt x="103045" y="20097"/>
                  </a:cubicBezTo>
                  <a:cubicBezTo>
                    <a:pt x="103045" y="19951"/>
                    <a:pt x="103045" y="19878"/>
                    <a:pt x="103045" y="19878"/>
                  </a:cubicBezTo>
                  <a:cubicBezTo>
                    <a:pt x="103045" y="19805"/>
                    <a:pt x="102880" y="19805"/>
                    <a:pt x="102880" y="19733"/>
                  </a:cubicBezTo>
                  <a:cubicBezTo>
                    <a:pt x="102716" y="19660"/>
                    <a:pt x="102716" y="19587"/>
                    <a:pt x="102716" y="19587"/>
                  </a:cubicBezTo>
                  <a:cubicBezTo>
                    <a:pt x="102551" y="19514"/>
                    <a:pt x="102222" y="19296"/>
                    <a:pt x="101893" y="19077"/>
                  </a:cubicBezTo>
                  <a:cubicBezTo>
                    <a:pt x="101399" y="18713"/>
                    <a:pt x="101069" y="18495"/>
                    <a:pt x="101069" y="18349"/>
                  </a:cubicBezTo>
                  <a:cubicBezTo>
                    <a:pt x="100905" y="18276"/>
                    <a:pt x="100740" y="17985"/>
                    <a:pt x="101563" y="17839"/>
                  </a:cubicBezTo>
                  <a:cubicBezTo>
                    <a:pt x="101563" y="17766"/>
                    <a:pt x="101728" y="17694"/>
                    <a:pt x="101728" y="17330"/>
                  </a:cubicBezTo>
                  <a:cubicBezTo>
                    <a:pt x="101728" y="17330"/>
                    <a:pt x="101399" y="17184"/>
                    <a:pt x="101234" y="17111"/>
                  </a:cubicBezTo>
                  <a:cubicBezTo>
                    <a:pt x="101069" y="17038"/>
                    <a:pt x="100905" y="16966"/>
                    <a:pt x="100740" y="16893"/>
                  </a:cubicBezTo>
                  <a:cubicBezTo>
                    <a:pt x="100576" y="16747"/>
                    <a:pt x="100576" y="16310"/>
                    <a:pt x="100740" y="16165"/>
                  </a:cubicBezTo>
                  <a:cubicBezTo>
                    <a:pt x="100740" y="16165"/>
                    <a:pt x="100740" y="16165"/>
                    <a:pt x="100740" y="16165"/>
                  </a:cubicBezTo>
                  <a:cubicBezTo>
                    <a:pt x="99753" y="16092"/>
                    <a:pt x="98765" y="16092"/>
                    <a:pt x="98271" y="16092"/>
                  </a:cubicBezTo>
                  <a:cubicBezTo>
                    <a:pt x="97448" y="16092"/>
                    <a:pt x="97613" y="16820"/>
                    <a:pt x="97613" y="17038"/>
                  </a:cubicBezTo>
                  <a:cubicBezTo>
                    <a:pt x="97613" y="17257"/>
                    <a:pt x="98106" y="17330"/>
                    <a:pt x="98600" y="17330"/>
                  </a:cubicBezTo>
                  <a:cubicBezTo>
                    <a:pt x="98930" y="17330"/>
                    <a:pt x="99423" y="17475"/>
                    <a:pt x="99753" y="17621"/>
                  </a:cubicBezTo>
                  <a:cubicBezTo>
                    <a:pt x="100082" y="17766"/>
                    <a:pt x="99753" y="18058"/>
                    <a:pt x="99588" y="18276"/>
                  </a:cubicBezTo>
                  <a:cubicBezTo>
                    <a:pt x="99423" y="18495"/>
                    <a:pt x="98600" y="18713"/>
                    <a:pt x="98271" y="18786"/>
                  </a:cubicBezTo>
                  <a:cubicBezTo>
                    <a:pt x="97777" y="18859"/>
                    <a:pt x="95802" y="19441"/>
                    <a:pt x="95308" y="19587"/>
                  </a:cubicBezTo>
                  <a:cubicBezTo>
                    <a:pt x="94814" y="19660"/>
                    <a:pt x="94650" y="20315"/>
                    <a:pt x="94320" y="20533"/>
                  </a:cubicBezTo>
                  <a:cubicBezTo>
                    <a:pt x="93991" y="20825"/>
                    <a:pt x="92510" y="20898"/>
                    <a:pt x="91358" y="20970"/>
                  </a:cubicBezTo>
                  <a:cubicBezTo>
                    <a:pt x="90041" y="21043"/>
                    <a:pt x="89382" y="21334"/>
                    <a:pt x="89053" y="21480"/>
                  </a:cubicBezTo>
                  <a:cubicBezTo>
                    <a:pt x="88559" y="21553"/>
                    <a:pt x="88888" y="22500"/>
                    <a:pt x="88724" y="22718"/>
                  </a:cubicBezTo>
                  <a:cubicBezTo>
                    <a:pt x="88724" y="22864"/>
                    <a:pt x="87572" y="23009"/>
                    <a:pt x="86913" y="23082"/>
                  </a:cubicBezTo>
                  <a:cubicBezTo>
                    <a:pt x="86255" y="23155"/>
                    <a:pt x="87078" y="22208"/>
                    <a:pt x="87572" y="21990"/>
                  </a:cubicBezTo>
                  <a:cubicBezTo>
                    <a:pt x="87901" y="21771"/>
                    <a:pt x="88065" y="20825"/>
                    <a:pt x="88065" y="20606"/>
                  </a:cubicBezTo>
                  <a:cubicBezTo>
                    <a:pt x="88065" y="20461"/>
                    <a:pt x="89547" y="19878"/>
                    <a:pt x="89876" y="19805"/>
                  </a:cubicBezTo>
                  <a:cubicBezTo>
                    <a:pt x="90370" y="19660"/>
                    <a:pt x="90699" y="18932"/>
                    <a:pt x="90864" y="18713"/>
                  </a:cubicBezTo>
                  <a:cubicBezTo>
                    <a:pt x="91193" y="18495"/>
                    <a:pt x="93004" y="18422"/>
                    <a:pt x="93333" y="18276"/>
                  </a:cubicBezTo>
                  <a:cubicBezTo>
                    <a:pt x="93662" y="18203"/>
                    <a:pt x="94156" y="17111"/>
                    <a:pt x="94320" y="16893"/>
                  </a:cubicBezTo>
                  <a:cubicBezTo>
                    <a:pt x="94485" y="16674"/>
                    <a:pt x="95473" y="16165"/>
                    <a:pt x="95967" y="15873"/>
                  </a:cubicBezTo>
                  <a:cubicBezTo>
                    <a:pt x="96460" y="15655"/>
                    <a:pt x="96625" y="14271"/>
                    <a:pt x="96790" y="14053"/>
                  </a:cubicBezTo>
                  <a:cubicBezTo>
                    <a:pt x="96790" y="13762"/>
                    <a:pt x="99259" y="12669"/>
                    <a:pt x="99753" y="12524"/>
                  </a:cubicBezTo>
                  <a:cubicBezTo>
                    <a:pt x="100082" y="12378"/>
                    <a:pt x="100576" y="11941"/>
                    <a:pt x="100905" y="11796"/>
                  </a:cubicBezTo>
                  <a:cubicBezTo>
                    <a:pt x="101234" y="11650"/>
                    <a:pt x="102057" y="10849"/>
                    <a:pt x="102551" y="10558"/>
                  </a:cubicBezTo>
                  <a:cubicBezTo>
                    <a:pt x="103045" y="10339"/>
                    <a:pt x="102880" y="9757"/>
                    <a:pt x="102716" y="9538"/>
                  </a:cubicBezTo>
                  <a:cubicBezTo>
                    <a:pt x="102551" y="9247"/>
                    <a:pt x="103374" y="9101"/>
                    <a:pt x="103539" y="8956"/>
                  </a:cubicBezTo>
                  <a:cubicBezTo>
                    <a:pt x="103868" y="8810"/>
                    <a:pt x="102386" y="7718"/>
                    <a:pt x="102222" y="7645"/>
                  </a:cubicBezTo>
                  <a:cubicBezTo>
                    <a:pt x="102057" y="7500"/>
                    <a:pt x="100576" y="7427"/>
                    <a:pt x="99917" y="7063"/>
                  </a:cubicBezTo>
                  <a:cubicBezTo>
                    <a:pt x="99259" y="6699"/>
                    <a:pt x="101234" y="6844"/>
                    <a:pt x="101563" y="6844"/>
                  </a:cubicBezTo>
                  <a:cubicBezTo>
                    <a:pt x="102057" y="6844"/>
                    <a:pt x="102057" y="6262"/>
                    <a:pt x="102057" y="6043"/>
                  </a:cubicBezTo>
                  <a:cubicBezTo>
                    <a:pt x="102057" y="5752"/>
                    <a:pt x="99753" y="4951"/>
                    <a:pt x="99259" y="4805"/>
                  </a:cubicBezTo>
                  <a:cubicBezTo>
                    <a:pt x="98930" y="4660"/>
                    <a:pt x="98600" y="4878"/>
                    <a:pt x="98106" y="5024"/>
                  </a:cubicBezTo>
                  <a:cubicBezTo>
                    <a:pt x="97613" y="5097"/>
                    <a:pt x="96460" y="4296"/>
                    <a:pt x="96131" y="4077"/>
                  </a:cubicBezTo>
                  <a:cubicBezTo>
                    <a:pt x="95802" y="3859"/>
                    <a:pt x="95308" y="3349"/>
                    <a:pt x="94979" y="3131"/>
                  </a:cubicBezTo>
                  <a:cubicBezTo>
                    <a:pt x="94650" y="2912"/>
                    <a:pt x="93168" y="3203"/>
                    <a:pt x="92510" y="3203"/>
                  </a:cubicBezTo>
                  <a:cubicBezTo>
                    <a:pt x="92016" y="3203"/>
                    <a:pt x="91851" y="3203"/>
                    <a:pt x="91358" y="2912"/>
                  </a:cubicBezTo>
                  <a:cubicBezTo>
                    <a:pt x="91028" y="2694"/>
                    <a:pt x="89876" y="3203"/>
                    <a:pt x="89218" y="3276"/>
                  </a:cubicBezTo>
                  <a:cubicBezTo>
                    <a:pt x="88724" y="3349"/>
                    <a:pt x="87242" y="3567"/>
                    <a:pt x="86748" y="3567"/>
                  </a:cubicBezTo>
                  <a:cubicBezTo>
                    <a:pt x="86255" y="3567"/>
                    <a:pt x="84938" y="3932"/>
                    <a:pt x="84444" y="4077"/>
                  </a:cubicBezTo>
                  <a:cubicBezTo>
                    <a:pt x="84115" y="4150"/>
                    <a:pt x="84773" y="4660"/>
                    <a:pt x="84773" y="4733"/>
                  </a:cubicBezTo>
                  <a:cubicBezTo>
                    <a:pt x="84938" y="4878"/>
                    <a:pt x="84773" y="5242"/>
                    <a:pt x="84279" y="5388"/>
                  </a:cubicBezTo>
                  <a:cubicBezTo>
                    <a:pt x="83950" y="5533"/>
                    <a:pt x="83621" y="5533"/>
                    <a:pt x="83456" y="5388"/>
                  </a:cubicBezTo>
                  <a:cubicBezTo>
                    <a:pt x="83127" y="5315"/>
                    <a:pt x="82633" y="5242"/>
                    <a:pt x="82139" y="5169"/>
                  </a:cubicBezTo>
                  <a:cubicBezTo>
                    <a:pt x="81646" y="5169"/>
                    <a:pt x="81152" y="4733"/>
                    <a:pt x="81152" y="4587"/>
                  </a:cubicBezTo>
                  <a:cubicBezTo>
                    <a:pt x="81152" y="4368"/>
                    <a:pt x="82139" y="4004"/>
                    <a:pt x="82798" y="3859"/>
                  </a:cubicBezTo>
                  <a:cubicBezTo>
                    <a:pt x="83292" y="3713"/>
                    <a:pt x="81481" y="3276"/>
                    <a:pt x="81152" y="3058"/>
                  </a:cubicBezTo>
                  <a:cubicBezTo>
                    <a:pt x="80987" y="2839"/>
                    <a:pt x="79506" y="2985"/>
                    <a:pt x="79176" y="2985"/>
                  </a:cubicBezTo>
                  <a:cubicBezTo>
                    <a:pt x="78683" y="2985"/>
                    <a:pt x="78353" y="3203"/>
                    <a:pt x="77860" y="3276"/>
                  </a:cubicBezTo>
                  <a:cubicBezTo>
                    <a:pt x="77366" y="3422"/>
                    <a:pt x="75720" y="3203"/>
                    <a:pt x="74897" y="3203"/>
                  </a:cubicBezTo>
                  <a:cubicBezTo>
                    <a:pt x="74238" y="3131"/>
                    <a:pt x="75390" y="2694"/>
                    <a:pt x="75555" y="2475"/>
                  </a:cubicBezTo>
                  <a:cubicBezTo>
                    <a:pt x="75884" y="2330"/>
                    <a:pt x="77037" y="1820"/>
                    <a:pt x="77366" y="1601"/>
                  </a:cubicBezTo>
                  <a:cubicBezTo>
                    <a:pt x="77695" y="1383"/>
                    <a:pt x="77201" y="873"/>
                    <a:pt x="77037" y="655"/>
                  </a:cubicBezTo>
                  <a:cubicBezTo>
                    <a:pt x="76707" y="436"/>
                    <a:pt x="76378" y="655"/>
                    <a:pt x="75884" y="655"/>
                  </a:cubicBezTo>
                  <a:cubicBezTo>
                    <a:pt x="75555" y="655"/>
                    <a:pt x="74732" y="509"/>
                    <a:pt x="74732" y="509"/>
                  </a:cubicBezTo>
                  <a:cubicBezTo>
                    <a:pt x="74238" y="364"/>
                    <a:pt x="73251" y="0"/>
                    <a:pt x="72921" y="218"/>
                  </a:cubicBezTo>
                  <a:cubicBezTo>
                    <a:pt x="72592" y="436"/>
                    <a:pt x="71934" y="728"/>
                    <a:pt x="71440" y="873"/>
                  </a:cubicBezTo>
                  <a:cubicBezTo>
                    <a:pt x="70781" y="1019"/>
                    <a:pt x="69135" y="1456"/>
                    <a:pt x="69135" y="1601"/>
                  </a:cubicBezTo>
                  <a:cubicBezTo>
                    <a:pt x="68971" y="1674"/>
                    <a:pt x="66831" y="3713"/>
                    <a:pt x="66831" y="3932"/>
                  </a:cubicBezTo>
                  <a:cubicBezTo>
                    <a:pt x="66831" y="4150"/>
                    <a:pt x="66666" y="4878"/>
                    <a:pt x="66666" y="5097"/>
                  </a:cubicBezTo>
                  <a:cubicBezTo>
                    <a:pt x="66831" y="5242"/>
                    <a:pt x="66995" y="5388"/>
                    <a:pt x="67325" y="5533"/>
                  </a:cubicBezTo>
                  <a:cubicBezTo>
                    <a:pt x="67654" y="5679"/>
                    <a:pt x="67983" y="5970"/>
                    <a:pt x="67983" y="6043"/>
                  </a:cubicBezTo>
                  <a:cubicBezTo>
                    <a:pt x="67983" y="6189"/>
                    <a:pt x="68312" y="6699"/>
                    <a:pt x="67818" y="6699"/>
                  </a:cubicBezTo>
                  <a:cubicBezTo>
                    <a:pt x="67325" y="6699"/>
                    <a:pt x="66831" y="6771"/>
                    <a:pt x="66337" y="6844"/>
                  </a:cubicBezTo>
                  <a:cubicBezTo>
                    <a:pt x="65843" y="6917"/>
                    <a:pt x="64691" y="7063"/>
                    <a:pt x="64197" y="7063"/>
                  </a:cubicBezTo>
                  <a:cubicBezTo>
                    <a:pt x="63868" y="7063"/>
                    <a:pt x="61728" y="6917"/>
                    <a:pt x="62222" y="7135"/>
                  </a:cubicBezTo>
                  <a:cubicBezTo>
                    <a:pt x="62551" y="7427"/>
                    <a:pt x="63539" y="7791"/>
                    <a:pt x="63703" y="7936"/>
                  </a:cubicBezTo>
                  <a:cubicBezTo>
                    <a:pt x="64032" y="8082"/>
                    <a:pt x="65020" y="8737"/>
                    <a:pt x="64197" y="8665"/>
                  </a:cubicBezTo>
                  <a:cubicBezTo>
                    <a:pt x="63374" y="8592"/>
                    <a:pt x="63045" y="8592"/>
                    <a:pt x="62551" y="8592"/>
                  </a:cubicBezTo>
                  <a:cubicBezTo>
                    <a:pt x="62222" y="8592"/>
                    <a:pt x="60905" y="8519"/>
                    <a:pt x="60740" y="8737"/>
                  </a:cubicBezTo>
                  <a:cubicBezTo>
                    <a:pt x="60576" y="9029"/>
                    <a:pt x="60576" y="9393"/>
                    <a:pt x="59917" y="9466"/>
                  </a:cubicBezTo>
                  <a:cubicBezTo>
                    <a:pt x="59423" y="9538"/>
                    <a:pt x="56954" y="9393"/>
                    <a:pt x="56625" y="9611"/>
                  </a:cubicBezTo>
                  <a:cubicBezTo>
                    <a:pt x="56131" y="9757"/>
                    <a:pt x="54979" y="10194"/>
                    <a:pt x="54979" y="9975"/>
                  </a:cubicBezTo>
                  <a:cubicBezTo>
                    <a:pt x="54979" y="9757"/>
                    <a:pt x="55144" y="9466"/>
                    <a:pt x="55308" y="9247"/>
                  </a:cubicBezTo>
                  <a:cubicBezTo>
                    <a:pt x="55473" y="9101"/>
                    <a:pt x="56131" y="8519"/>
                    <a:pt x="55473" y="8519"/>
                  </a:cubicBezTo>
                  <a:cubicBezTo>
                    <a:pt x="54814" y="8519"/>
                    <a:pt x="54320" y="8737"/>
                    <a:pt x="53827" y="8956"/>
                  </a:cubicBezTo>
                  <a:cubicBezTo>
                    <a:pt x="53333" y="9174"/>
                    <a:pt x="52839" y="9247"/>
                    <a:pt x="52016" y="9247"/>
                  </a:cubicBezTo>
                  <a:cubicBezTo>
                    <a:pt x="51358" y="9247"/>
                    <a:pt x="48395" y="9466"/>
                    <a:pt x="48065" y="9538"/>
                  </a:cubicBezTo>
                  <a:cubicBezTo>
                    <a:pt x="47736" y="9684"/>
                    <a:pt x="46584" y="9830"/>
                    <a:pt x="47078" y="9975"/>
                  </a:cubicBezTo>
                  <a:cubicBezTo>
                    <a:pt x="47572" y="10121"/>
                    <a:pt x="49382" y="10485"/>
                    <a:pt x="48888" y="10631"/>
                  </a:cubicBezTo>
                  <a:cubicBezTo>
                    <a:pt x="48395" y="10849"/>
                    <a:pt x="47901" y="10849"/>
                    <a:pt x="47572" y="10922"/>
                  </a:cubicBezTo>
                  <a:cubicBezTo>
                    <a:pt x="47078" y="10995"/>
                    <a:pt x="45267" y="11067"/>
                    <a:pt x="45102" y="11213"/>
                  </a:cubicBezTo>
                  <a:cubicBezTo>
                    <a:pt x="44938" y="11286"/>
                    <a:pt x="44115" y="11796"/>
                    <a:pt x="43127" y="11796"/>
                  </a:cubicBezTo>
                  <a:cubicBezTo>
                    <a:pt x="42139" y="11796"/>
                    <a:pt x="40000" y="11868"/>
                    <a:pt x="39670" y="12014"/>
                  </a:cubicBezTo>
                  <a:cubicBezTo>
                    <a:pt x="39176" y="12160"/>
                    <a:pt x="38683" y="12451"/>
                    <a:pt x="38189" y="12524"/>
                  </a:cubicBezTo>
                  <a:cubicBezTo>
                    <a:pt x="37860" y="12597"/>
                    <a:pt x="35390" y="12888"/>
                    <a:pt x="35061" y="13106"/>
                  </a:cubicBezTo>
                  <a:cubicBezTo>
                    <a:pt x="34732" y="13325"/>
                    <a:pt x="34238" y="14126"/>
                    <a:pt x="33580" y="14126"/>
                  </a:cubicBezTo>
                  <a:cubicBezTo>
                    <a:pt x="33086" y="14199"/>
                    <a:pt x="30946" y="14126"/>
                    <a:pt x="30946" y="14271"/>
                  </a:cubicBezTo>
                  <a:cubicBezTo>
                    <a:pt x="30781" y="14490"/>
                    <a:pt x="30617" y="14708"/>
                    <a:pt x="30946" y="14854"/>
                  </a:cubicBezTo>
                  <a:cubicBezTo>
                    <a:pt x="31440" y="14927"/>
                    <a:pt x="32757" y="14927"/>
                    <a:pt x="31934" y="15145"/>
                  </a:cubicBezTo>
                  <a:cubicBezTo>
                    <a:pt x="31111" y="15291"/>
                    <a:pt x="29465" y="16165"/>
                    <a:pt x="29794" y="16310"/>
                  </a:cubicBezTo>
                  <a:cubicBezTo>
                    <a:pt x="30123" y="16383"/>
                    <a:pt x="30946" y="16601"/>
                    <a:pt x="30781" y="16747"/>
                  </a:cubicBezTo>
                  <a:cubicBezTo>
                    <a:pt x="30452" y="16893"/>
                    <a:pt x="29958" y="17184"/>
                    <a:pt x="30288" y="17402"/>
                  </a:cubicBezTo>
                  <a:cubicBezTo>
                    <a:pt x="30617" y="17621"/>
                    <a:pt x="31604" y="17766"/>
                    <a:pt x="30946" y="17912"/>
                  </a:cubicBezTo>
                  <a:cubicBezTo>
                    <a:pt x="30123" y="18058"/>
                    <a:pt x="29629" y="18276"/>
                    <a:pt x="29629" y="18058"/>
                  </a:cubicBezTo>
                  <a:cubicBezTo>
                    <a:pt x="29465" y="17839"/>
                    <a:pt x="28971" y="17475"/>
                    <a:pt x="28477" y="17694"/>
                  </a:cubicBezTo>
                  <a:cubicBezTo>
                    <a:pt x="27983" y="17912"/>
                    <a:pt x="27325" y="18058"/>
                    <a:pt x="27654" y="18276"/>
                  </a:cubicBezTo>
                  <a:cubicBezTo>
                    <a:pt x="27818" y="18567"/>
                    <a:pt x="29300" y="18713"/>
                    <a:pt x="29629" y="18932"/>
                  </a:cubicBezTo>
                  <a:cubicBezTo>
                    <a:pt x="29794" y="19077"/>
                    <a:pt x="31111" y="19514"/>
                    <a:pt x="30781" y="19733"/>
                  </a:cubicBezTo>
                  <a:cubicBezTo>
                    <a:pt x="30452" y="19951"/>
                    <a:pt x="29794" y="20169"/>
                    <a:pt x="29300" y="20169"/>
                  </a:cubicBezTo>
                  <a:cubicBezTo>
                    <a:pt x="28806" y="20169"/>
                    <a:pt x="27654" y="20097"/>
                    <a:pt x="27160" y="20242"/>
                  </a:cubicBezTo>
                  <a:cubicBezTo>
                    <a:pt x="26666" y="20315"/>
                    <a:pt x="25020" y="20752"/>
                    <a:pt x="24197" y="20752"/>
                  </a:cubicBezTo>
                  <a:cubicBezTo>
                    <a:pt x="23374" y="20752"/>
                    <a:pt x="20576" y="20606"/>
                    <a:pt x="20411" y="20825"/>
                  </a:cubicBezTo>
                  <a:cubicBezTo>
                    <a:pt x="20411" y="20970"/>
                    <a:pt x="20246" y="21334"/>
                    <a:pt x="19753" y="21116"/>
                  </a:cubicBezTo>
                  <a:cubicBezTo>
                    <a:pt x="19259" y="20898"/>
                    <a:pt x="17448" y="20606"/>
                    <a:pt x="17283" y="20606"/>
                  </a:cubicBezTo>
                  <a:cubicBezTo>
                    <a:pt x="16954" y="20606"/>
                    <a:pt x="12345" y="20533"/>
                    <a:pt x="11851" y="20606"/>
                  </a:cubicBezTo>
                  <a:cubicBezTo>
                    <a:pt x="11358" y="20752"/>
                    <a:pt x="9547" y="21407"/>
                    <a:pt x="9547" y="21626"/>
                  </a:cubicBezTo>
                  <a:cubicBezTo>
                    <a:pt x="9547" y="21917"/>
                    <a:pt x="9711" y="22500"/>
                    <a:pt x="10041" y="22718"/>
                  </a:cubicBezTo>
                  <a:cubicBezTo>
                    <a:pt x="10205" y="22864"/>
                    <a:pt x="11028" y="23009"/>
                    <a:pt x="10864" y="23300"/>
                  </a:cubicBezTo>
                  <a:cubicBezTo>
                    <a:pt x="10534" y="23519"/>
                    <a:pt x="9547" y="24466"/>
                    <a:pt x="9547" y="24757"/>
                  </a:cubicBezTo>
                  <a:cubicBezTo>
                    <a:pt x="9382" y="24975"/>
                    <a:pt x="9382" y="25485"/>
                    <a:pt x="9547" y="25631"/>
                  </a:cubicBezTo>
                  <a:cubicBezTo>
                    <a:pt x="9711" y="25776"/>
                    <a:pt x="11193" y="26213"/>
                    <a:pt x="11358" y="26432"/>
                  </a:cubicBezTo>
                  <a:cubicBezTo>
                    <a:pt x="11358" y="26723"/>
                    <a:pt x="11522" y="26941"/>
                    <a:pt x="12016" y="27014"/>
                  </a:cubicBezTo>
                  <a:cubicBezTo>
                    <a:pt x="12510" y="27160"/>
                    <a:pt x="13991" y="27305"/>
                    <a:pt x="13991" y="27597"/>
                  </a:cubicBezTo>
                  <a:cubicBezTo>
                    <a:pt x="13827" y="27888"/>
                    <a:pt x="13827" y="28033"/>
                    <a:pt x="14156" y="28179"/>
                  </a:cubicBezTo>
                  <a:cubicBezTo>
                    <a:pt x="14320" y="28398"/>
                    <a:pt x="15144" y="28762"/>
                    <a:pt x="15144" y="28980"/>
                  </a:cubicBezTo>
                  <a:cubicBezTo>
                    <a:pt x="14979" y="29199"/>
                    <a:pt x="15308" y="29708"/>
                    <a:pt x="14814" y="29708"/>
                  </a:cubicBezTo>
                  <a:cubicBezTo>
                    <a:pt x="14156" y="29781"/>
                    <a:pt x="12510" y="29854"/>
                    <a:pt x="11851" y="29708"/>
                  </a:cubicBezTo>
                  <a:cubicBezTo>
                    <a:pt x="11193" y="29635"/>
                    <a:pt x="9382" y="29053"/>
                    <a:pt x="9218" y="28834"/>
                  </a:cubicBezTo>
                  <a:cubicBezTo>
                    <a:pt x="8888" y="28616"/>
                    <a:pt x="8724" y="28470"/>
                    <a:pt x="8888" y="28252"/>
                  </a:cubicBezTo>
                  <a:cubicBezTo>
                    <a:pt x="9053" y="27961"/>
                    <a:pt x="9547" y="27524"/>
                    <a:pt x="9053" y="27378"/>
                  </a:cubicBezTo>
                  <a:cubicBezTo>
                    <a:pt x="8559" y="27233"/>
                    <a:pt x="6584" y="26941"/>
                    <a:pt x="6255" y="26650"/>
                  </a:cubicBezTo>
                  <a:cubicBezTo>
                    <a:pt x="6090" y="26432"/>
                    <a:pt x="5432" y="26213"/>
                    <a:pt x="5102" y="26213"/>
                  </a:cubicBezTo>
                  <a:cubicBezTo>
                    <a:pt x="4609" y="26213"/>
                    <a:pt x="3292" y="26140"/>
                    <a:pt x="2633" y="26140"/>
                  </a:cubicBezTo>
                  <a:cubicBezTo>
                    <a:pt x="2139" y="26140"/>
                    <a:pt x="1481" y="26067"/>
                    <a:pt x="1152" y="26140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6" name="Shape 6960">
              <a:extLst>
                <a:ext uri="{FF2B5EF4-FFF2-40B4-BE49-F238E27FC236}">
                  <a16:creationId xmlns:a16="http://schemas.microsoft.com/office/drawing/2014/main" id="{F64A0595-CA74-49B0-B631-41311DECF215}"/>
                </a:ext>
              </a:extLst>
            </p:cNvPr>
            <p:cNvSpPr/>
            <p:nvPr/>
          </p:nvSpPr>
          <p:spPr>
            <a:xfrm>
              <a:off x="3244542" y="4255655"/>
              <a:ext cx="405181" cy="59629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85714" y="110219"/>
                  </a:moveTo>
                  <a:cubicBezTo>
                    <a:pt x="86285" y="107962"/>
                    <a:pt x="89142" y="103072"/>
                    <a:pt x="89714" y="102319"/>
                  </a:cubicBezTo>
                  <a:cubicBezTo>
                    <a:pt x="90285" y="101943"/>
                    <a:pt x="92571" y="100062"/>
                    <a:pt x="93714" y="99310"/>
                  </a:cubicBezTo>
                  <a:cubicBezTo>
                    <a:pt x="93714" y="99310"/>
                    <a:pt x="93714" y="98181"/>
                    <a:pt x="93714" y="97805"/>
                  </a:cubicBezTo>
                  <a:cubicBezTo>
                    <a:pt x="93714" y="97429"/>
                    <a:pt x="93714" y="97429"/>
                    <a:pt x="93714" y="97053"/>
                  </a:cubicBezTo>
                  <a:cubicBezTo>
                    <a:pt x="93714" y="96677"/>
                    <a:pt x="92000" y="95548"/>
                    <a:pt x="91428" y="95172"/>
                  </a:cubicBezTo>
                  <a:cubicBezTo>
                    <a:pt x="90857" y="94796"/>
                    <a:pt x="90285" y="94796"/>
                    <a:pt x="89714" y="94420"/>
                  </a:cubicBezTo>
                  <a:cubicBezTo>
                    <a:pt x="89142" y="94043"/>
                    <a:pt x="89142" y="92915"/>
                    <a:pt x="89142" y="88777"/>
                  </a:cubicBezTo>
                  <a:cubicBezTo>
                    <a:pt x="89142" y="88401"/>
                    <a:pt x="89714" y="88025"/>
                    <a:pt x="89714" y="87648"/>
                  </a:cubicBezTo>
                  <a:cubicBezTo>
                    <a:pt x="89714" y="86896"/>
                    <a:pt x="89142" y="84639"/>
                    <a:pt x="88571" y="82758"/>
                  </a:cubicBezTo>
                  <a:cubicBezTo>
                    <a:pt x="88000" y="80877"/>
                    <a:pt x="88000" y="79749"/>
                    <a:pt x="88000" y="78996"/>
                  </a:cubicBezTo>
                  <a:cubicBezTo>
                    <a:pt x="88000" y="77868"/>
                    <a:pt x="92571" y="72225"/>
                    <a:pt x="93142" y="71473"/>
                  </a:cubicBezTo>
                  <a:cubicBezTo>
                    <a:pt x="94285" y="70344"/>
                    <a:pt x="101714" y="65830"/>
                    <a:pt x="102857" y="65078"/>
                  </a:cubicBezTo>
                  <a:cubicBezTo>
                    <a:pt x="104000" y="64702"/>
                    <a:pt x="106285" y="65078"/>
                    <a:pt x="109714" y="65454"/>
                  </a:cubicBezTo>
                  <a:cubicBezTo>
                    <a:pt x="110285" y="65454"/>
                    <a:pt x="110857" y="65830"/>
                    <a:pt x="111428" y="65830"/>
                  </a:cubicBezTo>
                  <a:cubicBezTo>
                    <a:pt x="112571" y="65830"/>
                    <a:pt x="112571" y="65830"/>
                    <a:pt x="113142" y="65078"/>
                  </a:cubicBezTo>
                  <a:cubicBezTo>
                    <a:pt x="113142" y="64702"/>
                    <a:pt x="113714" y="64326"/>
                    <a:pt x="114285" y="63949"/>
                  </a:cubicBezTo>
                  <a:cubicBezTo>
                    <a:pt x="114285" y="63573"/>
                    <a:pt x="113714" y="59435"/>
                    <a:pt x="113142" y="58307"/>
                  </a:cubicBezTo>
                  <a:cubicBezTo>
                    <a:pt x="112000" y="56802"/>
                    <a:pt x="117714" y="53793"/>
                    <a:pt x="119428" y="53416"/>
                  </a:cubicBezTo>
                  <a:cubicBezTo>
                    <a:pt x="120000" y="51912"/>
                    <a:pt x="119428" y="44012"/>
                    <a:pt x="118857" y="41755"/>
                  </a:cubicBezTo>
                  <a:cubicBezTo>
                    <a:pt x="118857" y="41379"/>
                    <a:pt x="118857" y="41379"/>
                    <a:pt x="118857" y="41003"/>
                  </a:cubicBezTo>
                  <a:cubicBezTo>
                    <a:pt x="118857" y="41003"/>
                    <a:pt x="118857" y="40626"/>
                    <a:pt x="118857" y="40626"/>
                  </a:cubicBezTo>
                  <a:cubicBezTo>
                    <a:pt x="118857" y="40626"/>
                    <a:pt x="118857" y="40626"/>
                    <a:pt x="118857" y="40626"/>
                  </a:cubicBezTo>
                  <a:cubicBezTo>
                    <a:pt x="118857" y="40250"/>
                    <a:pt x="118857" y="39874"/>
                    <a:pt x="118857" y="39498"/>
                  </a:cubicBezTo>
                  <a:cubicBezTo>
                    <a:pt x="118857" y="38746"/>
                    <a:pt x="113714" y="31598"/>
                    <a:pt x="112571" y="30094"/>
                  </a:cubicBezTo>
                  <a:cubicBezTo>
                    <a:pt x="111428" y="29341"/>
                    <a:pt x="112000" y="27836"/>
                    <a:pt x="113142" y="25203"/>
                  </a:cubicBezTo>
                  <a:cubicBezTo>
                    <a:pt x="113142" y="24827"/>
                    <a:pt x="113714" y="24075"/>
                    <a:pt x="113714" y="23699"/>
                  </a:cubicBezTo>
                  <a:cubicBezTo>
                    <a:pt x="113142" y="23322"/>
                    <a:pt x="110857" y="21442"/>
                    <a:pt x="109714" y="21065"/>
                  </a:cubicBezTo>
                  <a:cubicBezTo>
                    <a:pt x="108000" y="20689"/>
                    <a:pt x="108571" y="18808"/>
                    <a:pt x="109142" y="16175"/>
                  </a:cubicBezTo>
                  <a:cubicBezTo>
                    <a:pt x="109142" y="15799"/>
                    <a:pt x="109142" y="15423"/>
                    <a:pt x="109714" y="15047"/>
                  </a:cubicBezTo>
                  <a:cubicBezTo>
                    <a:pt x="109714" y="14294"/>
                    <a:pt x="110857" y="12037"/>
                    <a:pt x="112000" y="10156"/>
                  </a:cubicBezTo>
                  <a:cubicBezTo>
                    <a:pt x="112571" y="9028"/>
                    <a:pt x="113142" y="7899"/>
                    <a:pt x="113714" y="7899"/>
                  </a:cubicBezTo>
                  <a:cubicBezTo>
                    <a:pt x="113714" y="7523"/>
                    <a:pt x="113714" y="7523"/>
                    <a:pt x="113142" y="7147"/>
                  </a:cubicBezTo>
                  <a:cubicBezTo>
                    <a:pt x="112000" y="7899"/>
                    <a:pt x="110857" y="9028"/>
                    <a:pt x="109714" y="9404"/>
                  </a:cubicBezTo>
                  <a:cubicBezTo>
                    <a:pt x="108571" y="10156"/>
                    <a:pt x="108571" y="10156"/>
                    <a:pt x="108571" y="10156"/>
                  </a:cubicBezTo>
                  <a:cubicBezTo>
                    <a:pt x="106285" y="11285"/>
                    <a:pt x="101714" y="13918"/>
                    <a:pt x="100571" y="14294"/>
                  </a:cubicBezTo>
                  <a:cubicBezTo>
                    <a:pt x="99428" y="15423"/>
                    <a:pt x="93714" y="16175"/>
                    <a:pt x="90857" y="16175"/>
                  </a:cubicBezTo>
                  <a:cubicBezTo>
                    <a:pt x="90285" y="16175"/>
                    <a:pt x="89714" y="16175"/>
                    <a:pt x="88571" y="16175"/>
                  </a:cubicBezTo>
                  <a:cubicBezTo>
                    <a:pt x="85142" y="16175"/>
                    <a:pt x="81714" y="16175"/>
                    <a:pt x="80000" y="15423"/>
                  </a:cubicBezTo>
                  <a:cubicBezTo>
                    <a:pt x="78285" y="14294"/>
                    <a:pt x="74285" y="12789"/>
                    <a:pt x="73142" y="13166"/>
                  </a:cubicBezTo>
                  <a:cubicBezTo>
                    <a:pt x="73142" y="13166"/>
                    <a:pt x="72571" y="13542"/>
                    <a:pt x="72000" y="13918"/>
                  </a:cubicBezTo>
                  <a:cubicBezTo>
                    <a:pt x="71428" y="14670"/>
                    <a:pt x="70285" y="15047"/>
                    <a:pt x="69142" y="15047"/>
                  </a:cubicBezTo>
                  <a:cubicBezTo>
                    <a:pt x="69142" y="15047"/>
                    <a:pt x="68571" y="15423"/>
                    <a:pt x="68000" y="15423"/>
                  </a:cubicBezTo>
                  <a:cubicBezTo>
                    <a:pt x="65142" y="15423"/>
                    <a:pt x="62857" y="15423"/>
                    <a:pt x="61714" y="15047"/>
                  </a:cubicBezTo>
                  <a:cubicBezTo>
                    <a:pt x="61142" y="15047"/>
                    <a:pt x="60000" y="14294"/>
                    <a:pt x="58857" y="13918"/>
                  </a:cubicBezTo>
                  <a:cubicBezTo>
                    <a:pt x="57714" y="13166"/>
                    <a:pt x="56000" y="12789"/>
                    <a:pt x="56000" y="12413"/>
                  </a:cubicBezTo>
                  <a:cubicBezTo>
                    <a:pt x="55428" y="12413"/>
                    <a:pt x="51428" y="11661"/>
                    <a:pt x="49142" y="11285"/>
                  </a:cubicBezTo>
                  <a:cubicBezTo>
                    <a:pt x="46857" y="10909"/>
                    <a:pt x="44571" y="10532"/>
                    <a:pt x="44000" y="10532"/>
                  </a:cubicBezTo>
                  <a:cubicBezTo>
                    <a:pt x="43428" y="10532"/>
                    <a:pt x="43428" y="10532"/>
                    <a:pt x="43428" y="10532"/>
                  </a:cubicBezTo>
                  <a:cubicBezTo>
                    <a:pt x="41142" y="9780"/>
                    <a:pt x="38857" y="9404"/>
                    <a:pt x="38857" y="7899"/>
                  </a:cubicBezTo>
                  <a:cubicBezTo>
                    <a:pt x="38857" y="7899"/>
                    <a:pt x="38285" y="7523"/>
                    <a:pt x="38285" y="7523"/>
                  </a:cubicBezTo>
                  <a:cubicBezTo>
                    <a:pt x="38285" y="6771"/>
                    <a:pt x="38285" y="6018"/>
                    <a:pt x="38857" y="5266"/>
                  </a:cubicBezTo>
                  <a:cubicBezTo>
                    <a:pt x="39428" y="4890"/>
                    <a:pt x="39428" y="4890"/>
                    <a:pt x="39428" y="4890"/>
                  </a:cubicBezTo>
                  <a:cubicBezTo>
                    <a:pt x="41142" y="3385"/>
                    <a:pt x="41142" y="2633"/>
                    <a:pt x="41142" y="2633"/>
                  </a:cubicBezTo>
                  <a:cubicBezTo>
                    <a:pt x="40000" y="1880"/>
                    <a:pt x="38285" y="376"/>
                    <a:pt x="37714" y="0"/>
                  </a:cubicBezTo>
                  <a:cubicBezTo>
                    <a:pt x="36571" y="376"/>
                    <a:pt x="34285" y="752"/>
                    <a:pt x="33142" y="1880"/>
                  </a:cubicBezTo>
                  <a:cubicBezTo>
                    <a:pt x="32000" y="2633"/>
                    <a:pt x="30857" y="3385"/>
                    <a:pt x="30285" y="4137"/>
                  </a:cubicBezTo>
                  <a:cubicBezTo>
                    <a:pt x="29142" y="5266"/>
                    <a:pt x="28571" y="6018"/>
                    <a:pt x="28000" y="6018"/>
                  </a:cubicBezTo>
                  <a:cubicBezTo>
                    <a:pt x="28000" y="6394"/>
                    <a:pt x="27428" y="6394"/>
                    <a:pt x="27428" y="6771"/>
                  </a:cubicBezTo>
                  <a:cubicBezTo>
                    <a:pt x="26285" y="7147"/>
                    <a:pt x="24000" y="8652"/>
                    <a:pt x="24000" y="9028"/>
                  </a:cubicBezTo>
                  <a:cubicBezTo>
                    <a:pt x="24000" y="9028"/>
                    <a:pt x="24000" y="9780"/>
                    <a:pt x="24000" y="12413"/>
                  </a:cubicBezTo>
                  <a:cubicBezTo>
                    <a:pt x="24000" y="12789"/>
                    <a:pt x="24000" y="13542"/>
                    <a:pt x="24571" y="13918"/>
                  </a:cubicBezTo>
                  <a:cubicBezTo>
                    <a:pt x="25714" y="15799"/>
                    <a:pt x="26285" y="17304"/>
                    <a:pt x="25714" y="18056"/>
                  </a:cubicBezTo>
                  <a:cubicBezTo>
                    <a:pt x="25714" y="18056"/>
                    <a:pt x="25142" y="18432"/>
                    <a:pt x="24571" y="18432"/>
                  </a:cubicBezTo>
                  <a:cubicBezTo>
                    <a:pt x="20571" y="19561"/>
                    <a:pt x="18857" y="20313"/>
                    <a:pt x="18857" y="20313"/>
                  </a:cubicBezTo>
                  <a:cubicBezTo>
                    <a:pt x="18857" y="21442"/>
                    <a:pt x="18857" y="22194"/>
                    <a:pt x="20571" y="22570"/>
                  </a:cubicBezTo>
                  <a:cubicBezTo>
                    <a:pt x="23428" y="23322"/>
                    <a:pt x="28000" y="25203"/>
                    <a:pt x="28571" y="26708"/>
                  </a:cubicBezTo>
                  <a:cubicBezTo>
                    <a:pt x="28571" y="27084"/>
                    <a:pt x="28571" y="27084"/>
                    <a:pt x="29142" y="27460"/>
                  </a:cubicBezTo>
                  <a:cubicBezTo>
                    <a:pt x="29142" y="28589"/>
                    <a:pt x="29714" y="29341"/>
                    <a:pt x="30857" y="29717"/>
                  </a:cubicBezTo>
                  <a:cubicBezTo>
                    <a:pt x="34857" y="30846"/>
                    <a:pt x="36571" y="31974"/>
                    <a:pt x="36571" y="33103"/>
                  </a:cubicBezTo>
                  <a:cubicBezTo>
                    <a:pt x="36571" y="34231"/>
                    <a:pt x="36571" y="37241"/>
                    <a:pt x="33142" y="38369"/>
                  </a:cubicBezTo>
                  <a:cubicBezTo>
                    <a:pt x="31428" y="38746"/>
                    <a:pt x="29714" y="38746"/>
                    <a:pt x="28571" y="39122"/>
                  </a:cubicBezTo>
                  <a:cubicBezTo>
                    <a:pt x="27428" y="39498"/>
                    <a:pt x="25714" y="39498"/>
                    <a:pt x="25142" y="39874"/>
                  </a:cubicBezTo>
                  <a:cubicBezTo>
                    <a:pt x="24571" y="39874"/>
                    <a:pt x="24571" y="39874"/>
                    <a:pt x="24571" y="39874"/>
                  </a:cubicBezTo>
                  <a:cubicBezTo>
                    <a:pt x="16571" y="45517"/>
                    <a:pt x="16000" y="46645"/>
                    <a:pt x="16000" y="46645"/>
                  </a:cubicBezTo>
                  <a:cubicBezTo>
                    <a:pt x="16000" y="48150"/>
                    <a:pt x="15428" y="52664"/>
                    <a:pt x="13714" y="53416"/>
                  </a:cubicBezTo>
                  <a:cubicBezTo>
                    <a:pt x="13142" y="53793"/>
                    <a:pt x="12000" y="54169"/>
                    <a:pt x="10857" y="54545"/>
                  </a:cubicBezTo>
                  <a:cubicBezTo>
                    <a:pt x="9714" y="54921"/>
                    <a:pt x="7428" y="55297"/>
                    <a:pt x="6857" y="55673"/>
                  </a:cubicBezTo>
                  <a:cubicBezTo>
                    <a:pt x="7428" y="56050"/>
                    <a:pt x="7428" y="56426"/>
                    <a:pt x="7428" y="56802"/>
                  </a:cubicBezTo>
                  <a:cubicBezTo>
                    <a:pt x="8000" y="57554"/>
                    <a:pt x="8000" y="59059"/>
                    <a:pt x="5714" y="60188"/>
                  </a:cubicBezTo>
                  <a:cubicBezTo>
                    <a:pt x="5142" y="60564"/>
                    <a:pt x="5142" y="60564"/>
                    <a:pt x="5142" y="60564"/>
                  </a:cubicBezTo>
                  <a:cubicBezTo>
                    <a:pt x="2857" y="61692"/>
                    <a:pt x="1714" y="62068"/>
                    <a:pt x="1142" y="63197"/>
                  </a:cubicBezTo>
                  <a:cubicBezTo>
                    <a:pt x="571" y="64702"/>
                    <a:pt x="0" y="67335"/>
                    <a:pt x="0" y="68463"/>
                  </a:cubicBezTo>
                  <a:cubicBezTo>
                    <a:pt x="571" y="68463"/>
                    <a:pt x="0" y="68463"/>
                    <a:pt x="0" y="68463"/>
                  </a:cubicBezTo>
                  <a:cubicBezTo>
                    <a:pt x="1714" y="68840"/>
                    <a:pt x="2857" y="68840"/>
                    <a:pt x="3428" y="69592"/>
                  </a:cubicBezTo>
                  <a:cubicBezTo>
                    <a:pt x="5142" y="71097"/>
                    <a:pt x="8000" y="73730"/>
                    <a:pt x="8000" y="75611"/>
                  </a:cubicBezTo>
                  <a:cubicBezTo>
                    <a:pt x="8000" y="77115"/>
                    <a:pt x="7428" y="78244"/>
                    <a:pt x="7428" y="80125"/>
                  </a:cubicBezTo>
                  <a:cubicBezTo>
                    <a:pt x="7428" y="81630"/>
                    <a:pt x="9142" y="83887"/>
                    <a:pt x="6857" y="85015"/>
                  </a:cubicBezTo>
                  <a:cubicBezTo>
                    <a:pt x="5142" y="86144"/>
                    <a:pt x="2857" y="87648"/>
                    <a:pt x="2857" y="89153"/>
                  </a:cubicBezTo>
                  <a:cubicBezTo>
                    <a:pt x="2857" y="90282"/>
                    <a:pt x="3428" y="92915"/>
                    <a:pt x="5142" y="93667"/>
                  </a:cubicBezTo>
                  <a:cubicBezTo>
                    <a:pt x="6857" y="94043"/>
                    <a:pt x="9142" y="95548"/>
                    <a:pt x="12571" y="95172"/>
                  </a:cubicBezTo>
                  <a:cubicBezTo>
                    <a:pt x="15428" y="95172"/>
                    <a:pt x="20000" y="91786"/>
                    <a:pt x="21714" y="92915"/>
                  </a:cubicBezTo>
                  <a:cubicBezTo>
                    <a:pt x="24000" y="94420"/>
                    <a:pt x="27428" y="95924"/>
                    <a:pt x="26857" y="97429"/>
                  </a:cubicBezTo>
                  <a:cubicBezTo>
                    <a:pt x="26285" y="98934"/>
                    <a:pt x="23428" y="102319"/>
                    <a:pt x="26285" y="103072"/>
                  </a:cubicBezTo>
                  <a:cubicBezTo>
                    <a:pt x="28571" y="103824"/>
                    <a:pt x="30857" y="103448"/>
                    <a:pt x="33142" y="102695"/>
                  </a:cubicBezTo>
                  <a:cubicBezTo>
                    <a:pt x="35428" y="101943"/>
                    <a:pt x="34285" y="100438"/>
                    <a:pt x="38285" y="101567"/>
                  </a:cubicBezTo>
                  <a:cubicBezTo>
                    <a:pt x="42285" y="102695"/>
                    <a:pt x="42857" y="102695"/>
                    <a:pt x="45714" y="103072"/>
                  </a:cubicBezTo>
                  <a:cubicBezTo>
                    <a:pt x="48000" y="103448"/>
                    <a:pt x="50857" y="103448"/>
                    <a:pt x="51428" y="104200"/>
                  </a:cubicBezTo>
                  <a:cubicBezTo>
                    <a:pt x="51428" y="105329"/>
                    <a:pt x="52571" y="106457"/>
                    <a:pt x="49714" y="107586"/>
                  </a:cubicBezTo>
                  <a:cubicBezTo>
                    <a:pt x="46857" y="108714"/>
                    <a:pt x="44000" y="109843"/>
                    <a:pt x="42285" y="111724"/>
                  </a:cubicBezTo>
                  <a:cubicBezTo>
                    <a:pt x="41142" y="113981"/>
                    <a:pt x="38285" y="117742"/>
                    <a:pt x="41142" y="117742"/>
                  </a:cubicBezTo>
                  <a:cubicBezTo>
                    <a:pt x="44571" y="118119"/>
                    <a:pt x="45714" y="118119"/>
                    <a:pt x="48000" y="117366"/>
                  </a:cubicBezTo>
                  <a:cubicBezTo>
                    <a:pt x="50285" y="116614"/>
                    <a:pt x="55428" y="115109"/>
                    <a:pt x="56000" y="116238"/>
                  </a:cubicBezTo>
                  <a:cubicBezTo>
                    <a:pt x="57142" y="117742"/>
                    <a:pt x="58285" y="120000"/>
                    <a:pt x="60571" y="119247"/>
                  </a:cubicBezTo>
                  <a:cubicBezTo>
                    <a:pt x="63428" y="118495"/>
                    <a:pt x="70857" y="115485"/>
                    <a:pt x="73142" y="115485"/>
                  </a:cubicBezTo>
                  <a:cubicBezTo>
                    <a:pt x="75428" y="115109"/>
                    <a:pt x="81714" y="112852"/>
                    <a:pt x="81714" y="112852"/>
                  </a:cubicBezTo>
                  <a:cubicBezTo>
                    <a:pt x="81714" y="112852"/>
                    <a:pt x="83428" y="111724"/>
                    <a:pt x="85714" y="110971"/>
                  </a:cubicBezTo>
                  <a:cubicBezTo>
                    <a:pt x="85714" y="110595"/>
                    <a:pt x="85142" y="110219"/>
                    <a:pt x="85714" y="110219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7" name="Shape 6961">
              <a:extLst>
                <a:ext uri="{FF2B5EF4-FFF2-40B4-BE49-F238E27FC236}">
                  <a16:creationId xmlns:a16="http://schemas.microsoft.com/office/drawing/2014/main" id="{27DC9718-CAC8-45C0-B56E-4CB7E257F2D3}"/>
                </a:ext>
              </a:extLst>
            </p:cNvPr>
            <p:cNvSpPr/>
            <p:nvPr/>
          </p:nvSpPr>
          <p:spPr>
            <a:xfrm>
              <a:off x="3541678" y="4463750"/>
              <a:ext cx="658904" cy="47311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24281" y="112885"/>
                  </a:moveTo>
                  <a:cubicBezTo>
                    <a:pt x="24281" y="112885"/>
                    <a:pt x="26041" y="111936"/>
                    <a:pt x="27096" y="110513"/>
                  </a:cubicBezTo>
                  <a:cubicBezTo>
                    <a:pt x="27448" y="110513"/>
                    <a:pt x="27800" y="110039"/>
                    <a:pt x="28152" y="109565"/>
                  </a:cubicBezTo>
                  <a:cubicBezTo>
                    <a:pt x="28856" y="108616"/>
                    <a:pt x="29208" y="107667"/>
                    <a:pt x="29912" y="107667"/>
                  </a:cubicBezTo>
                  <a:cubicBezTo>
                    <a:pt x="30263" y="108142"/>
                    <a:pt x="30615" y="108142"/>
                    <a:pt x="30967" y="108616"/>
                  </a:cubicBezTo>
                  <a:cubicBezTo>
                    <a:pt x="32023" y="110513"/>
                    <a:pt x="32375" y="110988"/>
                    <a:pt x="32375" y="110988"/>
                  </a:cubicBezTo>
                  <a:cubicBezTo>
                    <a:pt x="33079" y="110513"/>
                    <a:pt x="39765" y="107193"/>
                    <a:pt x="40821" y="106719"/>
                  </a:cubicBezTo>
                  <a:cubicBezTo>
                    <a:pt x="41173" y="106719"/>
                    <a:pt x="42228" y="106719"/>
                    <a:pt x="43988" y="107193"/>
                  </a:cubicBezTo>
                  <a:cubicBezTo>
                    <a:pt x="45747" y="107193"/>
                    <a:pt x="48563" y="107667"/>
                    <a:pt x="49266" y="107193"/>
                  </a:cubicBezTo>
                  <a:cubicBezTo>
                    <a:pt x="49970" y="105770"/>
                    <a:pt x="55601" y="100079"/>
                    <a:pt x="56656" y="99604"/>
                  </a:cubicBezTo>
                  <a:cubicBezTo>
                    <a:pt x="58064" y="98656"/>
                    <a:pt x="65454" y="96284"/>
                    <a:pt x="65806" y="96284"/>
                  </a:cubicBezTo>
                  <a:cubicBezTo>
                    <a:pt x="67214" y="95335"/>
                    <a:pt x="68269" y="95335"/>
                    <a:pt x="69677" y="96284"/>
                  </a:cubicBezTo>
                  <a:cubicBezTo>
                    <a:pt x="69677" y="96284"/>
                    <a:pt x="76715" y="103873"/>
                    <a:pt x="76715" y="105770"/>
                  </a:cubicBezTo>
                  <a:cubicBezTo>
                    <a:pt x="76715" y="106719"/>
                    <a:pt x="76715" y="107193"/>
                    <a:pt x="76715" y="107667"/>
                  </a:cubicBezTo>
                  <a:cubicBezTo>
                    <a:pt x="76363" y="108142"/>
                    <a:pt x="76363" y="108616"/>
                    <a:pt x="76363" y="109565"/>
                  </a:cubicBezTo>
                  <a:cubicBezTo>
                    <a:pt x="76715" y="111462"/>
                    <a:pt x="77771" y="113833"/>
                    <a:pt x="78475" y="113833"/>
                  </a:cubicBezTo>
                  <a:cubicBezTo>
                    <a:pt x="78475" y="113833"/>
                    <a:pt x="78475" y="113833"/>
                    <a:pt x="78475" y="113833"/>
                  </a:cubicBezTo>
                  <a:cubicBezTo>
                    <a:pt x="79178" y="113833"/>
                    <a:pt x="80938" y="114782"/>
                    <a:pt x="80938" y="114782"/>
                  </a:cubicBezTo>
                  <a:cubicBezTo>
                    <a:pt x="81290" y="114782"/>
                    <a:pt x="81290" y="115256"/>
                    <a:pt x="81290" y="115256"/>
                  </a:cubicBezTo>
                  <a:cubicBezTo>
                    <a:pt x="82697" y="117628"/>
                    <a:pt x="84105" y="120000"/>
                    <a:pt x="84809" y="120000"/>
                  </a:cubicBezTo>
                  <a:cubicBezTo>
                    <a:pt x="85865" y="120000"/>
                    <a:pt x="86217" y="119525"/>
                    <a:pt x="86568" y="118577"/>
                  </a:cubicBezTo>
                  <a:cubicBezTo>
                    <a:pt x="86920" y="118102"/>
                    <a:pt x="86920" y="117154"/>
                    <a:pt x="87272" y="116205"/>
                  </a:cubicBezTo>
                  <a:cubicBezTo>
                    <a:pt x="88328" y="112885"/>
                    <a:pt x="89032" y="110513"/>
                    <a:pt x="90087" y="110039"/>
                  </a:cubicBezTo>
                  <a:cubicBezTo>
                    <a:pt x="90087" y="109565"/>
                    <a:pt x="90791" y="108616"/>
                    <a:pt x="91495" y="108142"/>
                  </a:cubicBezTo>
                  <a:cubicBezTo>
                    <a:pt x="92551" y="105770"/>
                    <a:pt x="93958" y="103873"/>
                    <a:pt x="95014" y="105296"/>
                  </a:cubicBezTo>
                  <a:cubicBezTo>
                    <a:pt x="95366" y="105770"/>
                    <a:pt x="95718" y="106245"/>
                    <a:pt x="95718" y="106719"/>
                  </a:cubicBezTo>
                  <a:cubicBezTo>
                    <a:pt x="96070" y="107193"/>
                    <a:pt x="96774" y="108142"/>
                    <a:pt x="97126" y="108142"/>
                  </a:cubicBezTo>
                  <a:cubicBezTo>
                    <a:pt x="97126" y="107667"/>
                    <a:pt x="97478" y="107193"/>
                    <a:pt x="97829" y="106719"/>
                  </a:cubicBezTo>
                  <a:cubicBezTo>
                    <a:pt x="98533" y="105770"/>
                    <a:pt x="99589" y="103873"/>
                    <a:pt x="100645" y="104822"/>
                  </a:cubicBezTo>
                  <a:cubicBezTo>
                    <a:pt x="101348" y="105296"/>
                    <a:pt x="101348" y="105296"/>
                    <a:pt x="101348" y="105296"/>
                  </a:cubicBezTo>
                  <a:cubicBezTo>
                    <a:pt x="102052" y="105770"/>
                    <a:pt x="103460" y="107193"/>
                    <a:pt x="104164" y="107193"/>
                  </a:cubicBezTo>
                  <a:cubicBezTo>
                    <a:pt x="104164" y="106719"/>
                    <a:pt x="104516" y="106245"/>
                    <a:pt x="104516" y="105770"/>
                  </a:cubicBezTo>
                  <a:cubicBezTo>
                    <a:pt x="105571" y="104822"/>
                    <a:pt x="106627" y="102924"/>
                    <a:pt x="107683" y="103399"/>
                  </a:cubicBezTo>
                  <a:cubicBezTo>
                    <a:pt x="109090" y="103399"/>
                    <a:pt x="111906" y="102924"/>
                    <a:pt x="112609" y="102924"/>
                  </a:cubicBezTo>
                  <a:cubicBezTo>
                    <a:pt x="113313" y="102450"/>
                    <a:pt x="117536" y="99604"/>
                    <a:pt x="119999" y="98181"/>
                  </a:cubicBezTo>
                  <a:cubicBezTo>
                    <a:pt x="119648" y="97233"/>
                    <a:pt x="119296" y="96284"/>
                    <a:pt x="118944" y="95810"/>
                  </a:cubicBezTo>
                  <a:cubicBezTo>
                    <a:pt x="117888" y="94387"/>
                    <a:pt x="117184" y="92964"/>
                    <a:pt x="116832" y="91541"/>
                  </a:cubicBezTo>
                  <a:cubicBezTo>
                    <a:pt x="116480" y="89644"/>
                    <a:pt x="117184" y="83003"/>
                    <a:pt x="117888" y="77786"/>
                  </a:cubicBezTo>
                  <a:cubicBezTo>
                    <a:pt x="117888" y="76363"/>
                    <a:pt x="117536" y="72569"/>
                    <a:pt x="117184" y="71146"/>
                  </a:cubicBezTo>
                  <a:cubicBezTo>
                    <a:pt x="116832" y="70671"/>
                    <a:pt x="116832" y="70197"/>
                    <a:pt x="116832" y="69249"/>
                  </a:cubicBezTo>
                  <a:cubicBezTo>
                    <a:pt x="116480" y="67826"/>
                    <a:pt x="116129" y="65928"/>
                    <a:pt x="115425" y="64505"/>
                  </a:cubicBezTo>
                  <a:cubicBezTo>
                    <a:pt x="114721" y="62134"/>
                    <a:pt x="114369" y="55019"/>
                    <a:pt x="114369" y="52173"/>
                  </a:cubicBezTo>
                  <a:cubicBezTo>
                    <a:pt x="112961" y="52648"/>
                    <a:pt x="111554" y="52173"/>
                    <a:pt x="110146" y="52173"/>
                  </a:cubicBezTo>
                  <a:cubicBezTo>
                    <a:pt x="109794" y="52173"/>
                    <a:pt x="109090" y="51699"/>
                    <a:pt x="108739" y="51699"/>
                  </a:cubicBezTo>
                  <a:cubicBezTo>
                    <a:pt x="108035" y="52173"/>
                    <a:pt x="104868" y="56916"/>
                    <a:pt x="103812" y="58339"/>
                  </a:cubicBezTo>
                  <a:cubicBezTo>
                    <a:pt x="103460" y="59288"/>
                    <a:pt x="103108" y="59762"/>
                    <a:pt x="102756" y="59762"/>
                  </a:cubicBezTo>
                  <a:cubicBezTo>
                    <a:pt x="102756" y="60237"/>
                    <a:pt x="102404" y="60711"/>
                    <a:pt x="102052" y="60711"/>
                  </a:cubicBezTo>
                  <a:cubicBezTo>
                    <a:pt x="101700" y="60711"/>
                    <a:pt x="101700" y="60711"/>
                    <a:pt x="101700" y="60711"/>
                  </a:cubicBezTo>
                  <a:cubicBezTo>
                    <a:pt x="100645" y="60237"/>
                    <a:pt x="99941" y="58814"/>
                    <a:pt x="99589" y="57865"/>
                  </a:cubicBezTo>
                  <a:cubicBezTo>
                    <a:pt x="98533" y="55968"/>
                    <a:pt x="99941" y="54545"/>
                    <a:pt x="100645" y="53596"/>
                  </a:cubicBezTo>
                  <a:cubicBezTo>
                    <a:pt x="100645" y="53596"/>
                    <a:pt x="100645" y="53596"/>
                    <a:pt x="100645" y="53596"/>
                  </a:cubicBezTo>
                  <a:cubicBezTo>
                    <a:pt x="100645" y="53596"/>
                    <a:pt x="100645" y="53122"/>
                    <a:pt x="99941" y="52648"/>
                  </a:cubicBezTo>
                  <a:cubicBezTo>
                    <a:pt x="98885" y="51225"/>
                    <a:pt x="98885" y="48379"/>
                    <a:pt x="98885" y="46956"/>
                  </a:cubicBezTo>
                  <a:cubicBezTo>
                    <a:pt x="98885" y="45059"/>
                    <a:pt x="98181" y="38418"/>
                    <a:pt x="97829" y="36996"/>
                  </a:cubicBezTo>
                  <a:cubicBezTo>
                    <a:pt x="97478" y="36047"/>
                    <a:pt x="96070" y="35098"/>
                    <a:pt x="95366" y="34624"/>
                  </a:cubicBezTo>
                  <a:cubicBezTo>
                    <a:pt x="95014" y="35098"/>
                    <a:pt x="93958" y="36521"/>
                    <a:pt x="93607" y="37470"/>
                  </a:cubicBezTo>
                  <a:cubicBezTo>
                    <a:pt x="93255" y="37944"/>
                    <a:pt x="92903" y="38418"/>
                    <a:pt x="92551" y="38418"/>
                  </a:cubicBezTo>
                  <a:cubicBezTo>
                    <a:pt x="91847" y="39841"/>
                    <a:pt x="90791" y="40316"/>
                    <a:pt x="89384" y="40790"/>
                  </a:cubicBezTo>
                  <a:cubicBezTo>
                    <a:pt x="89032" y="40790"/>
                    <a:pt x="89032" y="40790"/>
                    <a:pt x="89032" y="40790"/>
                  </a:cubicBezTo>
                  <a:cubicBezTo>
                    <a:pt x="87976" y="41264"/>
                    <a:pt x="82346" y="41739"/>
                    <a:pt x="81642" y="41264"/>
                  </a:cubicBezTo>
                  <a:cubicBezTo>
                    <a:pt x="80234" y="41264"/>
                    <a:pt x="77419" y="35098"/>
                    <a:pt x="76715" y="34150"/>
                  </a:cubicBezTo>
                  <a:cubicBezTo>
                    <a:pt x="76363" y="33675"/>
                    <a:pt x="73548" y="33675"/>
                    <a:pt x="68621" y="34150"/>
                  </a:cubicBezTo>
                  <a:cubicBezTo>
                    <a:pt x="67917" y="34150"/>
                    <a:pt x="67214" y="34150"/>
                    <a:pt x="67214" y="34150"/>
                  </a:cubicBezTo>
                  <a:cubicBezTo>
                    <a:pt x="66510" y="34150"/>
                    <a:pt x="65454" y="34150"/>
                    <a:pt x="60527" y="24189"/>
                  </a:cubicBezTo>
                  <a:cubicBezTo>
                    <a:pt x="60175" y="23241"/>
                    <a:pt x="57360" y="19446"/>
                    <a:pt x="55249" y="17549"/>
                  </a:cubicBezTo>
                  <a:cubicBezTo>
                    <a:pt x="54545" y="16600"/>
                    <a:pt x="53841" y="15652"/>
                    <a:pt x="53489" y="15177"/>
                  </a:cubicBezTo>
                  <a:cubicBezTo>
                    <a:pt x="52785" y="14229"/>
                    <a:pt x="46099" y="10434"/>
                    <a:pt x="44692" y="9486"/>
                  </a:cubicBezTo>
                  <a:cubicBezTo>
                    <a:pt x="43988" y="9011"/>
                    <a:pt x="43284" y="8537"/>
                    <a:pt x="42228" y="7588"/>
                  </a:cubicBezTo>
                  <a:cubicBezTo>
                    <a:pt x="41173" y="7114"/>
                    <a:pt x="40117" y="6166"/>
                    <a:pt x="39765" y="6166"/>
                  </a:cubicBezTo>
                  <a:cubicBezTo>
                    <a:pt x="39061" y="5691"/>
                    <a:pt x="30967" y="5217"/>
                    <a:pt x="29208" y="5217"/>
                  </a:cubicBezTo>
                  <a:cubicBezTo>
                    <a:pt x="27800" y="5217"/>
                    <a:pt x="25337" y="2371"/>
                    <a:pt x="24633" y="1422"/>
                  </a:cubicBezTo>
                  <a:cubicBezTo>
                    <a:pt x="24633" y="948"/>
                    <a:pt x="22521" y="474"/>
                    <a:pt x="20410" y="0"/>
                  </a:cubicBezTo>
                  <a:cubicBezTo>
                    <a:pt x="21114" y="14229"/>
                    <a:pt x="20762" y="15652"/>
                    <a:pt x="20058" y="16126"/>
                  </a:cubicBezTo>
                  <a:cubicBezTo>
                    <a:pt x="19002" y="16600"/>
                    <a:pt x="16891" y="19446"/>
                    <a:pt x="16891" y="20395"/>
                  </a:cubicBezTo>
                  <a:cubicBezTo>
                    <a:pt x="17243" y="21343"/>
                    <a:pt x="17947" y="27984"/>
                    <a:pt x="16891" y="29407"/>
                  </a:cubicBezTo>
                  <a:cubicBezTo>
                    <a:pt x="16891" y="29407"/>
                    <a:pt x="16891" y="29881"/>
                    <a:pt x="16891" y="29881"/>
                  </a:cubicBezTo>
                  <a:cubicBezTo>
                    <a:pt x="16539" y="30830"/>
                    <a:pt x="15835" y="32727"/>
                    <a:pt x="14428" y="32252"/>
                  </a:cubicBezTo>
                  <a:cubicBezTo>
                    <a:pt x="13724" y="32252"/>
                    <a:pt x="13372" y="31778"/>
                    <a:pt x="13020" y="31778"/>
                  </a:cubicBezTo>
                  <a:cubicBezTo>
                    <a:pt x="11964" y="31304"/>
                    <a:pt x="10557" y="30830"/>
                    <a:pt x="10205" y="31304"/>
                  </a:cubicBezTo>
                  <a:cubicBezTo>
                    <a:pt x="9149" y="31778"/>
                    <a:pt x="4574" y="37470"/>
                    <a:pt x="4222" y="38418"/>
                  </a:cubicBezTo>
                  <a:cubicBezTo>
                    <a:pt x="3519" y="39841"/>
                    <a:pt x="1407" y="46007"/>
                    <a:pt x="1407" y="46956"/>
                  </a:cubicBezTo>
                  <a:cubicBezTo>
                    <a:pt x="1407" y="47430"/>
                    <a:pt x="1759" y="49328"/>
                    <a:pt x="1759" y="51225"/>
                  </a:cubicBezTo>
                  <a:cubicBezTo>
                    <a:pt x="2111" y="54071"/>
                    <a:pt x="2463" y="56916"/>
                    <a:pt x="2463" y="57865"/>
                  </a:cubicBezTo>
                  <a:cubicBezTo>
                    <a:pt x="2463" y="58339"/>
                    <a:pt x="2111" y="58814"/>
                    <a:pt x="2111" y="59288"/>
                  </a:cubicBezTo>
                  <a:cubicBezTo>
                    <a:pt x="2111" y="61185"/>
                    <a:pt x="2111" y="64980"/>
                    <a:pt x="2463" y="65454"/>
                  </a:cubicBezTo>
                  <a:cubicBezTo>
                    <a:pt x="2463" y="65454"/>
                    <a:pt x="2815" y="65928"/>
                    <a:pt x="2815" y="65928"/>
                  </a:cubicBezTo>
                  <a:cubicBezTo>
                    <a:pt x="3870" y="66877"/>
                    <a:pt x="4926" y="68300"/>
                    <a:pt x="4926" y="69723"/>
                  </a:cubicBezTo>
                  <a:cubicBezTo>
                    <a:pt x="4926" y="70197"/>
                    <a:pt x="4926" y="70197"/>
                    <a:pt x="4926" y="70671"/>
                  </a:cubicBezTo>
                  <a:cubicBezTo>
                    <a:pt x="4926" y="72094"/>
                    <a:pt x="4926" y="73517"/>
                    <a:pt x="4222" y="74466"/>
                  </a:cubicBezTo>
                  <a:cubicBezTo>
                    <a:pt x="3870" y="74466"/>
                    <a:pt x="2463" y="76837"/>
                    <a:pt x="2111" y="77786"/>
                  </a:cubicBezTo>
                  <a:cubicBezTo>
                    <a:pt x="2111" y="78260"/>
                    <a:pt x="1055" y="82055"/>
                    <a:pt x="0" y="85849"/>
                  </a:cubicBezTo>
                  <a:cubicBezTo>
                    <a:pt x="703" y="85375"/>
                    <a:pt x="1759" y="84901"/>
                    <a:pt x="2111" y="84901"/>
                  </a:cubicBezTo>
                  <a:cubicBezTo>
                    <a:pt x="4222" y="85375"/>
                    <a:pt x="8093" y="85375"/>
                    <a:pt x="9149" y="84426"/>
                  </a:cubicBezTo>
                  <a:cubicBezTo>
                    <a:pt x="9853" y="83478"/>
                    <a:pt x="12316" y="79209"/>
                    <a:pt x="13372" y="79209"/>
                  </a:cubicBezTo>
                  <a:cubicBezTo>
                    <a:pt x="14780" y="79209"/>
                    <a:pt x="19002" y="80632"/>
                    <a:pt x="17595" y="83478"/>
                  </a:cubicBezTo>
                  <a:cubicBezTo>
                    <a:pt x="16187" y="86324"/>
                    <a:pt x="15483" y="89169"/>
                    <a:pt x="14780" y="89169"/>
                  </a:cubicBezTo>
                  <a:cubicBezTo>
                    <a:pt x="13724" y="89644"/>
                    <a:pt x="11612" y="89169"/>
                    <a:pt x="11612" y="91541"/>
                  </a:cubicBezTo>
                  <a:cubicBezTo>
                    <a:pt x="11612" y="93913"/>
                    <a:pt x="11612" y="95335"/>
                    <a:pt x="13020" y="96284"/>
                  </a:cubicBezTo>
                  <a:cubicBezTo>
                    <a:pt x="14428" y="97233"/>
                    <a:pt x="17947" y="100553"/>
                    <a:pt x="18299" y="101976"/>
                  </a:cubicBezTo>
                  <a:cubicBezTo>
                    <a:pt x="19002" y="103399"/>
                    <a:pt x="20410" y="109090"/>
                    <a:pt x="21818" y="110039"/>
                  </a:cubicBezTo>
                  <a:cubicBezTo>
                    <a:pt x="22170" y="110513"/>
                    <a:pt x="23225" y="111936"/>
                    <a:pt x="23929" y="112885"/>
                  </a:cubicBezTo>
                  <a:cubicBezTo>
                    <a:pt x="24281" y="112885"/>
                    <a:pt x="24281" y="112885"/>
                    <a:pt x="24281" y="112885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8" name="Shape 6962">
              <a:extLst>
                <a:ext uri="{FF2B5EF4-FFF2-40B4-BE49-F238E27FC236}">
                  <a16:creationId xmlns:a16="http://schemas.microsoft.com/office/drawing/2014/main" id="{C50D31A4-AF47-419A-9415-320598D66913}"/>
                </a:ext>
              </a:extLst>
            </p:cNvPr>
            <p:cNvSpPr/>
            <p:nvPr/>
          </p:nvSpPr>
          <p:spPr>
            <a:xfrm>
              <a:off x="5157586" y="4251922"/>
              <a:ext cx="1154771" cy="99102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74247" y="112981"/>
                  </a:moveTo>
                  <a:cubicBezTo>
                    <a:pt x="74046" y="112528"/>
                    <a:pt x="74247" y="111849"/>
                    <a:pt x="78260" y="107547"/>
                  </a:cubicBezTo>
                  <a:cubicBezTo>
                    <a:pt x="78662" y="107094"/>
                    <a:pt x="78662" y="107094"/>
                    <a:pt x="78662" y="107094"/>
                  </a:cubicBezTo>
                  <a:cubicBezTo>
                    <a:pt x="78662" y="107094"/>
                    <a:pt x="78461" y="106641"/>
                    <a:pt x="77458" y="105509"/>
                  </a:cubicBezTo>
                  <a:cubicBezTo>
                    <a:pt x="77458" y="105509"/>
                    <a:pt x="77458" y="105509"/>
                    <a:pt x="77257" y="105509"/>
                  </a:cubicBezTo>
                  <a:cubicBezTo>
                    <a:pt x="77056" y="105283"/>
                    <a:pt x="76655" y="105509"/>
                    <a:pt x="76254" y="105735"/>
                  </a:cubicBezTo>
                  <a:cubicBezTo>
                    <a:pt x="75652" y="105962"/>
                    <a:pt x="75250" y="105962"/>
                    <a:pt x="75050" y="105962"/>
                  </a:cubicBezTo>
                  <a:cubicBezTo>
                    <a:pt x="74247" y="105735"/>
                    <a:pt x="74448" y="104603"/>
                    <a:pt x="74648" y="101886"/>
                  </a:cubicBezTo>
                  <a:cubicBezTo>
                    <a:pt x="74648" y="101433"/>
                    <a:pt x="74849" y="100981"/>
                    <a:pt x="74849" y="100754"/>
                  </a:cubicBezTo>
                  <a:cubicBezTo>
                    <a:pt x="74849" y="99849"/>
                    <a:pt x="75250" y="99622"/>
                    <a:pt x="75652" y="99396"/>
                  </a:cubicBezTo>
                  <a:cubicBezTo>
                    <a:pt x="75852" y="99396"/>
                    <a:pt x="75852" y="99396"/>
                    <a:pt x="76053" y="99396"/>
                  </a:cubicBezTo>
                  <a:cubicBezTo>
                    <a:pt x="76053" y="99169"/>
                    <a:pt x="75852" y="98716"/>
                    <a:pt x="75852" y="98490"/>
                  </a:cubicBezTo>
                  <a:cubicBezTo>
                    <a:pt x="75652" y="98490"/>
                    <a:pt x="75652" y="98264"/>
                    <a:pt x="75652" y="98264"/>
                  </a:cubicBezTo>
                  <a:cubicBezTo>
                    <a:pt x="75250" y="97811"/>
                    <a:pt x="75250" y="96905"/>
                    <a:pt x="75250" y="95773"/>
                  </a:cubicBezTo>
                  <a:cubicBezTo>
                    <a:pt x="75250" y="95547"/>
                    <a:pt x="75451" y="95320"/>
                    <a:pt x="75451" y="95320"/>
                  </a:cubicBezTo>
                  <a:cubicBezTo>
                    <a:pt x="75451" y="94641"/>
                    <a:pt x="75852" y="93735"/>
                    <a:pt x="76655" y="93056"/>
                  </a:cubicBezTo>
                  <a:cubicBezTo>
                    <a:pt x="77458" y="92603"/>
                    <a:pt x="78662" y="92603"/>
                    <a:pt x="79665" y="93056"/>
                  </a:cubicBezTo>
                  <a:cubicBezTo>
                    <a:pt x="80668" y="93509"/>
                    <a:pt x="80869" y="93283"/>
                    <a:pt x="81270" y="92830"/>
                  </a:cubicBezTo>
                  <a:cubicBezTo>
                    <a:pt x="81672" y="92150"/>
                    <a:pt x="85284" y="88528"/>
                    <a:pt x="85685" y="88075"/>
                  </a:cubicBezTo>
                  <a:cubicBezTo>
                    <a:pt x="86086" y="87849"/>
                    <a:pt x="86688" y="88075"/>
                    <a:pt x="88494" y="88301"/>
                  </a:cubicBezTo>
                  <a:cubicBezTo>
                    <a:pt x="89297" y="88301"/>
                    <a:pt x="90301" y="88528"/>
                    <a:pt x="90501" y="88528"/>
                  </a:cubicBezTo>
                  <a:cubicBezTo>
                    <a:pt x="90903" y="88301"/>
                    <a:pt x="91705" y="85584"/>
                    <a:pt x="92107" y="83547"/>
                  </a:cubicBezTo>
                  <a:cubicBezTo>
                    <a:pt x="92107" y="82867"/>
                    <a:pt x="92909" y="82641"/>
                    <a:pt x="93511" y="82415"/>
                  </a:cubicBezTo>
                  <a:cubicBezTo>
                    <a:pt x="93712" y="82415"/>
                    <a:pt x="93913" y="82415"/>
                    <a:pt x="94113" y="82415"/>
                  </a:cubicBezTo>
                  <a:cubicBezTo>
                    <a:pt x="94515" y="82188"/>
                    <a:pt x="95518" y="80830"/>
                    <a:pt x="95719" y="80377"/>
                  </a:cubicBezTo>
                  <a:cubicBezTo>
                    <a:pt x="95919" y="79924"/>
                    <a:pt x="96722" y="76528"/>
                    <a:pt x="96722" y="76075"/>
                  </a:cubicBezTo>
                  <a:cubicBezTo>
                    <a:pt x="96722" y="75396"/>
                    <a:pt x="97725" y="74943"/>
                    <a:pt x="99130" y="74716"/>
                  </a:cubicBezTo>
                  <a:cubicBezTo>
                    <a:pt x="99331" y="74716"/>
                    <a:pt x="99331" y="74716"/>
                    <a:pt x="99531" y="74716"/>
                  </a:cubicBezTo>
                  <a:cubicBezTo>
                    <a:pt x="99732" y="74490"/>
                    <a:pt x="100735" y="73132"/>
                    <a:pt x="100936" y="72679"/>
                  </a:cubicBezTo>
                  <a:cubicBezTo>
                    <a:pt x="101137" y="72452"/>
                    <a:pt x="101337" y="72226"/>
                    <a:pt x="101538" y="72226"/>
                  </a:cubicBezTo>
                  <a:cubicBezTo>
                    <a:pt x="101739" y="72000"/>
                    <a:pt x="102140" y="71773"/>
                    <a:pt x="103344" y="71094"/>
                  </a:cubicBezTo>
                  <a:cubicBezTo>
                    <a:pt x="103745" y="70867"/>
                    <a:pt x="104548" y="70415"/>
                    <a:pt x="104548" y="70415"/>
                  </a:cubicBezTo>
                  <a:cubicBezTo>
                    <a:pt x="104949" y="69962"/>
                    <a:pt x="108762" y="66339"/>
                    <a:pt x="109163" y="65433"/>
                  </a:cubicBezTo>
                  <a:cubicBezTo>
                    <a:pt x="109765" y="64754"/>
                    <a:pt x="109966" y="63396"/>
                    <a:pt x="109966" y="62490"/>
                  </a:cubicBezTo>
                  <a:cubicBezTo>
                    <a:pt x="110167" y="62264"/>
                    <a:pt x="110167" y="62037"/>
                    <a:pt x="110167" y="62037"/>
                  </a:cubicBezTo>
                  <a:cubicBezTo>
                    <a:pt x="110367" y="61132"/>
                    <a:pt x="109565" y="60226"/>
                    <a:pt x="109163" y="59773"/>
                  </a:cubicBezTo>
                  <a:cubicBezTo>
                    <a:pt x="108561" y="59094"/>
                    <a:pt x="108762" y="58641"/>
                    <a:pt x="108762" y="58188"/>
                  </a:cubicBezTo>
                  <a:cubicBezTo>
                    <a:pt x="108762" y="57962"/>
                    <a:pt x="108963" y="57735"/>
                    <a:pt x="108963" y="57509"/>
                  </a:cubicBezTo>
                  <a:cubicBezTo>
                    <a:pt x="108762" y="57509"/>
                    <a:pt x="107959" y="57283"/>
                    <a:pt x="107558" y="57283"/>
                  </a:cubicBezTo>
                  <a:cubicBezTo>
                    <a:pt x="107157" y="57283"/>
                    <a:pt x="106956" y="57283"/>
                    <a:pt x="106755" y="57056"/>
                  </a:cubicBezTo>
                  <a:cubicBezTo>
                    <a:pt x="106354" y="56830"/>
                    <a:pt x="106153" y="56377"/>
                    <a:pt x="105752" y="53433"/>
                  </a:cubicBezTo>
                  <a:cubicBezTo>
                    <a:pt x="105551" y="53207"/>
                    <a:pt x="105551" y="52981"/>
                    <a:pt x="105551" y="52754"/>
                  </a:cubicBezTo>
                  <a:cubicBezTo>
                    <a:pt x="105351" y="52075"/>
                    <a:pt x="107759" y="48226"/>
                    <a:pt x="107759" y="48000"/>
                  </a:cubicBezTo>
                  <a:cubicBezTo>
                    <a:pt x="107959" y="47773"/>
                    <a:pt x="108160" y="47547"/>
                    <a:pt x="108561" y="47094"/>
                  </a:cubicBezTo>
                  <a:cubicBezTo>
                    <a:pt x="108963" y="46641"/>
                    <a:pt x="109565" y="46188"/>
                    <a:pt x="109765" y="45735"/>
                  </a:cubicBezTo>
                  <a:cubicBezTo>
                    <a:pt x="110167" y="45056"/>
                    <a:pt x="110367" y="45056"/>
                    <a:pt x="110367" y="44603"/>
                  </a:cubicBezTo>
                  <a:cubicBezTo>
                    <a:pt x="110367" y="44377"/>
                    <a:pt x="110367" y="44377"/>
                    <a:pt x="110367" y="44377"/>
                  </a:cubicBezTo>
                  <a:cubicBezTo>
                    <a:pt x="110568" y="43698"/>
                    <a:pt x="112374" y="39622"/>
                    <a:pt x="112775" y="38943"/>
                  </a:cubicBezTo>
                  <a:cubicBezTo>
                    <a:pt x="112976" y="38490"/>
                    <a:pt x="114180" y="37358"/>
                    <a:pt x="115183" y="36226"/>
                  </a:cubicBezTo>
                  <a:cubicBezTo>
                    <a:pt x="115384" y="36000"/>
                    <a:pt x="115585" y="35773"/>
                    <a:pt x="115585" y="35773"/>
                  </a:cubicBezTo>
                  <a:cubicBezTo>
                    <a:pt x="115785" y="35547"/>
                    <a:pt x="116588" y="35094"/>
                    <a:pt x="118193" y="34641"/>
                  </a:cubicBezTo>
                  <a:cubicBezTo>
                    <a:pt x="118394" y="34415"/>
                    <a:pt x="118795" y="34415"/>
                    <a:pt x="118795" y="34415"/>
                  </a:cubicBezTo>
                  <a:cubicBezTo>
                    <a:pt x="119197" y="33962"/>
                    <a:pt x="120000" y="30339"/>
                    <a:pt x="120000" y="29886"/>
                  </a:cubicBezTo>
                  <a:cubicBezTo>
                    <a:pt x="120000" y="29433"/>
                    <a:pt x="119799" y="28301"/>
                    <a:pt x="119598" y="27849"/>
                  </a:cubicBezTo>
                  <a:cubicBezTo>
                    <a:pt x="119397" y="27622"/>
                    <a:pt x="118996" y="27169"/>
                    <a:pt x="118795" y="26943"/>
                  </a:cubicBezTo>
                  <a:cubicBezTo>
                    <a:pt x="118394" y="26490"/>
                    <a:pt x="117993" y="26037"/>
                    <a:pt x="117792" y="25584"/>
                  </a:cubicBezTo>
                  <a:cubicBezTo>
                    <a:pt x="117591" y="25132"/>
                    <a:pt x="115785" y="24000"/>
                    <a:pt x="115183" y="23773"/>
                  </a:cubicBezTo>
                  <a:cubicBezTo>
                    <a:pt x="114782" y="23547"/>
                    <a:pt x="114581" y="23320"/>
                    <a:pt x="114581" y="23320"/>
                  </a:cubicBezTo>
                  <a:cubicBezTo>
                    <a:pt x="114381" y="23320"/>
                    <a:pt x="113979" y="23547"/>
                    <a:pt x="113578" y="23773"/>
                  </a:cubicBezTo>
                  <a:cubicBezTo>
                    <a:pt x="113177" y="23773"/>
                    <a:pt x="112775" y="24000"/>
                    <a:pt x="112575" y="24000"/>
                  </a:cubicBezTo>
                  <a:cubicBezTo>
                    <a:pt x="111772" y="24226"/>
                    <a:pt x="110969" y="23547"/>
                    <a:pt x="109565" y="21509"/>
                  </a:cubicBezTo>
                  <a:cubicBezTo>
                    <a:pt x="109163" y="21056"/>
                    <a:pt x="108762" y="19698"/>
                    <a:pt x="108361" y="18113"/>
                  </a:cubicBezTo>
                  <a:cubicBezTo>
                    <a:pt x="108361" y="17433"/>
                    <a:pt x="108160" y="16981"/>
                    <a:pt x="108160" y="16754"/>
                  </a:cubicBezTo>
                  <a:cubicBezTo>
                    <a:pt x="107959" y="16528"/>
                    <a:pt x="107357" y="15849"/>
                    <a:pt x="107157" y="15396"/>
                  </a:cubicBezTo>
                  <a:cubicBezTo>
                    <a:pt x="106755" y="15169"/>
                    <a:pt x="106555" y="14943"/>
                    <a:pt x="106354" y="14716"/>
                  </a:cubicBezTo>
                  <a:cubicBezTo>
                    <a:pt x="105953" y="13811"/>
                    <a:pt x="105752" y="11547"/>
                    <a:pt x="105752" y="11094"/>
                  </a:cubicBezTo>
                  <a:cubicBezTo>
                    <a:pt x="105752" y="10867"/>
                    <a:pt x="105150" y="10641"/>
                    <a:pt x="104147" y="10188"/>
                  </a:cubicBezTo>
                  <a:cubicBezTo>
                    <a:pt x="103946" y="9962"/>
                    <a:pt x="103745" y="9962"/>
                    <a:pt x="103745" y="9962"/>
                  </a:cubicBezTo>
                  <a:cubicBezTo>
                    <a:pt x="103143" y="9509"/>
                    <a:pt x="102943" y="8603"/>
                    <a:pt x="102742" y="8377"/>
                  </a:cubicBezTo>
                  <a:cubicBezTo>
                    <a:pt x="102742" y="8377"/>
                    <a:pt x="102742" y="8377"/>
                    <a:pt x="102742" y="8150"/>
                  </a:cubicBezTo>
                  <a:cubicBezTo>
                    <a:pt x="102742" y="8150"/>
                    <a:pt x="102742" y="8150"/>
                    <a:pt x="102742" y="8150"/>
                  </a:cubicBezTo>
                  <a:cubicBezTo>
                    <a:pt x="102742" y="5886"/>
                    <a:pt x="102943" y="4754"/>
                    <a:pt x="103143" y="4301"/>
                  </a:cubicBezTo>
                  <a:cubicBezTo>
                    <a:pt x="103143" y="4301"/>
                    <a:pt x="103143" y="4301"/>
                    <a:pt x="103143" y="4301"/>
                  </a:cubicBezTo>
                  <a:cubicBezTo>
                    <a:pt x="103344" y="4301"/>
                    <a:pt x="103344" y="4301"/>
                    <a:pt x="103344" y="4301"/>
                  </a:cubicBezTo>
                  <a:cubicBezTo>
                    <a:pt x="103344" y="4301"/>
                    <a:pt x="103545" y="4075"/>
                    <a:pt x="103745" y="3849"/>
                  </a:cubicBezTo>
                  <a:cubicBezTo>
                    <a:pt x="104949" y="2943"/>
                    <a:pt x="105551" y="2264"/>
                    <a:pt x="105752" y="2037"/>
                  </a:cubicBezTo>
                  <a:cubicBezTo>
                    <a:pt x="105551" y="1584"/>
                    <a:pt x="104949" y="905"/>
                    <a:pt x="104749" y="679"/>
                  </a:cubicBezTo>
                  <a:cubicBezTo>
                    <a:pt x="103946" y="226"/>
                    <a:pt x="103143" y="0"/>
                    <a:pt x="102742" y="0"/>
                  </a:cubicBezTo>
                  <a:cubicBezTo>
                    <a:pt x="102742" y="0"/>
                    <a:pt x="102742" y="0"/>
                    <a:pt x="102742" y="0"/>
                  </a:cubicBezTo>
                  <a:cubicBezTo>
                    <a:pt x="102742" y="0"/>
                    <a:pt x="102742" y="0"/>
                    <a:pt x="102742" y="0"/>
                  </a:cubicBezTo>
                  <a:cubicBezTo>
                    <a:pt x="101939" y="2490"/>
                    <a:pt x="101337" y="3396"/>
                    <a:pt x="100936" y="3622"/>
                  </a:cubicBezTo>
                  <a:cubicBezTo>
                    <a:pt x="98929" y="4528"/>
                    <a:pt x="98729" y="4981"/>
                    <a:pt x="98729" y="4981"/>
                  </a:cubicBezTo>
                  <a:cubicBezTo>
                    <a:pt x="98729" y="5207"/>
                    <a:pt x="98729" y="5660"/>
                    <a:pt x="98729" y="6113"/>
                  </a:cubicBezTo>
                  <a:cubicBezTo>
                    <a:pt x="98929" y="9509"/>
                    <a:pt x="98729" y="10641"/>
                    <a:pt x="98528" y="11094"/>
                  </a:cubicBezTo>
                  <a:cubicBezTo>
                    <a:pt x="98327" y="11320"/>
                    <a:pt x="98327" y="11320"/>
                    <a:pt x="98127" y="11320"/>
                  </a:cubicBezTo>
                  <a:cubicBezTo>
                    <a:pt x="97725" y="11320"/>
                    <a:pt x="96120" y="11547"/>
                    <a:pt x="95719" y="11773"/>
                  </a:cubicBezTo>
                  <a:cubicBezTo>
                    <a:pt x="95919" y="11773"/>
                    <a:pt x="93913" y="14943"/>
                    <a:pt x="93110" y="14490"/>
                  </a:cubicBezTo>
                  <a:cubicBezTo>
                    <a:pt x="92508" y="14264"/>
                    <a:pt x="91505" y="14037"/>
                    <a:pt x="91304" y="14037"/>
                  </a:cubicBezTo>
                  <a:cubicBezTo>
                    <a:pt x="91304" y="14037"/>
                    <a:pt x="91304" y="14264"/>
                    <a:pt x="91103" y="14264"/>
                  </a:cubicBezTo>
                  <a:cubicBezTo>
                    <a:pt x="90501" y="14716"/>
                    <a:pt x="89698" y="15396"/>
                    <a:pt x="89096" y="15396"/>
                  </a:cubicBezTo>
                  <a:cubicBezTo>
                    <a:pt x="88494" y="15396"/>
                    <a:pt x="85484" y="14716"/>
                    <a:pt x="84882" y="14264"/>
                  </a:cubicBezTo>
                  <a:cubicBezTo>
                    <a:pt x="84682" y="14037"/>
                    <a:pt x="84682" y="13811"/>
                    <a:pt x="84481" y="13811"/>
                  </a:cubicBezTo>
                  <a:cubicBezTo>
                    <a:pt x="84280" y="13584"/>
                    <a:pt x="83678" y="13132"/>
                    <a:pt x="83678" y="13132"/>
                  </a:cubicBezTo>
                  <a:cubicBezTo>
                    <a:pt x="83277" y="13584"/>
                    <a:pt x="82073" y="14490"/>
                    <a:pt x="81270" y="14490"/>
                  </a:cubicBezTo>
                  <a:cubicBezTo>
                    <a:pt x="81070" y="14716"/>
                    <a:pt x="78260" y="14943"/>
                    <a:pt x="77658" y="14037"/>
                  </a:cubicBezTo>
                  <a:cubicBezTo>
                    <a:pt x="77458" y="13584"/>
                    <a:pt x="77056" y="13358"/>
                    <a:pt x="76856" y="13358"/>
                  </a:cubicBezTo>
                  <a:cubicBezTo>
                    <a:pt x="76655" y="13584"/>
                    <a:pt x="76454" y="13811"/>
                    <a:pt x="76053" y="13811"/>
                  </a:cubicBezTo>
                  <a:cubicBezTo>
                    <a:pt x="75852" y="14037"/>
                    <a:pt x="75250" y="14490"/>
                    <a:pt x="75250" y="14716"/>
                  </a:cubicBezTo>
                  <a:cubicBezTo>
                    <a:pt x="75250" y="14716"/>
                    <a:pt x="75250" y="14943"/>
                    <a:pt x="75250" y="14943"/>
                  </a:cubicBezTo>
                  <a:cubicBezTo>
                    <a:pt x="75451" y="16301"/>
                    <a:pt x="75451" y="17660"/>
                    <a:pt x="74849" y="18113"/>
                  </a:cubicBezTo>
                  <a:cubicBezTo>
                    <a:pt x="74247" y="18566"/>
                    <a:pt x="71839" y="19471"/>
                    <a:pt x="71237" y="19245"/>
                  </a:cubicBezTo>
                  <a:cubicBezTo>
                    <a:pt x="71036" y="19245"/>
                    <a:pt x="70836" y="19245"/>
                    <a:pt x="70434" y="19018"/>
                  </a:cubicBezTo>
                  <a:cubicBezTo>
                    <a:pt x="69832" y="18792"/>
                    <a:pt x="68628" y="18339"/>
                    <a:pt x="68227" y="18339"/>
                  </a:cubicBezTo>
                  <a:cubicBezTo>
                    <a:pt x="68227" y="18566"/>
                    <a:pt x="68026" y="18566"/>
                    <a:pt x="67826" y="18566"/>
                  </a:cubicBezTo>
                  <a:cubicBezTo>
                    <a:pt x="67224" y="18792"/>
                    <a:pt x="66822" y="19018"/>
                    <a:pt x="66822" y="19018"/>
                  </a:cubicBezTo>
                  <a:cubicBezTo>
                    <a:pt x="66822" y="19245"/>
                    <a:pt x="66822" y="19245"/>
                    <a:pt x="66822" y="19471"/>
                  </a:cubicBezTo>
                  <a:cubicBezTo>
                    <a:pt x="66822" y="20603"/>
                    <a:pt x="67023" y="22188"/>
                    <a:pt x="66020" y="22188"/>
                  </a:cubicBezTo>
                  <a:cubicBezTo>
                    <a:pt x="65819" y="22415"/>
                    <a:pt x="65618" y="22415"/>
                    <a:pt x="65418" y="22415"/>
                  </a:cubicBezTo>
                  <a:cubicBezTo>
                    <a:pt x="64816" y="22415"/>
                    <a:pt x="64214" y="22415"/>
                    <a:pt x="64013" y="22641"/>
                  </a:cubicBezTo>
                  <a:cubicBezTo>
                    <a:pt x="62608" y="23547"/>
                    <a:pt x="60401" y="25358"/>
                    <a:pt x="60200" y="26037"/>
                  </a:cubicBezTo>
                  <a:cubicBezTo>
                    <a:pt x="60200" y="26716"/>
                    <a:pt x="60602" y="29660"/>
                    <a:pt x="61003" y="29886"/>
                  </a:cubicBezTo>
                  <a:cubicBezTo>
                    <a:pt x="61003" y="29886"/>
                    <a:pt x="61404" y="30113"/>
                    <a:pt x="61605" y="30113"/>
                  </a:cubicBezTo>
                  <a:cubicBezTo>
                    <a:pt x="62408" y="30339"/>
                    <a:pt x="63210" y="30792"/>
                    <a:pt x="63812" y="31018"/>
                  </a:cubicBezTo>
                  <a:cubicBezTo>
                    <a:pt x="65016" y="31924"/>
                    <a:pt x="65618" y="32603"/>
                    <a:pt x="65418" y="33056"/>
                  </a:cubicBezTo>
                  <a:cubicBezTo>
                    <a:pt x="65418" y="33283"/>
                    <a:pt x="65418" y="33509"/>
                    <a:pt x="65016" y="33735"/>
                  </a:cubicBezTo>
                  <a:cubicBezTo>
                    <a:pt x="64615" y="33735"/>
                    <a:pt x="64214" y="34415"/>
                    <a:pt x="64013" y="34641"/>
                  </a:cubicBezTo>
                  <a:cubicBezTo>
                    <a:pt x="63411" y="35773"/>
                    <a:pt x="63010" y="36679"/>
                    <a:pt x="63010" y="36905"/>
                  </a:cubicBezTo>
                  <a:cubicBezTo>
                    <a:pt x="63210" y="37584"/>
                    <a:pt x="65618" y="50037"/>
                    <a:pt x="65819" y="50943"/>
                  </a:cubicBezTo>
                  <a:cubicBezTo>
                    <a:pt x="65819" y="51396"/>
                    <a:pt x="66220" y="52075"/>
                    <a:pt x="66622" y="52301"/>
                  </a:cubicBezTo>
                  <a:cubicBezTo>
                    <a:pt x="66822" y="52301"/>
                    <a:pt x="67023" y="52528"/>
                    <a:pt x="67224" y="52528"/>
                  </a:cubicBezTo>
                  <a:cubicBezTo>
                    <a:pt x="68026" y="52754"/>
                    <a:pt x="69230" y="53207"/>
                    <a:pt x="69030" y="54339"/>
                  </a:cubicBezTo>
                  <a:cubicBezTo>
                    <a:pt x="69030" y="54792"/>
                    <a:pt x="68628" y="55924"/>
                    <a:pt x="68227" y="57283"/>
                  </a:cubicBezTo>
                  <a:cubicBezTo>
                    <a:pt x="67826" y="58867"/>
                    <a:pt x="67224" y="60905"/>
                    <a:pt x="67224" y="61358"/>
                  </a:cubicBezTo>
                  <a:cubicBezTo>
                    <a:pt x="67224" y="61358"/>
                    <a:pt x="67023" y="72226"/>
                    <a:pt x="66020" y="73132"/>
                  </a:cubicBezTo>
                  <a:cubicBezTo>
                    <a:pt x="65618" y="73584"/>
                    <a:pt x="64816" y="74943"/>
                    <a:pt x="63812" y="76075"/>
                  </a:cubicBezTo>
                  <a:cubicBezTo>
                    <a:pt x="62809" y="77660"/>
                    <a:pt x="61605" y="79471"/>
                    <a:pt x="61003" y="80150"/>
                  </a:cubicBezTo>
                  <a:cubicBezTo>
                    <a:pt x="60000" y="81056"/>
                    <a:pt x="55785" y="85811"/>
                    <a:pt x="55585" y="86264"/>
                  </a:cubicBezTo>
                  <a:cubicBezTo>
                    <a:pt x="54983" y="87622"/>
                    <a:pt x="53779" y="91018"/>
                    <a:pt x="53177" y="92150"/>
                  </a:cubicBezTo>
                  <a:cubicBezTo>
                    <a:pt x="52575" y="93283"/>
                    <a:pt x="50568" y="96000"/>
                    <a:pt x="49966" y="96679"/>
                  </a:cubicBezTo>
                  <a:cubicBezTo>
                    <a:pt x="49364" y="97358"/>
                    <a:pt x="46755" y="99849"/>
                    <a:pt x="46755" y="99849"/>
                  </a:cubicBezTo>
                  <a:cubicBezTo>
                    <a:pt x="46354" y="100301"/>
                    <a:pt x="46354" y="102566"/>
                    <a:pt x="46354" y="103471"/>
                  </a:cubicBezTo>
                  <a:cubicBezTo>
                    <a:pt x="46354" y="104150"/>
                    <a:pt x="46354" y="104377"/>
                    <a:pt x="46153" y="104603"/>
                  </a:cubicBezTo>
                  <a:cubicBezTo>
                    <a:pt x="46153" y="105283"/>
                    <a:pt x="45150" y="105509"/>
                    <a:pt x="43946" y="105509"/>
                  </a:cubicBezTo>
                  <a:cubicBezTo>
                    <a:pt x="43745" y="105509"/>
                    <a:pt x="43344" y="105735"/>
                    <a:pt x="42943" y="105962"/>
                  </a:cubicBezTo>
                  <a:cubicBezTo>
                    <a:pt x="41939" y="106641"/>
                    <a:pt x="41337" y="106867"/>
                    <a:pt x="40735" y="106867"/>
                  </a:cubicBezTo>
                  <a:cubicBezTo>
                    <a:pt x="40334" y="106867"/>
                    <a:pt x="40133" y="106641"/>
                    <a:pt x="40133" y="106188"/>
                  </a:cubicBezTo>
                  <a:cubicBezTo>
                    <a:pt x="40133" y="105962"/>
                    <a:pt x="39933" y="105735"/>
                    <a:pt x="39531" y="104830"/>
                  </a:cubicBezTo>
                  <a:cubicBezTo>
                    <a:pt x="39130" y="103924"/>
                    <a:pt x="38127" y="104150"/>
                    <a:pt x="37123" y="104377"/>
                  </a:cubicBezTo>
                  <a:cubicBezTo>
                    <a:pt x="36722" y="104377"/>
                    <a:pt x="36521" y="104603"/>
                    <a:pt x="36321" y="104377"/>
                  </a:cubicBezTo>
                  <a:cubicBezTo>
                    <a:pt x="35518" y="104377"/>
                    <a:pt x="34113" y="101660"/>
                    <a:pt x="34113" y="101660"/>
                  </a:cubicBezTo>
                  <a:cubicBezTo>
                    <a:pt x="33712" y="100754"/>
                    <a:pt x="33712" y="100075"/>
                    <a:pt x="33913" y="99622"/>
                  </a:cubicBezTo>
                  <a:cubicBezTo>
                    <a:pt x="33913" y="99622"/>
                    <a:pt x="33913" y="99622"/>
                    <a:pt x="33913" y="99622"/>
                  </a:cubicBezTo>
                  <a:cubicBezTo>
                    <a:pt x="33712" y="99396"/>
                    <a:pt x="32909" y="99169"/>
                    <a:pt x="32508" y="99169"/>
                  </a:cubicBezTo>
                  <a:cubicBezTo>
                    <a:pt x="32307" y="99169"/>
                    <a:pt x="32107" y="99169"/>
                    <a:pt x="31906" y="98943"/>
                  </a:cubicBezTo>
                  <a:cubicBezTo>
                    <a:pt x="31304" y="98943"/>
                    <a:pt x="30501" y="98037"/>
                    <a:pt x="29899" y="97132"/>
                  </a:cubicBezTo>
                  <a:cubicBezTo>
                    <a:pt x="29297" y="96679"/>
                    <a:pt x="28695" y="96000"/>
                    <a:pt x="28494" y="95773"/>
                  </a:cubicBezTo>
                  <a:cubicBezTo>
                    <a:pt x="28294" y="95773"/>
                    <a:pt x="27290" y="95547"/>
                    <a:pt x="24280" y="96452"/>
                  </a:cubicBezTo>
                  <a:cubicBezTo>
                    <a:pt x="23478" y="96905"/>
                    <a:pt x="22675" y="95547"/>
                    <a:pt x="21872" y="94188"/>
                  </a:cubicBezTo>
                  <a:cubicBezTo>
                    <a:pt x="21672" y="94188"/>
                    <a:pt x="21672" y="93962"/>
                    <a:pt x="21672" y="93962"/>
                  </a:cubicBezTo>
                  <a:cubicBezTo>
                    <a:pt x="21471" y="93962"/>
                    <a:pt x="21270" y="93509"/>
                    <a:pt x="20267" y="93283"/>
                  </a:cubicBezTo>
                  <a:cubicBezTo>
                    <a:pt x="19866" y="93283"/>
                    <a:pt x="19264" y="92603"/>
                    <a:pt x="18461" y="91698"/>
                  </a:cubicBezTo>
                  <a:cubicBezTo>
                    <a:pt x="18260" y="91471"/>
                    <a:pt x="17859" y="91018"/>
                    <a:pt x="17658" y="90792"/>
                  </a:cubicBezTo>
                  <a:cubicBezTo>
                    <a:pt x="17257" y="90566"/>
                    <a:pt x="16454" y="90339"/>
                    <a:pt x="16053" y="90339"/>
                  </a:cubicBezTo>
                  <a:cubicBezTo>
                    <a:pt x="15852" y="90339"/>
                    <a:pt x="15652" y="90113"/>
                    <a:pt x="15652" y="90113"/>
                  </a:cubicBezTo>
                  <a:cubicBezTo>
                    <a:pt x="15652" y="90113"/>
                    <a:pt x="13645" y="89207"/>
                    <a:pt x="13444" y="88528"/>
                  </a:cubicBezTo>
                  <a:cubicBezTo>
                    <a:pt x="13244" y="88301"/>
                    <a:pt x="12240" y="87849"/>
                    <a:pt x="11839" y="87396"/>
                  </a:cubicBezTo>
                  <a:cubicBezTo>
                    <a:pt x="11237" y="87169"/>
                    <a:pt x="10836" y="86943"/>
                    <a:pt x="10635" y="86943"/>
                  </a:cubicBezTo>
                  <a:cubicBezTo>
                    <a:pt x="10234" y="86490"/>
                    <a:pt x="10234" y="85811"/>
                    <a:pt x="10234" y="85132"/>
                  </a:cubicBezTo>
                  <a:cubicBezTo>
                    <a:pt x="10234" y="85132"/>
                    <a:pt x="10434" y="84905"/>
                    <a:pt x="10434" y="84679"/>
                  </a:cubicBezTo>
                  <a:cubicBezTo>
                    <a:pt x="10434" y="84226"/>
                    <a:pt x="9832" y="83773"/>
                    <a:pt x="9431" y="83547"/>
                  </a:cubicBezTo>
                  <a:cubicBezTo>
                    <a:pt x="9230" y="83547"/>
                    <a:pt x="9030" y="83547"/>
                    <a:pt x="8628" y="83773"/>
                  </a:cubicBezTo>
                  <a:cubicBezTo>
                    <a:pt x="8628" y="83773"/>
                    <a:pt x="8628" y="83773"/>
                    <a:pt x="8628" y="83773"/>
                  </a:cubicBezTo>
                  <a:cubicBezTo>
                    <a:pt x="8428" y="84000"/>
                    <a:pt x="6220" y="86490"/>
                    <a:pt x="4615" y="88528"/>
                  </a:cubicBezTo>
                  <a:cubicBezTo>
                    <a:pt x="4013" y="88981"/>
                    <a:pt x="3612" y="89433"/>
                    <a:pt x="3210" y="89886"/>
                  </a:cubicBezTo>
                  <a:cubicBezTo>
                    <a:pt x="3210" y="89886"/>
                    <a:pt x="3210" y="90113"/>
                    <a:pt x="3210" y="90113"/>
                  </a:cubicBezTo>
                  <a:cubicBezTo>
                    <a:pt x="3210" y="90113"/>
                    <a:pt x="3010" y="90113"/>
                    <a:pt x="3010" y="90113"/>
                  </a:cubicBezTo>
                  <a:cubicBezTo>
                    <a:pt x="2207" y="91018"/>
                    <a:pt x="1806" y="91471"/>
                    <a:pt x="1605" y="91698"/>
                  </a:cubicBezTo>
                  <a:cubicBezTo>
                    <a:pt x="1404" y="91924"/>
                    <a:pt x="1404" y="93056"/>
                    <a:pt x="1605" y="93509"/>
                  </a:cubicBezTo>
                  <a:cubicBezTo>
                    <a:pt x="1605" y="93962"/>
                    <a:pt x="1605" y="94188"/>
                    <a:pt x="1605" y="94188"/>
                  </a:cubicBezTo>
                  <a:cubicBezTo>
                    <a:pt x="1605" y="95320"/>
                    <a:pt x="602" y="95773"/>
                    <a:pt x="200" y="96000"/>
                  </a:cubicBezTo>
                  <a:cubicBezTo>
                    <a:pt x="0" y="96000"/>
                    <a:pt x="0" y="96452"/>
                    <a:pt x="401" y="98264"/>
                  </a:cubicBezTo>
                  <a:cubicBezTo>
                    <a:pt x="401" y="98490"/>
                    <a:pt x="1003" y="98943"/>
                    <a:pt x="1204" y="99396"/>
                  </a:cubicBezTo>
                  <a:cubicBezTo>
                    <a:pt x="1404" y="99622"/>
                    <a:pt x="1806" y="99849"/>
                    <a:pt x="2006" y="100075"/>
                  </a:cubicBezTo>
                  <a:cubicBezTo>
                    <a:pt x="2207" y="100754"/>
                    <a:pt x="2207" y="102113"/>
                    <a:pt x="2207" y="103245"/>
                  </a:cubicBezTo>
                  <a:cubicBezTo>
                    <a:pt x="2408" y="102792"/>
                    <a:pt x="2809" y="102566"/>
                    <a:pt x="3010" y="102113"/>
                  </a:cubicBezTo>
                  <a:cubicBezTo>
                    <a:pt x="3812" y="100981"/>
                    <a:pt x="5819" y="103245"/>
                    <a:pt x="6622" y="103924"/>
                  </a:cubicBezTo>
                  <a:cubicBezTo>
                    <a:pt x="7424" y="104377"/>
                    <a:pt x="11438" y="104603"/>
                    <a:pt x="12040" y="104603"/>
                  </a:cubicBezTo>
                  <a:cubicBezTo>
                    <a:pt x="12842" y="104603"/>
                    <a:pt x="14247" y="106415"/>
                    <a:pt x="14648" y="107094"/>
                  </a:cubicBezTo>
                  <a:cubicBezTo>
                    <a:pt x="15250" y="107773"/>
                    <a:pt x="16454" y="106867"/>
                    <a:pt x="17257" y="106415"/>
                  </a:cubicBezTo>
                  <a:cubicBezTo>
                    <a:pt x="18060" y="106188"/>
                    <a:pt x="20869" y="106415"/>
                    <a:pt x="23277" y="106641"/>
                  </a:cubicBezTo>
                  <a:cubicBezTo>
                    <a:pt x="25484" y="106867"/>
                    <a:pt x="27491" y="108679"/>
                    <a:pt x="28494" y="110037"/>
                  </a:cubicBezTo>
                  <a:cubicBezTo>
                    <a:pt x="29297" y="111169"/>
                    <a:pt x="30702" y="115471"/>
                    <a:pt x="32307" y="117056"/>
                  </a:cubicBezTo>
                  <a:cubicBezTo>
                    <a:pt x="33913" y="118867"/>
                    <a:pt x="37725" y="119773"/>
                    <a:pt x="39130" y="119773"/>
                  </a:cubicBezTo>
                  <a:cubicBezTo>
                    <a:pt x="40535" y="120000"/>
                    <a:pt x="46354" y="118641"/>
                    <a:pt x="47558" y="118188"/>
                  </a:cubicBezTo>
                  <a:cubicBezTo>
                    <a:pt x="48561" y="117962"/>
                    <a:pt x="50568" y="115924"/>
                    <a:pt x="51371" y="115018"/>
                  </a:cubicBezTo>
                  <a:cubicBezTo>
                    <a:pt x="52173" y="114113"/>
                    <a:pt x="54983" y="114113"/>
                    <a:pt x="55986" y="114113"/>
                  </a:cubicBezTo>
                  <a:cubicBezTo>
                    <a:pt x="56989" y="114113"/>
                    <a:pt x="61204" y="113660"/>
                    <a:pt x="62207" y="113433"/>
                  </a:cubicBezTo>
                  <a:cubicBezTo>
                    <a:pt x="63010" y="113433"/>
                    <a:pt x="65618" y="115018"/>
                    <a:pt x="67224" y="115471"/>
                  </a:cubicBezTo>
                  <a:cubicBezTo>
                    <a:pt x="68829" y="115698"/>
                    <a:pt x="73444" y="115924"/>
                    <a:pt x="74448" y="115924"/>
                  </a:cubicBezTo>
                  <a:cubicBezTo>
                    <a:pt x="74448" y="115245"/>
                    <a:pt x="74247" y="113433"/>
                    <a:pt x="74247" y="112981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9" name="Shape 6963">
              <a:extLst>
                <a:ext uri="{FF2B5EF4-FFF2-40B4-BE49-F238E27FC236}">
                  <a16:creationId xmlns:a16="http://schemas.microsoft.com/office/drawing/2014/main" id="{FFA62350-D980-45E8-ABAE-3124F96BE5C9}"/>
                </a:ext>
              </a:extLst>
            </p:cNvPr>
            <p:cNvSpPr/>
            <p:nvPr/>
          </p:nvSpPr>
          <p:spPr>
            <a:xfrm>
              <a:off x="4457199" y="4933135"/>
              <a:ext cx="723541" cy="45818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3280" y="58775"/>
                  </a:moveTo>
                  <a:cubicBezTo>
                    <a:pt x="114560" y="56816"/>
                    <a:pt x="114560" y="54857"/>
                    <a:pt x="114880" y="52408"/>
                  </a:cubicBezTo>
                  <a:cubicBezTo>
                    <a:pt x="115200" y="50938"/>
                    <a:pt x="116800" y="48489"/>
                    <a:pt x="118400" y="46530"/>
                  </a:cubicBezTo>
                  <a:cubicBezTo>
                    <a:pt x="118400" y="46040"/>
                    <a:pt x="118080" y="46040"/>
                    <a:pt x="118400" y="45551"/>
                  </a:cubicBezTo>
                  <a:cubicBezTo>
                    <a:pt x="118400" y="43102"/>
                    <a:pt x="118400" y="40163"/>
                    <a:pt x="118080" y="39673"/>
                  </a:cubicBezTo>
                  <a:cubicBezTo>
                    <a:pt x="118080" y="39183"/>
                    <a:pt x="117760" y="38693"/>
                    <a:pt x="117120" y="37714"/>
                  </a:cubicBezTo>
                  <a:cubicBezTo>
                    <a:pt x="116160" y="36734"/>
                    <a:pt x="115520" y="35755"/>
                    <a:pt x="115520" y="34775"/>
                  </a:cubicBezTo>
                  <a:cubicBezTo>
                    <a:pt x="114880" y="29877"/>
                    <a:pt x="114880" y="27918"/>
                    <a:pt x="115840" y="27428"/>
                  </a:cubicBezTo>
                  <a:cubicBezTo>
                    <a:pt x="116480" y="26938"/>
                    <a:pt x="117440" y="26448"/>
                    <a:pt x="117440" y="25469"/>
                  </a:cubicBezTo>
                  <a:cubicBezTo>
                    <a:pt x="117440" y="25469"/>
                    <a:pt x="117440" y="24979"/>
                    <a:pt x="117440" y="24489"/>
                  </a:cubicBezTo>
                  <a:cubicBezTo>
                    <a:pt x="117120" y="22530"/>
                    <a:pt x="117120" y="19591"/>
                    <a:pt x="118080" y="18612"/>
                  </a:cubicBezTo>
                  <a:cubicBezTo>
                    <a:pt x="118080" y="18122"/>
                    <a:pt x="119040" y="17142"/>
                    <a:pt x="120000" y="15673"/>
                  </a:cubicBezTo>
                  <a:cubicBezTo>
                    <a:pt x="116800" y="10775"/>
                    <a:pt x="116800" y="10775"/>
                    <a:pt x="116800" y="10775"/>
                  </a:cubicBezTo>
                  <a:cubicBezTo>
                    <a:pt x="116160" y="11755"/>
                    <a:pt x="115200" y="13224"/>
                    <a:pt x="114880" y="13714"/>
                  </a:cubicBezTo>
                  <a:cubicBezTo>
                    <a:pt x="113600" y="15183"/>
                    <a:pt x="109440" y="13714"/>
                    <a:pt x="108160" y="12734"/>
                  </a:cubicBezTo>
                  <a:cubicBezTo>
                    <a:pt x="106880" y="11755"/>
                    <a:pt x="102720" y="6857"/>
                    <a:pt x="102400" y="4897"/>
                  </a:cubicBezTo>
                  <a:cubicBezTo>
                    <a:pt x="102080" y="4408"/>
                    <a:pt x="99840" y="4408"/>
                    <a:pt x="99200" y="4408"/>
                  </a:cubicBezTo>
                  <a:cubicBezTo>
                    <a:pt x="98560" y="4408"/>
                    <a:pt x="97920" y="4408"/>
                    <a:pt x="97600" y="4408"/>
                  </a:cubicBezTo>
                  <a:cubicBezTo>
                    <a:pt x="96000" y="3918"/>
                    <a:pt x="94720" y="1959"/>
                    <a:pt x="93760" y="489"/>
                  </a:cubicBezTo>
                  <a:cubicBezTo>
                    <a:pt x="93760" y="0"/>
                    <a:pt x="92800" y="0"/>
                    <a:pt x="92160" y="0"/>
                  </a:cubicBezTo>
                  <a:cubicBezTo>
                    <a:pt x="91840" y="0"/>
                    <a:pt x="91840" y="0"/>
                    <a:pt x="91520" y="0"/>
                  </a:cubicBezTo>
                  <a:cubicBezTo>
                    <a:pt x="91200" y="0"/>
                    <a:pt x="90880" y="0"/>
                    <a:pt x="90240" y="0"/>
                  </a:cubicBezTo>
                  <a:cubicBezTo>
                    <a:pt x="90240" y="1469"/>
                    <a:pt x="89920" y="3428"/>
                    <a:pt x="89280" y="4408"/>
                  </a:cubicBezTo>
                  <a:cubicBezTo>
                    <a:pt x="88960" y="4408"/>
                    <a:pt x="88640" y="4408"/>
                    <a:pt x="88320" y="4408"/>
                  </a:cubicBezTo>
                  <a:cubicBezTo>
                    <a:pt x="87680" y="3918"/>
                    <a:pt x="87360" y="3918"/>
                    <a:pt x="87360" y="3428"/>
                  </a:cubicBezTo>
                  <a:cubicBezTo>
                    <a:pt x="87040" y="3428"/>
                    <a:pt x="87040" y="3428"/>
                    <a:pt x="87040" y="3428"/>
                  </a:cubicBezTo>
                  <a:cubicBezTo>
                    <a:pt x="86400" y="4408"/>
                    <a:pt x="85440" y="6857"/>
                    <a:pt x="84160" y="6367"/>
                  </a:cubicBezTo>
                  <a:cubicBezTo>
                    <a:pt x="82560" y="5877"/>
                    <a:pt x="80320" y="5387"/>
                    <a:pt x="79680" y="5877"/>
                  </a:cubicBezTo>
                  <a:cubicBezTo>
                    <a:pt x="77440" y="10775"/>
                    <a:pt x="75840" y="12734"/>
                    <a:pt x="74240" y="12244"/>
                  </a:cubicBezTo>
                  <a:cubicBezTo>
                    <a:pt x="72000" y="11265"/>
                    <a:pt x="70080" y="10775"/>
                    <a:pt x="69760" y="10775"/>
                  </a:cubicBezTo>
                  <a:cubicBezTo>
                    <a:pt x="69120" y="11755"/>
                    <a:pt x="67520" y="13714"/>
                    <a:pt x="67520" y="14204"/>
                  </a:cubicBezTo>
                  <a:cubicBezTo>
                    <a:pt x="67520" y="14204"/>
                    <a:pt x="67200" y="25469"/>
                    <a:pt x="65600" y="26938"/>
                  </a:cubicBezTo>
                  <a:cubicBezTo>
                    <a:pt x="65280" y="26938"/>
                    <a:pt x="64640" y="27428"/>
                    <a:pt x="63680" y="27428"/>
                  </a:cubicBezTo>
                  <a:cubicBezTo>
                    <a:pt x="63040" y="27918"/>
                    <a:pt x="61440" y="28408"/>
                    <a:pt x="61120" y="28897"/>
                  </a:cubicBezTo>
                  <a:cubicBezTo>
                    <a:pt x="61440" y="28897"/>
                    <a:pt x="61440" y="29387"/>
                    <a:pt x="61440" y="29877"/>
                  </a:cubicBezTo>
                  <a:cubicBezTo>
                    <a:pt x="61440" y="31836"/>
                    <a:pt x="61440" y="33306"/>
                    <a:pt x="60800" y="34285"/>
                  </a:cubicBezTo>
                  <a:cubicBezTo>
                    <a:pt x="59520" y="35265"/>
                    <a:pt x="57920" y="37224"/>
                    <a:pt x="57920" y="38204"/>
                  </a:cubicBezTo>
                  <a:cubicBezTo>
                    <a:pt x="57920" y="38693"/>
                    <a:pt x="57920" y="39183"/>
                    <a:pt x="57920" y="39673"/>
                  </a:cubicBezTo>
                  <a:cubicBezTo>
                    <a:pt x="58240" y="43102"/>
                    <a:pt x="58560" y="46530"/>
                    <a:pt x="57920" y="48000"/>
                  </a:cubicBezTo>
                  <a:cubicBezTo>
                    <a:pt x="57600" y="48489"/>
                    <a:pt x="57280" y="48489"/>
                    <a:pt x="56960" y="48489"/>
                  </a:cubicBezTo>
                  <a:cubicBezTo>
                    <a:pt x="56640" y="48979"/>
                    <a:pt x="56320" y="48979"/>
                    <a:pt x="56000" y="48979"/>
                  </a:cubicBezTo>
                  <a:cubicBezTo>
                    <a:pt x="54720" y="48979"/>
                    <a:pt x="53440" y="48979"/>
                    <a:pt x="52800" y="49959"/>
                  </a:cubicBezTo>
                  <a:cubicBezTo>
                    <a:pt x="52160" y="50938"/>
                    <a:pt x="50560" y="53387"/>
                    <a:pt x="48960" y="55346"/>
                  </a:cubicBezTo>
                  <a:cubicBezTo>
                    <a:pt x="47680" y="57306"/>
                    <a:pt x="46080" y="59265"/>
                    <a:pt x="45760" y="59755"/>
                  </a:cubicBezTo>
                  <a:cubicBezTo>
                    <a:pt x="45120" y="60734"/>
                    <a:pt x="43520" y="61714"/>
                    <a:pt x="40640" y="62693"/>
                  </a:cubicBezTo>
                  <a:cubicBezTo>
                    <a:pt x="40000" y="62693"/>
                    <a:pt x="39680" y="62693"/>
                    <a:pt x="39040" y="62693"/>
                  </a:cubicBezTo>
                  <a:cubicBezTo>
                    <a:pt x="38400" y="62693"/>
                    <a:pt x="37760" y="62693"/>
                    <a:pt x="36800" y="62204"/>
                  </a:cubicBezTo>
                  <a:cubicBezTo>
                    <a:pt x="36480" y="61714"/>
                    <a:pt x="36160" y="61714"/>
                    <a:pt x="35520" y="61224"/>
                  </a:cubicBezTo>
                  <a:cubicBezTo>
                    <a:pt x="34880" y="60734"/>
                    <a:pt x="32960" y="59265"/>
                    <a:pt x="32640" y="59265"/>
                  </a:cubicBezTo>
                  <a:cubicBezTo>
                    <a:pt x="32640" y="59265"/>
                    <a:pt x="32640" y="59265"/>
                    <a:pt x="32640" y="59265"/>
                  </a:cubicBezTo>
                  <a:cubicBezTo>
                    <a:pt x="32000" y="59265"/>
                    <a:pt x="30720" y="59265"/>
                    <a:pt x="29120" y="59265"/>
                  </a:cubicBezTo>
                  <a:cubicBezTo>
                    <a:pt x="28480" y="59265"/>
                    <a:pt x="27840" y="58775"/>
                    <a:pt x="27840" y="58775"/>
                  </a:cubicBezTo>
                  <a:cubicBezTo>
                    <a:pt x="26880" y="58775"/>
                    <a:pt x="25280" y="57795"/>
                    <a:pt x="22720" y="56326"/>
                  </a:cubicBezTo>
                  <a:cubicBezTo>
                    <a:pt x="22080" y="55836"/>
                    <a:pt x="22080" y="55836"/>
                    <a:pt x="22080" y="55836"/>
                  </a:cubicBezTo>
                  <a:cubicBezTo>
                    <a:pt x="21440" y="55346"/>
                    <a:pt x="19520" y="51918"/>
                    <a:pt x="18560" y="49959"/>
                  </a:cubicBezTo>
                  <a:cubicBezTo>
                    <a:pt x="17920" y="50448"/>
                    <a:pt x="17600" y="50938"/>
                    <a:pt x="16960" y="50938"/>
                  </a:cubicBezTo>
                  <a:cubicBezTo>
                    <a:pt x="16320" y="51918"/>
                    <a:pt x="14720" y="52897"/>
                    <a:pt x="14720" y="53387"/>
                  </a:cubicBezTo>
                  <a:cubicBezTo>
                    <a:pt x="14720" y="53877"/>
                    <a:pt x="14720" y="59755"/>
                    <a:pt x="14080" y="61224"/>
                  </a:cubicBezTo>
                  <a:cubicBezTo>
                    <a:pt x="13760" y="62204"/>
                    <a:pt x="10560" y="68081"/>
                    <a:pt x="9280" y="68081"/>
                  </a:cubicBezTo>
                  <a:cubicBezTo>
                    <a:pt x="8320" y="68571"/>
                    <a:pt x="3520" y="66612"/>
                    <a:pt x="1600" y="66122"/>
                  </a:cubicBezTo>
                  <a:cubicBezTo>
                    <a:pt x="0" y="69061"/>
                    <a:pt x="0" y="69061"/>
                    <a:pt x="0" y="69061"/>
                  </a:cubicBezTo>
                  <a:cubicBezTo>
                    <a:pt x="0" y="71510"/>
                    <a:pt x="1600" y="81795"/>
                    <a:pt x="2560" y="83265"/>
                  </a:cubicBezTo>
                  <a:cubicBezTo>
                    <a:pt x="2880" y="84244"/>
                    <a:pt x="3840" y="85714"/>
                    <a:pt x="5120" y="87673"/>
                  </a:cubicBezTo>
                  <a:cubicBezTo>
                    <a:pt x="9280" y="94530"/>
                    <a:pt x="10880" y="96979"/>
                    <a:pt x="10880" y="97959"/>
                  </a:cubicBezTo>
                  <a:cubicBezTo>
                    <a:pt x="10880" y="99918"/>
                    <a:pt x="10880" y="102857"/>
                    <a:pt x="9600" y="102857"/>
                  </a:cubicBezTo>
                  <a:cubicBezTo>
                    <a:pt x="8960" y="103346"/>
                    <a:pt x="7360" y="103836"/>
                    <a:pt x="6720" y="103836"/>
                  </a:cubicBezTo>
                  <a:cubicBezTo>
                    <a:pt x="6080" y="104816"/>
                    <a:pt x="5120" y="105795"/>
                    <a:pt x="4800" y="106285"/>
                  </a:cubicBezTo>
                  <a:cubicBezTo>
                    <a:pt x="5120" y="106285"/>
                    <a:pt x="5120" y="106775"/>
                    <a:pt x="5440" y="106775"/>
                  </a:cubicBezTo>
                  <a:cubicBezTo>
                    <a:pt x="6400" y="108244"/>
                    <a:pt x="8000" y="109714"/>
                    <a:pt x="8000" y="111673"/>
                  </a:cubicBezTo>
                  <a:cubicBezTo>
                    <a:pt x="8000" y="113142"/>
                    <a:pt x="8000" y="116081"/>
                    <a:pt x="8000" y="117061"/>
                  </a:cubicBezTo>
                  <a:cubicBezTo>
                    <a:pt x="8320" y="117551"/>
                    <a:pt x="8960" y="119020"/>
                    <a:pt x="9600" y="120000"/>
                  </a:cubicBezTo>
                  <a:cubicBezTo>
                    <a:pt x="9920" y="118040"/>
                    <a:pt x="10240" y="116081"/>
                    <a:pt x="10240" y="116081"/>
                  </a:cubicBezTo>
                  <a:cubicBezTo>
                    <a:pt x="10560" y="114612"/>
                    <a:pt x="12160" y="114612"/>
                    <a:pt x="13120" y="114612"/>
                  </a:cubicBezTo>
                  <a:cubicBezTo>
                    <a:pt x="14080" y="114612"/>
                    <a:pt x="14720" y="114122"/>
                    <a:pt x="15360" y="113142"/>
                  </a:cubicBezTo>
                  <a:cubicBezTo>
                    <a:pt x="16320" y="112163"/>
                    <a:pt x="24640" y="102367"/>
                    <a:pt x="25920" y="100897"/>
                  </a:cubicBezTo>
                  <a:cubicBezTo>
                    <a:pt x="27520" y="99918"/>
                    <a:pt x="31360" y="100897"/>
                    <a:pt x="32320" y="100897"/>
                  </a:cubicBezTo>
                  <a:cubicBezTo>
                    <a:pt x="33600" y="100408"/>
                    <a:pt x="34240" y="96000"/>
                    <a:pt x="34560" y="94530"/>
                  </a:cubicBezTo>
                  <a:cubicBezTo>
                    <a:pt x="34880" y="93061"/>
                    <a:pt x="36800" y="93551"/>
                    <a:pt x="38400" y="93551"/>
                  </a:cubicBezTo>
                  <a:cubicBezTo>
                    <a:pt x="40000" y="93551"/>
                    <a:pt x="41280" y="91102"/>
                    <a:pt x="41920" y="89142"/>
                  </a:cubicBezTo>
                  <a:cubicBezTo>
                    <a:pt x="42880" y="87673"/>
                    <a:pt x="46400" y="90122"/>
                    <a:pt x="47360" y="91102"/>
                  </a:cubicBezTo>
                  <a:cubicBezTo>
                    <a:pt x="48640" y="92081"/>
                    <a:pt x="50240" y="94530"/>
                    <a:pt x="51200" y="96000"/>
                  </a:cubicBezTo>
                  <a:cubicBezTo>
                    <a:pt x="51840" y="97959"/>
                    <a:pt x="55040" y="95020"/>
                    <a:pt x="56640" y="93551"/>
                  </a:cubicBezTo>
                  <a:cubicBezTo>
                    <a:pt x="57920" y="91591"/>
                    <a:pt x="61120" y="95020"/>
                    <a:pt x="63360" y="96000"/>
                  </a:cubicBezTo>
                  <a:cubicBezTo>
                    <a:pt x="65280" y="96489"/>
                    <a:pt x="70720" y="107265"/>
                    <a:pt x="70720" y="107265"/>
                  </a:cubicBezTo>
                  <a:cubicBezTo>
                    <a:pt x="70720" y="107265"/>
                    <a:pt x="79360" y="112163"/>
                    <a:pt x="80960" y="112163"/>
                  </a:cubicBezTo>
                  <a:cubicBezTo>
                    <a:pt x="82560" y="112653"/>
                    <a:pt x="86720" y="111183"/>
                    <a:pt x="88000" y="110693"/>
                  </a:cubicBezTo>
                  <a:cubicBezTo>
                    <a:pt x="89280" y="110204"/>
                    <a:pt x="95680" y="113142"/>
                    <a:pt x="96640" y="113142"/>
                  </a:cubicBezTo>
                  <a:cubicBezTo>
                    <a:pt x="97920" y="113142"/>
                    <a:pt x="103680" y="113142"/>
                    <a:pt x="104960" y="112163"/>
                  </a:cubicBezTo>
                  <a:cubicBezTo>
                    <a:pt x="106560" y="111183"/>
                    <a:pt x="108800" y="108734"/>
                    <a:pt x="109760" y="107265"/>
                  </a:cubicBezTo>
                  <a:cubicBezTo>
                    <a:pt x="110720" y="105306"/>
                    <a:pt x="114560" y="100897"/>
                    <a:pt x="115520" y="99918"/>
                  </a:cubicBezTo>
                  <a:cubicBezTo>
                    <a:pt x="116800" y="98938"/>
                    <a:pt x="115840" y="94530"/>
                    <a:pt x="115520" y="92571"/>
                  </a:cubicBezTo>
                  <a:cubicBezTo>
                    <a:pt x="115520" y="90122"/>
                    <a:pt x="113280" y="89142"/>
                    <a:pt x="112000" y="87673"/>
                  </a:cubicBezTo>
                  <a:cubicBezTo>
                    <a:pt x="110720" y="86693"/>
                    <a:pt x="111040" y="81795"/>
                    <a:pt x="111040" y="79836"/>
                  </a:cubicBezTo>
                  <a:cubicBezTo>
                    <a:pt x="111040" y="77387"/>
                    <a:pt x="110400" y="75918"/>
                    <a:pt x="109440" y="73959"/>
                  </a:cubicBezTo>
                  <a:cubicBezTo>
                    <a:pt x="108160" y="71510"/>
                    <a:pt x="109760" y="66612"/>
                    <a:pt x="110080" y="64163"/>
                  </a:cubicBezTo>
                  <a:cubicBezTo>
                    <a:pt x="110080" y="61714"/>
                    <a:pt x="112320" y="60244"/>
                    <a:pt x="113280" y="58775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0" name="Shape 6964">
              <a:extLst>
                <a:ext uri="{FF2B5EF4-FFF2-40B4-BE49-F238E27FC236}">
                  <a16:creationId xmlns:a16="http://schemas.microsoft.com/office/drawing/2014/main" id="{E906AB4C-5B00-4FE4-892F-024118B72B71}"/>
                </a:ext>
              </a:extLst>
            </p:cNvPr>
            <p:cNvSpPr/>
            <p:nvPr/>
          </p:nvSpPr>
          <p:spPr>
            <a:xfrm>
              <a:off x="4096392" y="5063776"/>
              <a:ext cx="418689" cy="39846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8341" y="100845"/>
                  </a:moveTo>
                  <a:cubicBezTo>
                    <a:pt x="118341" y="100281"/>
                    <a:pt x="116129" y="97464"/>
                    <a:pt x="115576" y="96338"/>
                  </a:cubicBezTo>
                  <a:cubicBezTo>
                    <a:pt x="115023" y="95211"/>
                    <a:pt x="115023" y="91830"/>
                    <a:pt x="115023" y="89014"/>
                  </a:cubicBezTo>
                  <a:cubicBezTo>
                    <a:pt x="115023" y="87887"/>
                    <a:pt x="112258" y="86197"/>
                    <a:pt x="111152" y="85070"/>
                  </a:cubicBezTo>
                  <a:cubicBezTo>
                    <a:pt x="110599" y="85070"/>
                    <a:pt x="110599" y="84507"/>
                    <a:pt x="110046" y="83943"/>
                  </a:cubicBezTo>
                  <a:cubicBezTo>
                    <a:pt x="109493" y="83943"/>
                    <a:pt x="109493" y="83380"/>
                    <a:pt x="109493" y="82816"/>
                  </a:cubicBezTo>
                  <a:cubicBezTo>
                    <a:pt x="110046" y="81126"/>
                    <a:pt x="112811" y="79436"/>
                    <a:pt x="113917" y="78309"/>
                  </a:cubicBezTo>
                  <a:cubicBezTo>
                    <a:pt x="114470" y="78309"/>
                    <a:pt x="114470" y="78309"/>
                    <a:pt x="114470" y="77746"/>
                  </a:cubicBezTo>
                  <a:cubicBezTo>
                    <a:pt x="114470" y="77746"/>
                    <a:pt x="118341" y="77183"/>
                    <a:pt x="119447" y="76619"/>
                  </a:cubicBezTo>
                  <a:cubicBezTo>
                    <a:pt x="120000" y="76619"/>
                    <a:pt x="120000" y="74366"/>
                    <a:pt x="120000" y="73239"/>
                  </a:cubicBezTo>
                  <a:cubicBezTo>
                    <a:pt x="119447" y="72112"/>
                    <a:pt x="113917" y="66478"/>
                    <a:pt x="110599" y="63098"/>
                  </a:cubicBezTo>
                  <a:cubicBezTo>
                    <a:pt x="108387" y="60281"/>
                    <a:pt x="106728" y="58591"/>
                    <a:pt x="105622" y="58028"/>
                  </a:cubicBezTo>
                  <a:cubicBezTo>
                    <a:pt x="103963" y="55211"/>
                    <a:pt x="101198" y="41690"/>
                    <a:pt x="101198" y="40000"/>
                  </a:cubicBezTo>
                  <a:cubicBezTo>
                    <a:pt x="101198" y="40000"/>
                    <a:pt x="101198" y="40000"/>
                    <a:pt x="101198" y="40000"/>
                  </a:cubicBezTo>
                  <a:cubicBezTo>
                    <a:pt x="101198" y="40000"/>
                    <a:pt x="101198" y="39436"/>
                    <a:pt x="101198" y="39436"/>
                  </a:cubicBezTo>
                  <a:cubicBezTo>
                    <a:pt x="100645" y="39436"/>
                    <a:pt x="100092" y="39436"/>
                    <a:pt x="99539" y="39436"/>
                  </a:cubicBezTo>
                  <a:cubicBezTo>
                    <a:pt x="98986" y="39436"/>
                    <a:pt x="98986" y="39436"/>
                    <a:pt x="98433" y="39436"/>
                  </a:cubicBezTo>
                  <a:cubicBezTo>
                    <a:pt x="97880" y="40000"/>
                    <a:pt x="96774" y="42253"/>
                    <a:pt x="95115" y="46197"/>
                  </a:cubicBezTo>
                  <a:cubicBezTo>
                    <a:pt x="94562" y="46760"/>
                    <a:pt x="94562" y="47323"/>
                    <a:pt x="94562" y="47323"/>
                  </a:cubicBezTo>
                  <a:cubicBezTo>
                    <a:pt x="93456" y="49014"/>
                    <a:pt x="91244" y="48450"/>
                    <a:pt x="89032" y="47887"/>
                  </a:cubicBezTo>
                  <a:cubicBezTo>
                    <a:pt x="88479" y="47887"/>
                    <a:pt x="87926" y="47887"/>
                    <a:pt x="87926" y="47323"/>
                  </a:cubicBezTo>
                  <a:cubicBezTo>
                    <a:pt x="85714" y="47323"/>
                    <a:pt x="79631" y="40000"/>
                    <a:pt x="79078" y="38873"/>
                  </a:cubicBezTo>
                  <a:cubicBezTo>
                    <a:pt x="77972" y="37183"/>
                    <a:pt x="79631" y="35492"/>
                    <a:pt x="81290" y="34366"/>
                  </a:cubicBezTo>
                  <a:cubicBezTo>
                    <a:pt x="81290" y="34366"/>
                    <a:pt x="81843" y="33802"/>
                    <a:pt x="82396" y="33802"/>
                  </a:cubicBezTo>
                  <a:cubicBezTo>
                    <a:pt x="82949" y="32676"/>
                    <a:pt x="81843" y="29859"/>
                    <a:pt x="81290" y="29295"/>
                  </a:cubicBezTo>
                  <a:cubicBezTo>
                    <a:pt x="81290" y="28169"/>
                    <a:pt x="81290" y="27605"/>
                    <a:pt x="81290" y="27605"/>
                  </a:cubicBezTo>
                  <a:cubicBezTo>
                    <a:pt x="80737" y="27042"/>
                    <a:pt x="80737" y="25352"/>
                    <a:pt x="91797" y="15774"/>
                  </a:cubicBezTo>
                  <a:cubicBezTo>
                    <a:pt x="91797" y="15211"/>
                    <a:pt x="91244" y="14084"/>
                    <a:pt x="91244" y="13521"/>
                  </a:cubicBezTo>
                  <a:cubicBezTo>
                    <a:pt x="91244" y="12394"/>
                    <a:pt x="91244" y="11267"/>
                    <a:pt x="90691" y="10704"/>
                  </a:cubicBezTo>
                  <a:cubicBezTo>
                    <a:pt x="90691" y="10704"/>
                    <a:pt x="90138" y="10704"/>
                    <a:pt x="90138" y="10704"/>
                  </a:cubicBezTo>
                  <a:cubicBezTo>
                    <a:pt x="88479" y="10140"/>
                    <a:pt x="86267" y="9577"/>
                    <a:pt x="85161" y="8450"/>
                  </a:cubicBezTo>
                  <a:cubicBezTo>
                    <a:pt x="84055" y="7323"/>
                    <a:pt x="82949" y="7323"/>
                    <a:pt x="80184" y="7323"/>
                  </a:cubicBezTo>
                  <a:cubicBezTo>
                    <a:pt x="77972" y="7323"/>
                    <a:pt x="75207" y="7887"/>
                    <a:pt x="73548" y="6760"/>
                  </a:cubicBezTo>
                  <a:cubicBezTo>
                    <a:pt x="73548" y="6197"/>
                    <a:pt x="72995" y="5633"/>
                    <a:pt x="72442" y="5070"/>
                  </a:cubicBezTo>
                  <a:cubicBezTo>
                    <a:pt x="70783" y="3943"/>
                    <a:pt x="66912" y="563"/>
                    <a:pt x="65806" y="0"/>
                  </a:cubicBezTo>
                  <a:cubicBezTo>
                    <a:pt x="62488" y="1126"/>
                    <a:pt x="61935" y="1690"/>
                    <a:pt x="61935" y="1690"/>
                  </a:cubicBezTo>
                  <a:cubicBezTo>
                    <a:pt x="61382" y="2253"/>
                    <a:pt x="61382" y="2253"/>
                    <a:pt x="60276" y="2816"/>
                  </a:cubicBezTo>
                  <a:cubicBezTo>
                    <a:pt x="59723" y="3380"/>
                    <a:pt x="58064" y="5070"/>
                    <a:pt x="58064" y="5633"/>
                  </a:cubicBezTo>
                  <a:cubicBezTo>
                    <a:pt x="58064" y="5633"/>
                    <a:pt x="58064" y="5633"/>
                    <a:pt x="58064" y="6197"/>
                  </a:cubicBezTo>
                  <a:cubicBezTo>
                    <a:pt x="58617" y="6197"/>
                    <a:pt x="58617" y="6197"/>
                    <a:pt x="58617" y="6197"/>
                  </a:cubicBezTo>
                  <a:cubicBezTo>
                    <a:pt x="60829" y="9014"/>
                    <a:pt x="63041" y="11830"/>
                    <a:pt x="61382" y="13521"/>
                  </a:cubicBezTo>
                  <a:cubicBezTo>
                    <a:pt x="60829" y="14084"/>
                    <a:pt x="60829" y="14084"/>
                    <a:pt x="60276" y="14647"/>
                  </a:cubicBezTo>
                  <a:cubicBezTo>
                    <a:pt x="59170" y="16338"/>
                    <a:pt x="58064" y="17464"/>
                    <a:pt x="56958" y="17464"/>
                  </a:cubicBezTo>
                  <a:cubicBezTo>
                    <a:pt x="55852" y="18028"/>
                    <a:pt x="54746" y="17464"/>
                    <a:pt x="54193" y="18028"/>
                  </a:cubicBezTo>
                  <a:cubicBezTo>
                    <a:pt x="54193" y="18591"/>
                    <a:pt x="53640" y="18591"/>
                    <a:pt x="53640" y="19154"/>
                  </a:cubicBezTo>
                  <a:cubicBezTo>
                    <a:pt x="52534" y="20845"/>
                    <a:pt x="51428" y="23661"/>
                    <a:pt x="48663" y="22535"/>
                  </a:cubicBezTo>
                  <a:cubicBezTo>
                    <a:pt x="48110" y="22535"/>
                    <a:pt x="47004" y="21971"/>
                    <a:pt x="45898" y="20845"/>
                  </a:cubicBezTo>
                  <a:cubicBezTo>
                    <a:pt x="45345" y="20281"/>
                    <a:pt x="43133" y="19154"/>
                    <a:pt x="42580" y="19154"/>
                  </a:cubicBezTo>
                  <a:cubicBezTo>
                    <a:pt x="42027" y="19718"/>
                    <a:pt x="41474" y="19718"/>
                    <a:pt x="40921" y="20281"/>
                  </a:cubicBezTo>
                  <a:cubicBezTo>
                    <a:pt x="39815" y="20845"/>
                    <a:pt x="39262" y="21408"/>
                    <a:pt x="39262" y="21408"/>
                  </a:cubicBezTo>
                  <a:cubicBezTo>
                    <a:pt x="39262" y="21971"/>
                    <a:pt x="39262" y="22535"/>
                    <a:pt x="39262" y="22535"/>
                  </a:cubicBezTo>
                  <a:cubicBezTo>
                    <a:pt x="39262" y="24788"/>
                    <a:pt x="39815" y="27042"/>
                    <a:pt x="37603" y="29295"/>
                  </a:cubicBezTo>
                  <a:cubicBezTo>
                    <a:pt x="37050" y="29859"/>
                    <a:pt x="36497" y="30985"/>
                    <a:pt x="35391" y="32112"/>
                  </a:cubicBezTo>
                  <a:cubicBezTo>
                    <a:pt x="32073" y="36056"/>
                    <a:pt x="29308" y="38309"/>
                    <a:pt x="27649" y="38309"/>
                  </a:cubicBezTo>
                  <a:cubicBezTo>
                    <a:pt x="25990" y="38309"/>
                    <a:pt x="22119" y="38309"/>
                    <a:pt x="21013" y="38873"/>
                  </a:cubicBezTo>
                  <a:cubicBezTo>
                    <a:pt x="16036" y="41126"/>
                    <a:pt x="8294" y="43943"/>
                    <a:pt x="6635" y="44507"/>
                  </a:cubicBezTo>
                  <a:cubicBezTo>
                    <a:pt x="6082" y="44507"/>
                    <a:pt x="3317" y="46197"/>
                    <a:pt x="2211" y="47323"/>
                  </a:cubicBezTo>
                  <a:cubicBezTo>
                    <a:pt x="1658" y="47323"/>
                    <a:pt x="1658" y="47323"/>
                    <a:pt x="1658" y="47323"/>
                  </a:cubicBezTo>
                  <a:cubicBezTo>
                    <a:pt x="1658" y="47323"/>
                    <a:pt x="1658" y="47323"/>
                    <a:pt x="2211" y="47887"/>
                  </a:cubicBezTo>
                  <a:cubicBezTo>
                    <a:pt x="2211" y="48450"/>
                    <a:pt x="3317" y="50140"/>
                    <a:pt x="4976" y="51267"/>
                  </a:cubicBezTo>
                  <a:cubicBezTo>
                    <a:pt x="7741" y="54647"/>
                    <a:pt x="9400" y="56338"/>
                    <a:pt x="9400" y="57464"/>
                  </a:cubicBezTo>
                  <a:cubicBezTo>
                    <a:pt x="9400" y="58028"/>
                    <a:pt x="9400" y="58028"/>
                    <a:pt x="9400" y="58591"/>
                  </a:cubicBezTo>
                  <a:cubicBezTo>
                    <a:pt x="9953" y="60845"/>
                    <a:pt x="10506" y="63661"/>
                    <a:pt x="8294" y="64225"/>
                  </a:cubicBezTo>
                  <a:cubicBezTo>
                    <a:pt x="7188" y="64788"/>
                    <a:pt x="1105" y="65352"/>
                    <a:pt x="0" y="65352"/>
                  </a:cubicBezTo>
                  <a:cubicBezTo>
                    <a:pt x="0" y="65352"/>
                    <a:pt x="0" y="65352"/>
                    <a:pt x="0" y="65352"/>
                  </a:cubicBezTo>
                  <a:cubicBezTo>
                    <a:pt x="552" y="68169"/>
                    <a:pt x="552" y="72112"/>
                    <a:pt x="1658" y="73239"/>
                  </a:cubicBezTo>
                  <a:cubicBezTo>
                    <a:pt x="2211" y="74366"/>
                    <a:pt x="8294" y="76056"/>
                    <a:pt x="8294" y="78309"/>
                  </a:cubicBezTo>
                  <a:cubicBezTo>
                    <a:pt x="8847" y="80000"/>
                    <a:pt x="10506" y="85070"/>
                    <a:pt x="12718" y="86197"/>
                  </a:cubicBezTo>
                  <a:cubicBezTo>
                    <a:pt x="15483" y="87323"/>
                    <a:pt x="19907" y="88450"/>
                    <a:pt x="19907" y="90704"/>
                  </a:cubicBezTo>
                  <a:cubicBezTo>
                    <a:pt x="19907" y="92957"/>
                    <a:pt x="19907" y="98591"/>
                    <a:pt x="21566" y="99718"/>
                  </a:cubicBezTo>
                  <a:cubicBezTo>
                    <a:pt x="23778" y="100845"/>
                    <a:pt x="36497" y="106478"/>
                    <a:pt x="39815" y="106478"/>
                  </a:cubicBezTo>
                  <a:cubicBezTo>
                    <a:pt x="43133" y="105915"/>
                    <a:pt x="48110" y="103098"/>
                    <a:pt x="50322" y="101408"/>
                  </a:cubicBezTo>
                  <a:cubicBezTo>
                    <a:pt x="51981" y="99718"/>
                    <a:pt x="54193" y="94647"/>
                    <a:pt x="55852" y="98028"/>
                  </a:cubicBezTo>
                  <a:cubicBezTo>
                    <a:pt x="56958" y="101408"/>
                    <a:pt x="61382" y="110985"/>
                    <a:pt x="62488" y="112112"/>
                  </a:cubicBezTo>
                  <a:cubicBezTo>
                    <a:pt x="63041" y="113802"/>
                    <a:pt x="65806" y="116619"/>
                    <a:pt x="66912" y="117746"/>
                  </a:cubicBezTo>
                  <a:cubicBezTo>
                    <a:pt x="68571" y="118309"/>
                    <a:pt x="74101" y="119999"/>
                    <a:pt x="76866" y="118309"/>
                  </a:cubicBezTo>
                  <a:cubicBezTo>
                    <a:pt x="80184" y="116619"/>
                    <a:pt x="89585" y="108732"/>
                    <a:pt x="92350" y="109295"/>
                  </a:cubicBezTo>
                  <a:cubicBezTo>
                    <a:pt x="95668" y="109859"/>
                    <a:pt x="102304" y="110985"/>
                    <a:pt x="103963" y="109859"/>
                  </a:cubicBezTo>
                  <a:cubicBezTo>
                    <a:pt x="105622" y="108732"/>
                    <a:pt x="108387" y="103098"/>
                    <a:pt x="110599" y="103098"/>
                  </a:cubicBezTo>
                  <a:cubicBezTo>
                    <a:pt x="112811" y="103098"/>
                    <a:pt x="117788" y="103661"/>
                    <a:pt x="118894" y="101971"/>
                  </a:cubicBezTo>
                  <a:cubicBezTo>
                    <a:pt x="118894" y="101408"/>
                    <a:pt x="118894" y="101408"/>
                    <a:pt x="118894" y="100845"/>
                  </a:cubicBezTo>
                  <a:cubicBezTo>
                    <a:pt x="118894" y="100845"/>
                    <a:pt x="118894" y="100845"/>
                    <a:pt x="118341" y="100845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1" name="Shape 6965">
              <a:extLst>
                <a:ext uri="{FF2B5EF4-FFF2-40B4-BE49-F238E27FC236}">
                  <a16:creationId xmlns:a16="http://schemas.microsoft.com/office/drawing/2014/main" id="{555C08EC-9C9C-414D-8B23-33E5BE121083}"/>
                </a:ext>
              </a:extLst>
            </p:cNvPr>
            <p:cNvSpPr/>
            <p:nvPr/>
          </p:nvSpPr>
          <p:spPr>
            <a:xfrm>
              <a:off x="3678667" y="4846349"/>
              <a:ext cx="645399" cy="42925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76886" y="119999"/>
                  </a:moveTo>
                  <a:cubicBezTo>
                    <a:pt x="77245" y="119999"/>
                    <a:pt x="77245" y="119475"/>
                    <a:pt x="77604" y="119475"/>
                  </a:cubicBezTo>
                  <a:cubicBezTo>
                    <a:pt x="79401" y="119475"/>
                    <a:pt x="81916" y="118951"/>
                    <a:pt x="82634" y="118951"/>
                  </a:cubicBezTo>
                  <a:cubicBezTo>
                    <a:pt x="82634" y="118427"/>
                    <a:pt x="82634" y="116855"/>
                    <a:pt x="82275" y="115807"/>
                  </a:cubicBezTo>
                  <a:cubicBezTo>
                    <a:pt x="82275" y="115283"/>
                    <a:pt x="82275" y="114759"/>
                    <a:pt x="82275" y="114235"/>
                  </a:cubicBezTo>
                  <a:cubicBezTo>
                    <a:pt x="82275" y="113711"/>
                    <a:pt x="80479" y="111091"/>
                    <a:pt x="79760" y="110043"/>
                  </a:cubicBezTo>
                  <a:cubicBezTo>
                    <a:pt x="78682" y="108471"/>
                    <a:pt x="77964" y="107423"/>
                    <a:pt x="77604" y="106899"/>
                  </a:cubicBezTo>
                  <a:cubicBezTo>
                    <a:pt x="77245" y="105851"/>
                    <a:pt x="77245" y="104803"/>
                    <a:pt x="77245" y="104279"/>
                  </a:cubicBezTo>
                  <a:cubicBezTo>
                    <a:pt x="77604" y="103231"/>
                    <a:pt x="77964" y="103231"/>
                    <a:pt x="78323" y="102707"/>
                  </a:cubicBezTo>
                  <a:cubicBezTo>
                    <a:pt x="78682" y="102183"/>
                    <a:pt x="80838" y="100611"/>
                    <a:pt x="81916" y="100087"/>
                  </a:cubicBezTo>
                  <a:cubicBezTo>
                    <a:pt x="82275" y="100087"/>
                    <a:pt x="85868" y="97991"/>
                    <a:pt x="90538" y="95371"/>
                  </a:cubicBezTo>
                  <a:cubicBezTo>
                    <a:pt x="91616" y="94847"/>
                    <a:pt x="93772" y="94323"/>
                    <a:pt x="95568" y="94323"/>
                  </a:cubicBezTo>
                  <a:cubicBezTo>
                    <a:pt x="96287" y="94323"/>
                    <a:pt x="98443" y="90655"/>
                    <a:pt x="99520" y="89082"/>
                  </a:cubicBezTo>
                  <a:cubicBezTo>
                    <a:pt x="100239" y="88034"/>
                    <a:pt x="100598" y="87510"/>
                    <a:pt x="100958" y="86986"/>
                  </a:cubicBezTo>
                  <a:cubicBezTo>
                    <a:pt x="102035" y="85414"/>
                    <a:pt x="101676" y="83842"/>
                    <a:pt x="101676" y="82270"/>
                  </a:cubicBezTo>
                  <a:cubicBezTo>
                    <a:pt x="101676" y="81746"/>
                    <a:pt x="101676" y="81222"/>
                    <a:pt x="101676" y="80698"/>
                  </a:cubicBezTo>
                  <a:cubicBezTo>
                    <a:pt x="101676" y="79126"/>
                    <a:pt x="102754" y="78602"/>
                    <a:pt x="103832" y="77554"/>
                  </a:cubicBezTo>
                  <a:cubicBezTo>
                    <a:pt x="103832" y="77554"/>
                    <a:pt x="104191" y="77030"/>
                    <a:pt x="104550" y="77030"/>
                  </a:cubicBezTo>
                  <a:cubicBezTo>
                    <a:pt x="105628" y="75982"/>
                    <a:pt x="107065" y="77030"/>
                    <a:pt x="108143" y="78602"/>
                  </a:cubicBezTo>
                  <a:cubicBezTo>
                    <a:pt x="108862" y="79126"/>
                    <a:pt x="109580" y="79650"/>
                    <a:pt x="109940" y="80174"/>
                  </a:cubicBezTo>
                  <a:cubicBezTo>
                    <a:pt x="110299" y="80174"/>
                    <a:pt x="111017" y="78078"/>
                    <a:pt x="111377" y="77554"/>
                  </a:cubicBezTo>
                  <a:cubicBezTo>
                    <a:pt x="111377" y="77030"/>
                    <a:pt x="111736" y="76506"/>
                    <a:pt x="111736" y="76506"/>
                  </a:cubicBezTo>
                  <a:cubicBezTo>
                    <a:pt x="112455" y="75458"/>
                    <a:pt x="113173" y="75458"/>
                    <a:pt x="113892" y="75458"/>
                  </a:cubicBezTo>
                  <a:cubicBezTo>
                    <a:pt x="113892" y="75458"/>
                    <a:pt x="114251" y="75458"/>
                    <a:pt x="114251" y="75458"/>
                  </a:cubicBezTo>
                  <a:cubicBezTo>
                    <a:pt x="114610" y="74934"/>
                    <a:pt x="115329" y="73886"/>
                    <a:pt x="115688" y="72838"/>
                  </a:cubicBezTo>
                  <a:cubicBezTo>
                    <a:pt x="116047" y="72838"/>
                    <a:pt x="116407" y="72314"/>
                    <a:pt x="116407" y="72314"/>
                  </a:cubicBezTo>
                  <a:cubicBezTo>
                    <a:pt x="116407" y="71266"/>
                    <a:pt x="114970" y="69170"/>
                    <a:pt x="114610" y="68122"/>
                  </a:cubicBezTo>
                  <a:cubicBezTo>
                    <a:pt x="114251" y="67598"/>
                    <a:pt x="114251" y="67598"/>
                    <a:pt x="114251" y="67598"/>
                  </a:cubicBezTo>
                  <a:cubicBezTo>
                    <a:pt x="113892" y="67074"/>
                    <a:pt x="113892" y="66550"/>
                    <a:pt x="113892" y="66026"/>
                  </a:cubicBezTo>
                  <a:cubicBezTo>
                    <a:pt x="113892" y="64454"/>
                    <a:pt x="114970" y="62882"/>
                    <a:pt x="116047" y="61834"/>
                  </a:cubicBezTo>
                  <a:cubicBezTo>
                    <a:pt x="116047" y="61834"/>
                    <a:pt x="116407" y="61310"/>
                    <a:pt x="116407" y="61310"/>
                  </a:cubicBezTo>
                  <a:cubicBezTo>
                    <a:pt x="116766" y="60262"/>
                    <a:pt x="117485" y="59737"/>
                    <a:pt x="119281" y="59213"/>
                  </a:cubicBezTo>
                  <a:cubicBezTo>
                    <a:pt x="118203" y="55545"/>
                    <a:pt x="117844" y="48209"/>
                    <a:pt x="117844" y="46637"/>
                  </a:cubicBezTo>
                  <a:cubicBezTo>
                    <a:pt x="117844" y="45589"/>
                    <a:pt x="117125" y="44017"/>
                    <a:pt x="116766" y="42969"/>
                  </a:cubicBezTo>
                  <a:cubicBezTo>
                    <a:pt x="116766" y="42445"/>
                    <a:pt x="116407" y="41921"/>
                    <a:pt x="116407" y="41921"/>
                  </a:cubicBezTo>
                  <a:cubicBezTo>
                    <a:pt x="116047" y="39825"/>
                    <a:pt x="117485" y="38777"/>
                    <a:pt x="118562" y="37729"/>
                  </a:cubicBezTo>
                  <a:cubicBezTo>
                    <a:pt x="118922" y="37729"/>
                    <a:pt x="119281" y="37729"/>
                    <a:pt x="119281" y="37205"/>
                  </a:cubicBezTo>
                  <a:cubicBezTo>
                    <a:pt x="119640" y="37205"/>
                    <a:pt x="120000" y="36681"/>
                    <a:pt x="119640" y="34585"/>
                  </a:cubicBezTo>
                  <a:cubicBezTo>
                    <a:pt x="119281" y="34585"/>
                    <a:pt x="118203" y="34061"/>
                    <a:pt x="116047" y="34585"/>
                  </a:cubicBezTo>
                  <a:cubicBezTo>
                    <a:pt x="114970" y="34585"/>
                    <a:pt x="113532" y="32489"/>
                    <a:pt x="112095" y="30393"/>
                  </a:cubicBezTo>
                  <a:cubicBezTo>
                    <a:pt x="111736" y="29868"/>
                    <a:pt x="111736" y="29868"/>
                    <a:pt x="111736" y="29344"/>
                  </a:cubicBezTo>
                  <a:cubicBezTo>
                    <a:pt x="111017" y="28820"/>
                    <a:pt x="111017" y="26724"/>
                    <a:pt x="111017" y="22532"/>
                  </a:cubicBezTo>
                  <a:cubicBezTo>
                    <a:pt x="110658" y="22008"/>
                    <a:pt x="108862" y="20436"/>
                    <a:pt x="108502" y="19912"/>
                  </a:cubicBezTo>
                  <a:cubicBezTo>
                    <a:pt x="107784" y="19388"/>
                    <a:pt x="107425" y="18864"/>
                    <a:pt x="107425" y="18340"/>
                  </a:cubicBezTo>
                  <a:cubicBezTo>
                    <a:pt x="106706" y="17816"/>
                    <a:pt x="106347" y="16244"/>
                    <a:pt x="105269" y="12576"/>
                  </a:cubicBezTo>
                  <a:cubicBezTo>
                    <a:pt x="105269" y="12052"/>
                    <a:pt x="104910" y="11004"/>
                    <a:pt x="104910" y="11004"/>
                  </a:cubicBezTo>
                  <a:cubicBezTo>
                    <a:pt x="104910" y="11004"/>
                    <a:pt x="104191" y="10480"/>
                    <a:pt x="100958" y="10480"/>
                  </a:cubicBezTo>
                  <a:cubicBezTo>
                    <a:pt x="99520" y="10480"/>
                    <a:pt x="99161" y="8384"/>
                    <a:pt x="97724" y="3144"/>
                  </a:cubicBezTo>
                  <a:cubicBezTo>
                    <a:pt x="97724" y="3144"/>
                    <a:pt x="97724" y="2620"/>
                    <a:pt x="97724" y="2620"/>
                  </a:cubicBezTo>
                  <a:cubicBezTo>
                    <a:pt x="95928" y="4192"/>
                    <a:pt x="90538" y="7336"/>
                    <a:pt x="89820" y="7860"/>
                  </a:cubicBezTo>
                  <a:cubicBezTo>
                    <a:pt x="88742" y="8384"/>
                    <a:pt x="85868" y="8908"/>
                    <a:pt x="84431" y="8384"/>
                  </a:cubicBezTo>
                  <a:cubicBezTo>
                    <a:pt x="83712" y="8384"/>
                    <a:pt x="82994" y="9956"/>
                    <a:pt x="82634" y="11004"/>
                  </a:cubicBezTo>
                  <a:cubicBezTo>
                    <a:pt x="81916" y="11528"/>
                    <a:pt x="81916" y="12576"/>
                    <a:pt x="81197" y="12576"/>
                  </a:cubicBezTo>
                  <a:cubicBezTo>
                    <a:pt x="80479" y="13624"/>
                    <a:pt x="79041" y="12576"/>
                    <a:pt x="77245" y="10480"/>
                  </a:cubicBezTo>
                  <a:cubicBezTo>
                    <a:pt x="76886" y="10480"/>
                    <a:pt x="76886" y="10480"/>
                    <a:pt x="76886" y="10480"/>
                  </a:cubicBezTo>
                  <a:cubicBezTo>
                    <a:pt x="76526" y="9956"/>
                    <a:pt x="75808" y="11004"/>
                    <a:pt x="75449" y="12052"/>
                  </a:cubicBezTo>
                  <a:cubicBezTo>
                    <a:pt x="75089" y="12576"/>
                    <a:pt x="74730" y="13100"/>
                    <a:pt x="74371" y="13624"/>
                  </a:cubicBezTo>
                  <a:cubicBezTo>
                    <a:pt x="72934" y="14672"/>
                    <a:pt x="72215" y="13100"/>
                    <a:pt x="71137" y="11528"/>
                  </a:cubicBezTo>
                  <a:cubicBezTo>
                    <a:pt x="71137" y="11528"/>
                    <a:pt x="70778" y="11004"/>
                    <a:pt x="70778" y="10480"/>
                  </a:cubicBezTo>
                  <a:cubicBezTo>
                    <a:pt x="70059" y="11004"/>
                    <a:pt x="69341" y="12576"/>
                    <a:pt x="68982" y="13100"/>
                  </a:cubicBezTo>
                  <a:cubicBezTo>
                    <a:pt x="68263" y="14672"/>
                    <a:pt x="67544" y="15196"/>
                    <a:pt x="66826" y="15720"/>
                  </a:cubicBezTo>
                  <a:cubicBezTo>
                    <a:pt x="66467" y="16244"/>
                    <a:pt x="65389" y="19912"/>
                    <a:pt x="65029" y="22008"/>
                  </a:cubicBezTo>
                  <a:cubicBezTo>
                    <a:pt x="64670" y="23056"/>
                    <a:pt x="64311" y="24104"/>
                    <a:pt x="64311" y="24628"/>
                  </a:cubicBezTo>
                  <a:cubicBezTo>
                    <a:pt x="63592" y="26724"/>
                    <a:pt x="62155" y="27248"/>
                    <a:pt x="61077" y="27248"/>
                  </a:cubicBezTo>
                  <a:cubicBezTo>
                    <a:pt x="59640" y="27248"/>
                    <a:pt x="57485" y="23056"/>
                    <a:pt x="56407" y="21484"/>
                  </a:cubicBezTo>
                  <a:cubicBezTo>
                    <a:pt x="55688" y="20960"/>
                    <a:pt x="54970" y="20436"/>
                    <a:pt x="54610" y="20436"/>
                  </a:cubicBezTo>
                  <a:cubicBezTo>
                    <a:pt x="52814" y="20436"/>
                    <a:pt x="51736" y="16244"/>
                    <a:pt x="51377" y="14148"/>
                  </a:cubicBezTo>
                  <a:cubicBezTo>
                    <a:pt x="51017" y="12576"/>
                    <a:pt x="51017" y="11528"/>
                    <a:pt x="51377" y="11004"/>
                  </a:cubicBezTo>
                  <a:cubicBezTo>
                    <a:pt x="51377" y="10480"/>
                    <a:pt x="51377" y="9956"/>
                    <a:pt x="51377" y="9432"/>
                  </a:cubicBezTo>
                  <a:cubicBezTo>
                    <a:pt x="51017" y="8384"/>
                    <a:pt x="45628" y="1572"/>
                    <a:pt x="44550" y="524"/>
                  </a:cubicBezTo>
                  <a:cubicBezTo>
                    <a:pt x="44191" y="0"/>
                    <a:pt x="43113" y="0"/>
                    <a:pt x="41676" y="524"/>
                  </a:cubicBezTo>
                  <a:cubicBezTo>
                    <a:pt x="39880" y="1572"/>
                    <a:pt x="34131" y="3668"/>
                    <a:pt x="33053" y="4192"/>
                  </a:cubicBezTo>
                  <a:cubicBezTo>
                    <a:pt x="31976" y="5240"/>
                    <a:pt x="26227" y="11528"/>
                    <a:pt x="25868" y="12576"/>
                  </a:cubicBezTo>
                  <a:cubicBezTo>
                    <a:pt x="25149" y="13100"/>
                    <a:pt x="23712" y="13624"/>
                    <a:pt x="19401" y="13100"/>
                  </a:cubicBezTo>
                  <a:cubicBezTo>
                    <a:pt x="17964" y="13100"/>
                    <a:pt x="16886" y="12576"/>
                    <a:pt x="16526" y="12576"/>
                  </a:cubicBezTo>
                  <a:cubicBezTo>
                    <a:pt x="15449" y="13100"/>
                    <a:pt x="8982" y="16244"/>
                    <a:pt x="8263" y="16768"/>
                  </a:cubicBezTo>
                  <a:cubicBezTo>
                    <a:pt x="7185" y="17816"/>
                    <a:pt x="6107" y="15720"/>
                    <a:pt x="5029" y="14148"/>
                  </a:cubicBezTo>
                  <a:cubicBezTo>
                    <a:pt x="4670" y="14148"/>
                    <a:pt x="4311" y="14672"/>
                    <a:pt x="4311" y="15196"/>
                  </a:cubicBezTo>
                  <a:cubicBezTo>
                    <a:pt x="3952" y="15720"/>
                    <a:pt x="3233" y="16244"/>
                    <a:pt x="2874" y="16768"/>
                  </a:cubicBezTo>
                  <a:cubicBezTo>
                    <a:pt x="1796" y="17816"/>
                    <a:pt x="359" y="18340"/>
                    <a:pt x="0" y="18864"/>
                  </a:cubicBezTo>
                  <a:cubicBezTo>
                    <a:pt x="1796" y="21484"/>
                    <a:pt x="3592" y="24104"/>
                    <a:pt x="3592" y="24628"/>
                  </a:cubicBezTo>
                  <a:cubicBezTo>
                    <a:pt x="3952" y="25676"/>
                    <a:pt x="6107" y="36681"/>
                    <a:pt x="6107" y="38253"/>
                  </a:cubicBezTo>
                  <a:cubicBezTo>
                    <a:pt x="6467" y="40349"/>
                    <a:pt x="6107" y="51353"/>
                    <a:pt x="7185" y="52401"/>
                  </a:cubicBezTo>
                  <a:cubicBezTo>
                    <a:pt x="8263" y="53449"/>
                    <a:pt x="10778" y="55021"/>
                    <a:pt x="10778" y="58165"/>
                  </a:cubicBezTo>
                  <a:cubicBezTo>
                    <a:pt x="10778" y="60786"/>
                    <a:pt x="10059" y="64978"/>
                    <a:pt x="11137" y="68122"/>
                  </a:cubicBezTo>
                  <a:cubicBezTo>
                    <a:pt x="12574" y="71266"/>
                    <a:pt x="15089" y="77030"/>
                    <a:pt x="15089" y="79126"/>
                  </a:cubicBezTo>
                  <a:cubicBezTo>
                    <a:pt x="15089" y="80698"/>
                    <a:pt x="16167" y="87510"/>
                    <a:pt x="16886" y="89606"/>
                  </a:cubicBezTo>
                  <a:cubicBezTo>
                    <a:pt x="17245" y="91179"/>
                    <a:pt x="19041" y="104803"/>
                    <a:pt x="21197" y="104803"/>
                  </a:cubicBezTo>
                  <a:cubicBezTo>
                    <a:pt x="22994" y="104803"/>
                    <a:pt x="24790" y="105327"/>
                    <a:pt x="25868" y="103231"/>
                  </a:cubicBezTo>
                  <a:cubicBezTo>
                    <a:pt x="26946" y="101135"/>
                    <a:pt x="28383" y="94847"/>
                    <a:pt x="29820" y="93799"/>
                  </a:cubicBezTo>
                  <a:cubicBezTo>
                    <a:pt x="30898" y="93275"/>
                    <a:pt x="33053" y="91703"/>
                    <a:pt x="34491" y="93275"/>
                  </a:cubicBezTo>
                  <a:cubicBezTo>
                    <a:pt x="35928" y="94847"/>
                    <a:pt x="36287" y="96943"/>
                    <a:pt x="36287" y="98515"/>
                  </a:cubicBezTo>
                  <a:cubicBezTo>
                    <a:pt x="36287" y="100087"/>
                    <a:pt x="36287" y="101135"/>
                    <a:pt x="37005" y="103231"/>
                  </a:cubicBezTo>
                  <a:cubicBezTo>
                    <a:pt x="37724" y="105327"/>
                    <a:pt x="41317" y="111615"/>
                    <a:pt x="42754" y="111615"/>
                  </a:cubicBezTo>
                  <a:cubicBezTo>
                    <a:pt x="44191" y="111615"/>
                    <a:pt x="48143" y="108995"/>
                    <a:pt x="48862" y="111091"/>
                  </a:cubicBezTo>
                  <a:cubicBezTo>
                    <a:pt x="49580" y="113187"/>
                    <a:pt x="50658" y="113711"/>
                    <a:pt x="52455" y="113711"/>
                  </a:cubicBezTo>
                  <a:cubicBezTo>
                    <a:pt x="54251" y="113711"/>
                    <a:pt x="56407" y="112663"/>
                    <a:pt x="57844" y="111615"/>
                  </a:cubicBezTo>
                  <a:cubicBezTo>
                    <a:pt x="58922" y="110567"/>
                    <a:pt x="60359" y="108471"/>
                    <a:pt x="62155" y="107947"/>
                  </a:cubicBezTo>
                  <a:cubicBezTo>
                    <a:pt x="64311" y="107423"/>
                    <a:pt x="66467" y="108471"/>
                    <a:pt x="66826" y="109519"/>
                  </a:cubicBezTo>
                  <a:cubicBezTo>
                    <a:pt x="67185" y="110567"/>
                    <a:pt x="69341" y="111615"/>
                    <a:pt x="71497" y="113711"/>
                  </a:cubicBezTo>
                  <a:cubicBezTo>
                    <a:pt x="72934" y="115807"/>
                    <a:pt x="75808" y="117903"/>
                    <a:pt x="76886" y="119999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2" name="Shape 6966">
              <a:extLst>
                <a:ext uri="{FF2B5EF4-FFF2-40B4-BE49-F238E27FC236}">
                  <a16:creationId xmlns:a16="http://schemas.microsoft.com/office/drawing/2014/main" id="{2C78FEF7-85EC-49B6-A4B9-CD9F92E80CED}"/>
                </a:ext>
              </a:extLst>
            </p:cNvPr>
            <p:cNvSpPr/>
            <p:nvPr/>
          </p:nvSpPr>
          <p:spPr>
            <a:xfrm>
              <a:off x="5880162" y="4083951"/>
              <a:ext cx="821942" cy="117392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7183" y="81401"/>
                  </a:moveTo>
                  <a:cubicBezTo>
                    <a:pt x="116056" y="80828"/>
                    <a:pt x="114929" y="78917"/>
                    <a:pt x="114647" y="77961"/>
                  </a:cubicBezTo>
                  <a:cubicBezTo>
                    <a:pt x="114647" y="76815"/>
                    <a:pt x="115492" y="75095"/>
                    <a:pt x="116056" y="74331"/>
                  </a:cubicBezTo>
                  <a:cubicBezTo>
                    <a:pt x="116619" y="73566"/>
                    <a:pt x="116901" y="70700"/>
                    <a:pt x="116901" y="70127"/>
                  </a:cubicBezTo>
                  <a:cubicBezTo>
                    <a:pt x="116901" y="69554"/>
                    <a:pt x="118028" y="64968"/>
                    <a:pt x="118028" y="64394"/>
                  </a:cubicBezTo>
                  <a:cubicBezTo>
                    <a:pt x="118028" y="64012"/>
                    <a:pt x="118591" y="63057"/>
                    <a:pt x="118873" y="62292"/>
                  </a:cubicBezTo>
                  <a:cubicBezTo>
                    <a:pt x="119436" y="61337"/>
                    <a:pt x="118591" y="59617"/>
                    <a:pt x="118028" y="58662"/>
                  </a:cubicBezTo>
                  <a:cubicBezTo>
                    <a:pt x="117746" y="57707"/>
                    <a:pt x="113521" y="55414"/>
                    <a:pt x="112676" y="54649"/>
                  </a:cubicBezTo>
                  <a:cubicBezTo>
                    <a:pt x="111830" y="53885"/>
                    <a:pt x="109859" y="55414"/>
                    <a:pt x="108732" y="55796"/>
                  </a:cubicBezTo>
                  <a:cubicBezTo>
                    <a:pt x="107605" y="55987"/>
                    <a:pt x="107605" y="54649"/>
                    <a:pt x="107323" y="53885"/>
                  </a:cubicBezTo>
                  <a:cubicBezTo>
                    <a:pt x="107323" y="53121"/>
                    <a:pt x="108169" y="51783"/>
                    <a:pt x="108732" y="51210"/>
                  </a:cubicBezTo>
                  <a:cubicBezTo>
                    <a:pt x="109295" y="50636"/>
                    <a:pt x="110704" y="47961"/>
                    <a:pt x="110704" y="47961"/>
                  </a:cubicBezTo>
                  <a:cubicBezTo>
                    <a:pt x="111830" y="47197"/>
                    <a:pt x="113239" y="45477"/>
                    <a:pt x="114366" y="45095"/>
                  </a:cubicBezTo>
                  <a:cubicBezTo>
                    <a:pt x="115492" y="44713"/>
                    <a:pt x="118873" y="43566"/>
                    <a:pt x="119999" y="42802"/>
                  </a:cubicBezTo>
                  <a:cubicBezTo>
                    <a:pt x="119999" y="42802"/>
                    <a:pt x="119999" y="42802"/>
                    <a:pt x="119999" y="42802"/>
                  </a:cubicBezTo>
                  <a:cubicBezTo>
                    <a:pt x="119718" y="42611"/>
                    <a:pt x="115492" y="37834"/>
                    <a:pt x="115211" y="37261"/>
                  </a:cubicBezTo>
                  <a:cubicBezTo>
                    <a:pt x="114929" y="37261"/>
                    <a:pt x="114366" y="37261"/>
                    <a:pt x="114084" y="37261"/>
                  </a:cubicBezTo>
                  <a:cubicBezTo>
                    <a:pt x="113521" y="37452"/>
                    <a:pt x="112957" y="37452"/>
                    <a:pt x="112394" y="37261"/>
                  </a:cubicBezTo>
                  <a:cubicBezTo>
                    <a:pt x="111267" y="37070"/>
                    <a:pt x="111549" y="36114"/>
                    <a:pt x="111549" y="35541"/>
                  </a:cubicBezTo>
                  <a:cubicBezTo>
                    <a:pt x="111549" y="35350"/>
                    <a:pt x="111549" y="35350"/>
                    <a:pt x="111549" y="35159"/>
                  </a:cubicBezTo>
                  <a:cubicBezTo>
                    <a:pt x="111549" y="34968"/>
                    <a:pt x="110422" y="34012"/>
                    <a:pt x="109859" y="33630"/>
                  </a:cubicBezTo>
                  <a:cubicBezTo>
                    <a:pt x="109577" y="33439"/>
                    <a:pt x="109577" y="33439"/>
                    <a:pt x="109577" y="33439"/>
                  </a:cubicBezTo>
                  <a:cubicBezTo>
                    <a:pt x="109295" y="33248"/>
                    <a:pt x="109295" y="33057"/>
                    <a:pt x="109295" y="32675"/>
                  </a:cubicBezTo>
                  <a:cubicBezTo>
                    <a:pt x="109577" y="32101"/>
                    <a:pt x="110704" y="31528"/>
                    <a:pt x="112112" y="31146"/>
                  </a:cubicBezTo>
                  <a:cubicBezTo>
                    <a:pt x="112394" y="30955"/>
                    <a:pt x="112394" y="30955"/>
                    <a:pt x="112394" y="30955"/>
                  </a:cubicBezTo>
                  <a:cubicBezTo>
                    <a:pt x="112112" y="30764"/>
                    <a:pt x="111267" y="30573"/>
                    <a:pt x="110704" y="30573"/>
                  </a:cubicBezTo>
                  <a:cubicBezTo>
                    <a:pt x="109859" y="30382"/>
                    <a:pt x="109295" y="29808"/>
                    <a:pt x="109014" y="29426"/>
                  </a:cubicBezTo>
                  <a:cubicBezTo>
                    <a:pt x="109014" y="29426"/>
                    <a:pt x="109014" y="29235"/>
                    <a:pt x="109014" y="29235"/>
                  </a:cubicBezTo>
                  <a:cubicBezTo>
                    <a:pt x="108732" y="29044"/>
                    <a:pt x="107605" y="29044"/>
                    <a:pt x="107042" y="28853"/>
                  </a:cubicBezTo>
                  <a:cubicBezTo>
                    <a:pt x="106760" y="28853"/>
                    <a:pt x="106478" y="28853"/>
                    <a:pt x="106197" y="28662"/>
                  </a:cubicBezTo>
                  <a:cubicBezTo>
                    <a:pt x="105633" y="28089"/>
                    <a:pt x="105915" y="26942"/>
                    <a:pt x="106197" y="25605"/>
                  </a:cubicBezTo>
                  <a:cubicBezTo>
                    <a:pt x="106197" y="25414"/>
                    <a:pt x="106197" y="25222"/>
                    <a:pt x="106478" y="25222"/>
                  </a:cubicBezTo>
                  <a:cubicBezTo>
                    <a:pt x="106478" y="24840"/>
                    <a:pt x="106197" y="24267"/>
                    <a:pt x="105633" y="23694"/>
                  </a:cubicBezTo>
                  <a:cubicBezTo>
                    <a:pt x="105352" y="23312"/>
                    <a:pt x="105070" y="22738"/>
                    <a:pt x="104788" y="21974"/>
                  </a:cubicBezTo>
                  <a:cubicBezTo>
                    <a:pt x="104507" y="21592"/>
                    <a:pt x="104225" y="21210"/>
                    <a:pt x="104225" y="21019"/>
                  </a:cubicBezTo>
                  <a:cubicBezTo>
                    <a:pt x="103943" y="20828"/>
                    <a:pt x="101690" y="20254"/>
                    <a:pt x="101126" y="20254"/>
                  </a:cubicBezTo>
                  <a:cubicBezTo>
                    <a:pt x="100845" y="20445"/>
                    <a:pt x="100281" y="20828"/>
                    <a:pt x="100281" y="21019"/>
                  </a:cubicBezTo>
                  <a:cubicBezTo>
                    <a:pt x="99718" y="21210"/>
                    <a:pt x="99436" y="21592"/>
                    <a:pt x="99154" y="21783"/>
                  </a:cubicBezTo>
                  <a:cubicBezTo>
                    <a:pt x="98309" y="22165"/>
                    <a:pt x="97183" y="22165"/>
                    <a:pt x="96338" y="21592"/>
                  </a:cubicBezTo>
                  <a:cubicBezTo>
                    <a:pt x="95492" y="21019"/>
                    <a:pt x="95492" y="19299"/>
                    <a:pt x="95492" y="18726"/>
                  </a:cubicBezTo>
                  <a:cubicBezTo>
                    <a:pt x="95492" y="18535"/>
                    <a:pt x="94084" y="18152"/>
                    <a:pt x="92957" y="17961"/>
                  </a:cubicBezTo>
                  <a:cubicBezTo>
                    <a:pt x="92676" y="17961"/>
                    <a:pt x="92112" y="18343"/>
                    <a:pt x="91549" y="18726"/>
                  </a:cubicBezTo>
                  <a:cubicBezTo>
                    <a:pt x="91267" y="18917"/>
                    <a:pt x="90985" y="19108"/>
                    <a:pt x="90704" y="19108"/>
                  </a:cubicBezTo>
                  <a:cubicBezTo>
                    <a:pt x="90140" y="19490"/>
                    <a:pt x="89577" y="20636"/>
                    <a:pt x="89295" y="21210"/>
                  </a:cubicBezTo>
                  <a:cubicBezTo>
                    <a:pt x="89014" y="21401"/>
                    <a:pt x="89014" y="21401"/>
                    <a:pt x="89014" y="21401"/>
                  </a:cubicBezTo>
                  <a:cubicBezTo>
                    <a:pt x="89014" y="21401"/>
                    <a:pt x="88732" y="21592"/>
                    <a:pt x="88732" y="21592"/>
                  </a:cubicBezTo>
                  <a:cubicBezTo>
                    <a:pt x="87887" y="21783"/>
                    <a:pt x="86760" y="21592"/>
                    <a:pt x="84507" y="20828"/>
                  </a:cubicBezTo>
                  <a:cubicBezTo>
                    <a:pt x="84507" y="20636"/>
                    <a:pt x="84507" y="20636"/>
                    <a:pt x="84507" y="20636"/>
                  </a:cubicBezTo>
                  <a:cubicBezTo>
                    <a:pt x="83380" y="20254"/>
                    <a:pt x="83098" y="19108"/>
                    <a:pt x="83098" y="18917"/>
                  </a:cubicBezTo>
                  <a:cubicBezTo>
                    <a:pt x="82816" y="18152"/>
                    <a:pt x="84225" y="17006"/>
                    <a:pt x="85070" y="16624"/>
                  </a:cubicBezTo>
                  <a:cubicBezTo>
                    <a:pt x="85070" y="16433"/>
                    <a:pt x="85070" y="16433"/>
                    <a:pt x="84788" y="16242"/>
                  </a:cubicBezTo>
                  <a:cubicBezTo>
                    <a:pt x="84788" y="16050"/>
                    <a:pt x="84507" y="15859"/>
                    <a:pt x="84507" y="15668"/>
                  </a:cubicBezTo>
                  <a:cubicBezTo>
                    <a:pt x="84225" y="15668"/>
                    <a:pt x="83661" y="15859"/>
                    <a:pt x="83380" y="15859"/>
                  </a:cubicBezTo>
                  <a:cubicBezTo>
                    <a:pt x="82816" y="16050"/>
                    <a:pt x="82535" y="16050"/>
                    <a:pt x="82253" y="16050"/>
                  </a:cubicBezTo>
                  <a:cubicBezTo>
                    <a:pt x="81408" y="16050"/>
                    <a:pt x="78873" y="15668"/>
                    <a:pt x="78309" y="15286"/>
                  </a:cubicBezTo>
                  <a:cubicBezTo>
                    <a:pt x="78028" y="15095"/>
                    <a:pt x="77746" y="14904"/>
                    <a:pt x="77464" y="14713"/>
                  </a:cubicBezTo>
                  <a:cubicBezTo>
                    <a:pt x="76338" y="14331"/>
                    <a:pt x="75774" y="13949"/>
                    <a:pt x="75774" y="13566"/>
                  </a:cubicBezTo>
                  <a:cubicBezTo>
                    <a:pt x="75492" y="13375"/>
                    <a:pt x="75211" y="12611"/>
                    <a:pt x="75211" y="12038"/>
                  </a:cubicBezTo>
                  <a:cubicBezTo>
                    <a:pt x="74366" y="11847"/>
                    <a:pt x="72957" y="11656"/>
                    <a:pt x="72394" y="11464"/>
                  </a:cubicBezTo>
                  <a:cubicBezTo>
                    <a:pt x="71267" y="11464"/>
                    <a:pt x="71267" y="10127"/>
                    <a:pt x="71549" y="9363"/>
                  </a:cubicBezTo>
                  <a:cubicBezTo>
                    <a:pt x="71549" y="9171"/>
                    <a:pt x="71549" y="8980"/>
                    <a:pt x="71549" y="8980"/>
                  </a:cubicBezTo>
                  <a:cubicBezTo>
                    <a:pt x="71267" y="8789"/>
                    <a:pt x="70704" y="8789"/>
                    <a:pt x="70422" y="8789"/>
                  </a:cubicBezTo>
                  <a:cubicBezTo>
                    <a:pt x="70140" y="8598"/>
                    <a:pt x="69577" y="8598"/>
                    <a:pt x="69295" y="8407"/>
                  </a:cubicBezTo>
                  <a:cubicBezTo>
                    <a:pt x="68450" y="8216"/>
                    <a:pt x="67605" y="7261"/>
                    <a:pt x="66478" y="5923"/>
                  </a:cubicBezTo>
                  <a:cubicBezTo>
                    <a:pt x="66197" y="5732"/>
                    <a:pt x="66197" y="5732"/>
                    <a:pt x="66197" y="5732"/>
                  </a:cubicBezTo>
                  <a:cubicBezTo>
                    <a:pt x="65915" y="5541"/>
                    <a:pt x="65070" y="5350"/>
                    <a:pt x="64507" y="5159"/>
                  </a:cubicBezTo>
                  <a:cubicBezTo>
                    <a:pt x="63661" y="4968"/>
                    <a:pt x="63098" y="4777"/>
                    <a:pt x="62816" y="4777"/>
                  </a:cubicBezTo>
                  <a:cubicBezTo>
                    <a:pt x="61690" y="4203"/>
                    <a:pt x="60845" y="1910"/>
                    <a:pt x="60845" y="1337"/>
                  </a:cubicBezTo>
                  <a:cubicBezTo>
                    <a:pt x="60563" y="1146"/>
                    <a:pt x="59999" y="764"/>
                    <a:pt x="59436" y="382"/>
                  </a:cubicBezTo>
                  <a:cubicBezTo>
                    <a:pt x="59154" y="573"/>
                    <a:pt x="59154" y="573"/>
                    <a:pt x="58873" y="764"/>
                  </a:cubicBezTo>
                  <a:cubicBezTo>
                    <a:pt x="58873" y="764"/>
                    <a:pt x="57183" y="1528"/>
                    <a:pt x="56338" y="1528"/>
                  </a:cubicBezTo>
                  <a:cubicBezTo>
                    <a:pt x="56338" y="1528"/>
                    <a:pt x="56056" y="1528"/>
                    <a:pt x="56056" y="1528"/>
                  </a:cubicBezTo>
                  <a:cubicBezTo>
                    <a:pt x="55492" y="1719"/>
                    <a:pt x="54366" y="1910"/>
                    <a:pt x="53521" y="1337"/>
                  </a:cubicBezTo>
                  <a:cubicBezTo>
                    <a:pt x="53239" y="955"/>
                    <a:pt x="53239" y="955"/>
                    <a:pt x="53239" y="955"/>
                  </a:cubicBezTo>
                  <a:cubicBezTo>
                    <a:pt x="52676" y="573"/>
                    <a:pt x="52394" y="382"/>
                    <a:pt x="51830" y="191"/>
                  </a:cubicBezTo>
                  <a:cubicBezTo>
                    <a:pt x="51549" y="191"/>
                    <a:pt x="51549" y="191"/>
                    <a:pt x="51549" y="191"/>
                  </a:cubicBezTo>
                  <a:cubicBezTo>
                    <a:pt x="50985" y="191"/>
                    <a:pt x="49859" y="0"/>
                    <a:pt x="49577" y="191"/>
                  </a:cubicBezTo>
                  <a:cubicBezTo>
                    <a:pt x="49577" y="191"/>
                    <a:pt x="49295" y="382"/>
                    <a:pt x="49014" y="573"/>
                  </a:cubicBezTo>
                  <a:cubicBezTo>
                    <a:pt x="48450" y="764"/>
                    <a:pt x="47042" y="1528"/>
                    <a:pt x="46760" y="1910"/>
                  </a:cubicBezTo>
                  <a:cubicBezTo>
                    <a:pt x="46760" y="1910"/>
                    <a:pt x="47042" y="2101"/>
                    <a:pt x="47042" y="2101"/>
                  </a:cubicBezTo>
                  <a:cubicBezTo>
                    <a:pt x="47605" y="2292"/>
                    <a:pt x="48169" y="2675"/>
                    <a:pt x="47605" y="3439"/>
                  </a:cubicBezTo>
                  <a:cubicBezTo>
                    <a:pt x="47605" y="3439"/>
                    <a:pt x="47605" y="3630"/>
                    <a:pt x="47323" y="3821"/>
                  </a:cubicBezTo>
                  <a:cubicBezTo>
                    <a:pt x="47042" y="4012"/>
                    <a:pt x="46478" y="4968"/>
                    <a:pt x="46760" y="5159"/>
                  </a:cubicBezTo>
                  <a:cubicBezTo>
                    <a:pt x="46760" y="5350"/>
                    <a:pt x="47042" y="5541"/>
                    <a:pt x="47323" y="5541"/>
                  </a:cubicBezTo>
                  <a:cubicBezTo>
                    <a:pt x="47605" y="5923"/>
                    <a:pt x="48450" y="6305"/>
                    <a:pt x="47887" y="6687"/>
                  </a:cubicBezTo>
                  <a:cubicBezTo>
                    <a:pt x="47605" y="7070"/>
                    <a:pt x="47042" y="8980"/>
                    <a:pt x="47042" y="9363"/>
                  </a:cubicBezTo>
                  <a:cubicBezTo>
                    <a:pt x="47323" y="9745"/>
                    <a:pt x="50985" y="12420"/>
                    <a:pt x="51549" y="12420"/>
                  </a:cubicBezTo>
                  <a:cubicBezTo>
                    <a:pt x="51830" y="12420"/>
                    <a:pt x="52112" y="12420"/>
                    <a:pt x="52676" y="12229"/>
                  </a:cubicBezTo>
                  <a:cubicBezTo>
                    <a:pt x="53802" y="12038"/>
                    <a:pt x="54366" y="11847"/>
                    <a:pt x="54929" y="12038"/>
                  </a:cubicBezTo>
                  <a:cubicBezTo>
                    <a:pt x="55211" y="12229"/>
                    <a:pt x="55211" y="12229"/>
                    <a:pt x="55211" y="12420"/>
                  </a:cubicBezTo>
                  <a:cubicBezTo>
                    <a:pt x="55211" y="12611"/>
                    <a:pt x="55211" y="12802"/>
                    <a:pt x="55211" y="13184"/>
                  </a:cubicBezTo>
                  <a:cubicBezTo>
                    <a:pt x="54929" y="13566"/>
                    <a:pt x="54929" y="13757"/>
                    <a:pt x="55211" y="13949"/>
                  </a:cubicBezTo>
                  <a:cubicBezTo>
                    <a:pt x="55211" y="13949"/>
                    <a:pt x="55492" y="13949"/>
                    <a:pt x="55492" y="14140"/>
                  </a:cubicBezTo>
                  <a:cubicBezTo>
                    <a:pt x="56056" y="14331"/>
                    <a:pt x="56619" y="14713"/>
                    <a:pt x="56619" y="15286"/>
                  </a:cubicBezTo>
                  <a:cubicBezTo>
                    <a:pt x="56619" y="17006"/>
                    <a:pt x="56338" y="17961"/>
                    <a:pt x="55492" y="17961"/>
                  </a:cubicBezTo>
                  <a:cubicBezTo>
                    <a:pt x="55211" y="18152"/>
                    <a:pt x="53239" y="18726"/>
                    <a:pt x="52957" y="19108"/>
                  </a:cubicBezTo>
                  <a:cubicBezTo>
                    <a:pt x="52957" y="19299"/>
                    <a:pt x="51549" y="21210"/>
                    <a:pt x="50422" y="21210"/>
                  </a:cubicBezTo>
                  <a:cubicBezTo>
                    <a:pt x="50140" y="21210"/>
                    <a:pt x="49577" y="21210"/>
                    <a:pt x="48732" y="21019"/>
                  </a:cubicBezTo>
                  <a:cubicBezTo>
                    <a:pt x="47887" y="21019"/>
                    <a:pt x="46478" y="20828"/>
                    <a:pt x="46197" y="20828"/>
                  </a:cubicBezTo>
                  <a:cubicBezTo>
                    <a:pt x="46197" y="20828"/>
                    <a:pt x="45915" y="21019"/>
                    <a:pt x="45633" y="21019"/>
                  </a:cubicBezTo>
                  <a:cubicBezTo>
                    <a:pt x="45070" y="21401"/>
                    <a:pt x="43943" y="21783"/>
                    <a:pt x="43098" y="21783"/>
                  </a:cubicBezTo>
                  <a:cubicBezTo>
                    <a:pt x="42253" y="21783"/>
                    <a:pt x="40845" y="21592"/>
                    <a:pt x="40281" y="21592"/>
                  </a:cubicBezTo>
                  <a:cubicBezTo>
                    <a:pt x="40000" y="21783"/>
                    <a:pt x="40000" y="22356"/>
                    <a:pt x="40000" y="23885"/>
                  </a:cubicBezTo>
                  <a:cubicBezTo>
                    <a:pt x="40000" y="24076"/>
                    <a:pt x="40000" y="24076"/>
                    <a:pt x="40000" y="24076"/>
                  </a:cubicBezTo>
                  <a:cubicBezTo>
                    <a:pt x="40281" y="24458"/>
                    <a:pt x="40563" y="24840"/>
                    <a:pt x="40563" y="24840"/>
                  </a:cubicBezTo>
                  <a:cubicBezTo>
                    <a:pt x="40845" y="24840"/>
                    <a:pt x="40845" y="25031"/>
                    <a:pt x="41126" y="25031"/>
                  </a:cubicBezTo>
                  <a:cubicBezTo>
                    <a:pt x="42816" y="25414"/>
                    <a:pt x="44225" y="25796"/>
                    <a:pt x="44225" y="26560"/>
                  </a:cubicBezTo>
                  <a:cubicBezTo>
                    <a:pt x="44225" y="27133"/>
                    <a:pt x="44507" y="28662"/>
                    <a:pt x="45070" y="29044"/>
                  </a:cubicBezTo>
                  <a:cubicBezTo>
                    <a:pt x="45070" y="29235"/>
                    <a:pt x="45352" y="29426"/>
                    <a:pt x="45633" y="29617"/>
                  </a:cubicBezTo>
                  <a:cubicBezTo>
                    <a:pt x="46478" y="30191"/>
                    <a:pt x="47323" y="30764"/>
                    <a:pt x="47323" y="31146"/>
                  </a:cubicBezTo>
                  <a:cubicBezTo>
                    <a:pt x="47605" y="31337"/>
                    <a:pt x="47605" y="31528"/>
                    <a:pt x="47887" y="32292"/>
                  </a:cubicBezTo>
                  <a:cubicBezTo>
                    <a:pt x="48169" y="33057"/>
                    <a:pt x="48732" y="34585"/>
                    <a:pt x="49295" y="34777"/>
                  </a:cubicBezTo>
                  <a:cubicBezTo>
                    <a:pt x="51549" y="36878"/>
                    <a:pt x="52394" y="36878"/>
                    <a:pt x="52394" y="36878"/>
                  </a:cubicBezTo>
                  <a:cubicBezTo>
                    <a:pt x="52676" y="36687"/>
                    <a:pt x="53239" y="36687"/>
                    <a:pt x="53521" y="36496"/>
                  </a:cubicBezTo>
                  <a:cubicBezTo>
                    <a:pt x="54929" y="36114"/>
                    <a:pt x="55492" y="36114"/>
                    <a:pt x="56056" y="36305"/>
                  </a:cubicBezTo>
                  <a:cubicBezTo>
                    <a:pt x="56056" y="36305"/>
                    <a:pt x="56338" y="36496"/>
                    <a:pt x="56901" y="36496"/>
                  </a:cubicBezTo>
                  <a:cubicBezTo>
                    <a:pt x="59436" y="37452"/>
                    <a:pt x="60845" y="38025"/>
                    <a:pt x="61126" y="38407"/>
                  </a:cubicBezTo>
                  <a:cubicBezTo>
                    <a:pt x="61126" y="38598"/>
                    <a:pt x="61690" y="38980"/>
                    <a:pt x="62253" y="39363"/>
                  </a:cubicBezTo>
                  <a:cubicBezTo>
                    <a:pt x="62816" y="39745"/>
                    <a:pt x="63380" y="40127"/>
                    <a:pt x="63380" y="40318"/>
                  </a:cubicBezTo>
                  <a:cubicBezTo>
                    <a:pt x="63661" y="40891"/>
                    <a:pt x="64225" y="41847"/>
                    <a:pt x="64225" y="42420"/>
                  </a:cubicBezTo>
                  <a:cubicBezTo>
                    <a:pt x="64225" y="42802"/>
                    <a:pt x="63098" y="46624"/>
                    <a:pt x="61971" y="46815"/>
                  </a:cubicBezTo>
                  <a:cubicBezTo>
                    <a:pt x="61690" y="47006"/>
                    <a:pt x="61408" y="47006"/>
                    <a:pt x="60845" y="47197"/>
                  </a:cubicBezTo>
                  <a:cubicBezTo>
                    <a:pt x="59999" y="47388"/>
                    <a:pt x="58028" y="47770"/>
                    <a:pt x="57746" y="47961"/>
                  </a:cubicBezTo>
                  <a:cubicBezTo>
                    <a:pt x="57746" y="47961"/>
                    <a:pt x="57464" y="48152"/>
                    <a:pt x="57183" y="48343"/>
                  </a:cubicBezTo>
                  <a:cubicBezTo>
                    <a:pt x="56056" y="48917"/>
                    <a:pt x="54366" y="50254"/>
                    <a:pt x="53802" y="50636"/>
                  </a:cubicBezTo>
                  <a:cubicBezTo>
                    <a:pt x="53239" y="51019"/>
                    <a:pt x="50704" y="54458"/>
                    <a:pt x="50704" y="54840"/>
                  </a:cubicBezTo>
                  <a:cubicBezTo>
                    <a:pt x="50704" y="54840"/>
                    <a:pt x="50704" y="54840"/>
                    <a:pt x="50704" y="54840"/>
                  </a:cubicBezTo>
                  <a:cubicBezTo>
                    <a:pt x="50422" y="55414"/>
                    <a:pt x="50422" y="55605"/>
                    <a:pt x="49859" y="56369"/>
                  </a:cubicBezTo>
                  <a:cubicBezTo>
                    <a:pt x="49295" y="56751"/>
                    <a:pt x="48450" y="57133"/>
                    <a:pt x="47887" y="57515"/>
                  </a:cubicBezTo>
                  <a:cubicBezTo>
                    <a:pt x="47323" y="57707"/>
                    <a:pt x="47042" y="58089"/>
                    <a:pt x="47042" y="58089"/>
                  </a:cubicBezTo>
                  <a:cubicBezTo>
                    <a:pt x="46197" y="58853"/>
                    <a:pt x="44225" y="61146"/>
                    <a:pt x="43943" y="61719"/>
                  </a:cubicBezTo>
                  <a:cubicBezTo>
                    <a:pt x="43943" y="61719"/>
                    <a:pt x="43943" y="61910"/>
                    <a:pt x="43943" y="62101"/>
                  </a:cubicBezTo>
                  <a:cubicBezTo>
                    <a:pt x="44507" y="63630"/>
                    <a:pt x="44788" y="64585"/>
                    <a:pt x="45070" y="64777"/>
                  </a:cubicBezTo>
                  <a:cubicBezTo>
                    <a:pt x="45070" y="64777"/>
                    <a:pt x="45633" y="64777"/>
                    <a:pt x="45915" y="64777"/>
                  </a:cubicBezTo>
                  <a:cubicBezTo>
                    <a:pt x="47042" y="64968"/>
                    <a:pt x="48732" y="65159"/>
                    <a:pt x="48732" y="65732"/>
                  </a:cubicBezTo>
                  <a:cubicBezTo>
                    <a:pt x="48732" y="66114"/>
                    <a:pt x="48450" y="66305"/>
                    <a:pt x="48450" y="66496"/>
                  </a:cubicBezTo>
                  <a:cubicBezTo>
                    <a:pt x="48450" y="66687"/>
                    <a:pt x="48450" y="66878"/>
                    <a:pt x="48450" y="67070"/>
                  </a:cubicBezTo>
                  <a:cubicBezTo>
                    <a:pt x="49295" y="67643"/>
                    <a:pt x="50704" y="68598"/>
                    <a:pt x="50422" y="69554"/>
                  </a:cubicBezTo>
                  <a:cubicBezTo>
                    <a:pt x="50422" y="69745"/>
                    <a:pt x="50422" y="69936"/>
                    <a:pt x="50140" y="70127"/>
                  </a:cubicBezTo>
                  <a:cubicBezTo>
                    <a:pt x="49859" y="71082"/>
                    <a:pt x="49577" y="72229"/>
                    <a:pt x="49014" y="72802"/>
                  </a:cubicBezTo>
                  <a:cubicBezTo>
                    <a:pt x="47887" y="73566"/>
                    <a:pt x="42816" y="77006"/>
                    <a:pt x="42253" y="77197"/>
                  </a:cubicBezTo>
                  <a:cubicBezTo>
                    <a:pt x="41971" y="77388"/>
                    <a:pt x="41126" y="77579"/>
                    <a:pt x="40000" y="77961"/>
                  </a:cubicBezTo>
                  <a:cubicBezTo>
                    <a:pt x="39154" y="78152"/>
                    <a:pt x="38028" y="78535"/>
                    <a:pt x="37746" y="78726"/>
                  </a:cubicBezTo>
                  <a:cubicBezTo>
                    <a:pt x="37746" y="78726"/>
                    <a:pt x="37464" y="78917"/>
                    <a:pt x="37183" y="79108"/>
                  </a:cubicBezTo>
                  <a:cubicBezTo>
                    <a:pt x="35492" y="80445"/>
                    <a:pt x="34929" y="80828"/>
                    <a:pt x="34366" y="80828"/>
                  </a:cubicBezTo>
                  <a:cubicBezTo>
                    <a:pt x="34366" y="80828"/>
                    <a:pt x="34084" y="81019"/>
                    <a:pt x="34084" y="81019"/>
                  </a:cubicBezTo>
                  <a:cubicBezTo>
                    <a:pt x="32394" y="81210"/>
                    <a:pt x="31549" y="81401"/>
                    <a:pt x="31267" y="81401"/>
                  </a:cubicBezTo>
                  <a:cubicBezTo>
                    <a:pt x="31267" y="82165"/>
                    <a:pt x="30422" y="85031"/>
                    <a:pt x="30140" y="85414"/>
                  </a:cubicBezTo>
                  <a:cubicBezTo>
                    <a:pt x="29859" y="85796"/>
                    <a:pt x="27887" y="87133"/>
                    <a:pt x="27042" y="87324"/>
                  </a:cubicBezTo>
                  <a:cubicBezTo>
                    <a:pt x="26760" y="87515"/>
                    <a:pt x="26478" y="87515"/>
                    <a:pt x="26197" y="87515"/>
                  </a:cubicBezTo>
                  <a:cubicBezTo>
                    <a:pt x="25915" y="87707"/>
                    <a:pt x="25070" y="87707"/>
                    <a:pt x="24788" y="87898"/>
                  </a:cubicBezTo>
                  <a:cubicBezTo>
                    <a:pt x="24507" y="89235"/>
                    <a:pt x="23380" y="92484"/>
                    <a:pt x="21971" y="92675"/>
                  </a:cubicBezTo>
                  <a:cubicBezTo>
                    <a:pt x="21408" y="92675"/>
                    <a:pt x="20281" y="92675"/>
                    <a:pt x="18873" y="92484"/>
                  </a:cubicBezTo>
                  <a:cubicBezTo>
                    <a:pt x="17746" y="92292"/>
                    <a:pt x="16056" y="92101"/>
                    <a:pt x="15492" y="92292"/>
                  </a:cubicBezTo>
                  <a:cubicBezTo>
                    <a:pt x="15211" y="92484"/>
                    <a:pt x="10140" y="95541"/>
                    <a:pt x="9577" y="95923"/>
                  </a:cubicBezTo>
                  <a:cubicBezTo>
                    <a:pt x="8732" y="96496"/>
                    <a:pt x="7887" y="97070"/>
                    <a:pt x="6197" y="96496"/>
                  </a:cubicBezTo>
                  <a:cubicBezTo>
                    <a:pt x="4788" y="95923"/>
                    <a:pt x="3380" y="96114"/>
                    <a:pt x="2816" y="96496"/>
                  </a:cubicBezTo>
                  <a:cubicBezTo>
                    <a:pt x="1971" y="96687"/>
                    <a:pt x="1690" y="97261"/>
                    <a:pt x="1690" y="97643"/>
                  </a:cubicBezTo>
                  <a:cubicBezTo>
                    <a:pt x="1690" y="97643"/>
                    <a:pt x="1408" y="97834"/>
                    <a:pt x="1408" y="98025"/>
                  </a:cubicBezTo>
                  <a:cubicBezTo>
                    <a:pt x="1408" y="98598"/>
                    <a:pt x="1408" y="99363"/>
                    <a:pt x="1690" y="99745"/>
                  </a:cubicBezTo>
                  <a:cubicBezTo>
                    <a:pt x="1690" y="99745"/>
                    <a:pt x="1971" y="99936"/>
                    <a:pt x="1971" y="99936"/>
                  </a:cubicBezTo>
                  <a:cubicBezTo>
                    <a:pt x="2253" y="100318"/>
                    <a:pt x="2816" y="100700"/>
                    <a:pt x="2535" y="101273"/>
                  </a:cubicBezTo>
                  <a:cubicBezTo>
                    <a:pt x="2535" y="101273"/>
                    <a:pt x="2253" y="101464"/>
                    <a:pt x="1971" y="101656"/>
                  </a:cubicBezTo>
                  <a:cubicBezTo>
                    <a:pt x="1690" y="101847"/>
                    <a:pt x="1408" y="101847"/>
                    <a:pt x="1126" y="101847"/>
                  </a:cubicBezTo>
                  <a:cubicBezTo>
                    <a:pt x="845" y="102038"/>
                    <a:pt x="845" y="102038"/>
                    <a:pt x="845" y="102229"/>
                  </a:cubicBezTo>
                  <a:cubicBezTo>
                    <a:pt x="845" y="102420"/>
                    <a:pt x="563" y="102802"/>
                    <a:pt x="563" y="103375"/>
                  </a:cubicBezTo>
                  <a:cubicBezTo>
                    <a:pt x="563" y="103949"/>
                    <a:pt x="281" y="105286"/>
                    <a:pt x="281" y="105859"/>
                  </a:cubicBezTo>
                  <a:cubicBezTo>
                    <a:pt x="563" y="105859"/>
                    <a:pt x="1126" y="105668"/>
                    <a:pt x="1408" y="105668"/>
                  </a:cubicBezTo>
                  <a:cubicBezTo>
                    <a:pt x="2535" y="105477"/>
                    <a:pt x="3380" y="105286"/>
                    <a:pt x="3943" y="105668"/>
                  </a:cubicBezTo>
                  <a:cubicBezTo>
                    <a:pt x="3943" y="105668"/>
                    <a:pt x="3943" y="105668"/>
                    <a:pt x="4225" y="105668"/>
                  </a:cubicBezTo>
                  <a:cubicBezTo>
                    <a:pt x="5070" y="106433"/>
                    <a:pt x="6197" y="107006"/>
                    <a:pt x="6197" y="107579"/>
                  </a:cubicBezTo>
                  <a:cubicBezTo>
                    <a:pt x="6197" y="107770"/>
                    <a:pt x="6197" y="107961"/>
                    <a:pt x="5915" y="108152"/>
                  </a:cubicBezTo>
                  <a:cubicBezTo>
                    <a:pt x="5352" y="108535"/>
                    <a:pt x="5352" y="108535"/>
                    <a:pt x="5352" y="108535"/>
                  </a:cubicBezTo>
                  <a:cubicBezTo>
                    <a:pt x="1126" y="111210"/>
                    <a:pt x="0" y="112165"/>
                    <a:pt x="0" y="112356"/>
                  </a:cubicBezTo>
                  <a:cubicBezTo>
                    <a:pt x="0" y="113121"/>
                    <a:pt x="281" y="114840"/>
                    <a:pt x="281" y="115031"/>
                  </a:cubicBezTo>
                  <a:cubicBezTo>
                    <a:pt x="563" y="115031"/>
                    <a:pt x="281" y="115031"/>
                    <a:pt x="281" y="115222"/>
                  </a:cubicBezTo>
                  <a:cubicBezTo>
                    <a:pt x="1408" y="115605"/>
                    <a:pt x="2253" y="116369"/>
                    <a:pt x="2816" y="116560"/>
                  </a:cubicBezTo>
                  <a:cubicBezTo>
                    <a:pt x="3380" y="116942"/>
                    <a:pt x="4225" y="118280"/>
                    <a:pt x="4788" y="118853"/>
                  </a:cubicBezTo>
                  <a:cubicBezTo>
                    <a:pt x="5352" y="119617"/>
                    <a:pt x="9577" y="120000"/>
                    <a:pt x="10422" y="120000"/>
                  </a:cubicBezTo>
                  <a:cubicBezTo>
                    <a:pt x="11267" y="120000"/>
                    <a:pt x="14084" y="119617"/>
                    <a:pt x="14929" y="119235"/>
                  </a:cubicBezTo>
                  <a:cubicBezTo>
                    <a:pt x="16056" y="118662"/>
                    <a:pt x="20563" y="119235"/>
                    <a:pt x="23098" y="119235"/>
                  </a:cubicBezTo>
                  <a:cubicBezTo>
                    <a:pt x="25633" y="119426"/>
                    <a:pt x="27887" y="118471"/>
                    <a:pt x="29295" y="118280"/>
                  </a:cubicBezTo>
                  <a:cubicBezTo>
                    <a:pt x="30422" y="117898"/>
                    <a:pt x="35211" y="117898"/>
                    <a:pt x="36619" y="117515"/>
                  </a:cubicBezTo>
                  <a:cubicBezTo>
                    <a:pt x="38028" y="117324"/>
                    <a:pt x="41408" y="114076"/>
                    <a:pt x="42535" y="113503"/>
                  </a:cubicBezTo>
                  <a:cubicBezTo>
                    <a:pt x="43661" y="112929"/>
                    <a:pt x="47323" y="111974"/>
                    <a:pt x="48450" y="111592"/>
                  </a:cubicBezTo>
                  <a:cubicBezTo>
                    <a:pt x="49577" y="111210"/>
                    <a:pt x="55492" y="108152"/>
                    <a:pt x="56619" y="107388"/>
                  </a:cubicBezTo>
                  <a:cubicBezTo>
                    <a:pt x="57464" y="106433"/>
                    <a:pt x="59154" y="103375"/>
                    <a:pt x="59436" y="102420"/>
                  </a:cubicBezTo>
                  <a:cubicBezTo>
                    <a:pt x="59436" y="101656"/>
                    <a:pt x="64788" y="98789"/>
                    <a:pt x="65915" y="98025"/>
                  </a:cubicBezTo>
                  <a:cubicBezTo>
                    <a:pt x="67042" y="97452"/>
                    <a:pt x="69295" y="97070"/>
                    <a:pt x="70140" y="96687"/>
                  </a:cubicBezTo>
                  <a:cubicBezTo>
                    <a:pt x="71267" y="96305"/>
                    <a:pt x="78591" y="98407"/>
                    <a:pt x="80000" y="98598"/>
                  </a:cubicBezTo>
                  <a:cubicBezTo>
                    <a:pt x="81126" y="98789"/>
                    <a:pt x="87605" y="95350"/>
                    <a:pt x="88450" y="95159"/>
                  </a:cubicBezTo>
                  <a:cubicBezTo>
                    <a:pt x="89295" y="94777"/>
                    <a:pt x="92676" y="95541"/>
                    <a:pt x="93239" y="95541"/>
                  </a:cubicBezTo>
                  <a:cubicBezTo>
                    <a:pt x="93802" y="95541"/>
                    <a:pt x="100000" y="96114"/>
                    <a:pt x="101408" y="96114"/>
                  </a:cubicBezTo>
                  <a:cubicBezTo>
                    <a:pt x="102816" y="96114"/>
                    <a:pt x="107323" y="94777"/>
                    <a:pt x="107887" y="94394"/>
                  </a:cubicBezTo>
                  <a:cubicBezTo>
                    <a:pt x="108450" y="94012"/>
                    <a:pt x="111267" y="92292"/>
                    <a:pt x="111830" y="91910"/>
                  </a:cubicBezTo>
                  <a:cubicBezTo>
                    <a:pt x="112676" y="91528"/>
                    <a:pt x="114084" y="88471"/>
                    <a:pt x="114647" y="87898"/>
                  </a:cubicBezTo>
                  <a:cubicBezTo>
                    <a:pt x="114929" y="87133"/>
                    <a:pt x="118028" y="86751"/>
                    <a:pt x="118873" y="86560"/>
                  </a:cubicBezTo>
                  <a:cubicBezTo>
                    <a:pt x="119999" y="86178"/>
                    <a:pt x="119436" y="83694"/>
                    <a:pt x="119436" y="82929"/>
                  </a:cubicBezTo>
                  <a:cubicBezTo>
                    <a:pt x="119436" y="81974"/>
                    <a:pt x="118309" y="81783"/>
                    <a:pt x="117183" y="81401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3" name="Shape 6967">
              <a:extLst>
                <a:ext uri="{FF2B5EF4-FFF2-40B4-BE49-F238E27FC236}">
                  <a16:creationId xmlns:a16="http://schemas.microsoft.com/office/drawing/2014/main" id="{BD077D2C-18E1-400B-9960-7AD7574EE7A2}"/>
                </a:ext>
              </a:extLst>
            </p:cNvPr>
            <p:cNvSpPr/>
            <p:nvPr/>
          </p:nvSpPr>
          <p:spPr>
            <a:xfrm>
              <a:off x="1813863" y="2693531"/>
              <a:ext cx="822908" cy="76519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90140" y="24645"/>
                  </a:moveTo>
                  <a:cubicBezTo>
                    <a:pt x="88732" y="25525"/>
                    <a:pt x="89859" y="22591"/>
                    <a:pt x="90140" y="21711"/>
                  </a:cubicBezTo>
                  <a:cubicBezTo>
                    <a:pt x="90140" y="20831"/>
                    <a:pt x="91830" y="19364"/>
                    <a:pt x="92394" y="18777"/>
                  </a:cubicBezTo>
                  <a:cubicBezTo>
                    <a:pt x="93239" y="18190"/>
                    <a:pt x="90140" y="13789"/>
                    <a:pt x="89859" y="12909"/>
                  </a:cubicBezTo>
                  <a:cubicBezTo>
                    <a:pt x="89295" y="11735"/>
                    <a:pt x="86760" y="10855"/>
                    <a:pt x="85352" y="10268"/>
                  </a:cubicBezTo>
                  <a:cubicBezTo>
                    <a:pt x="84225" y="9682"/>
                    <a:pt x="78873" y="11735"/>
                    <a:pt x="78028" y="12029"/>
                  </a:cubicBezTo>
                  <a:cubicBezTo>
                    <a:pt x="76901" y="12322"/>
                    <a:pt x="74084" y="10268"/>
                    <a:pt x="72957" y="9975"/>
                  </a:cubicBezTo>
                  <a:cubicBezTo>
                    <a:pt x="71830" y="9682"/>
                    <a:pt x="68450" y="11735"/>
                    <a:pt x="67605" y="11735"/>
                  </a:cubicBezTo>
                  <a:cubicBezTo>
                    <a:pt x="66760" y="11735"/>
                    <a:pt x="63943" y="11735"/>
                    <a:pt x="62253" y="11149"/>
                  </a:cubicBezTo>
                  <a:cubicBezTo>
                    <a:pt x="60281" y="10855"/>
                    <a:pt x="60845" y="16136"/>
                    <a:pt x="60845" y="17310"/>
                  </a:cubicBezTo>
                  <a:cubicBezTo>
                    <a:pt x="60845" y="18484"/>
                    <a:pt x="58591" y="19951"/>
                    <a:pt x="57746" y="20537"/>
                  </a:cubicBezTo>
                  <a:cubicBezTo>
                    <a:pt x="57183" y="21418"/>
                    <a:pt x="57746" y="22885"/>
                    <a:pt x="58309" y="23765"/>
                  </a:cubicBezTo>
                  <a:cubicBezTo>
                    <a:pt x="58873" y="24352"/>
                    <a:pt x="58309" y="24645"/>
                    <a:pt x="58028" y="25525"/>
                  </a:cubicBezTo>
                  <a:cubicBezTo>
                    <a:pt x="57746" y="26112"/>
                    <a:pt x="57183" y="25819"/>
                    <a:pt x="56338" y="25819"/>
                  </a:cubicBezTo>
                  <a:cubicBezTo>
                    <a:pt x="55492" y="25819"/>
                    <a:pt x="52394" y="24645"/>
                    <a:pt x="52394" y="24645"/>
                  </a:cubicBezTo>
                  <a:cubicBezTo>
                    <a:pt x="51267" y="24352"/>
                    <a:pt x="49577" y="21418"/>
                    <a:pt x="49577" y="20244"/>
                  </a:cubicBezTo>
                  <a:cubicBezTo>
                    <a:pt x="49295" y="18777"/>
                    <a:pt x="47605" y="17603"/>
                    <a:pt x="46478" y="17017"/>
                  </a:cubicBezTo>
                  <a:cubicBezTo>
                    <a:pt x="45352" y="16430"/>
                    <a:pt x="43943" y="2933"/>
                    <a:pt x="43661" y="1466"/>
                  </a:cubicBezTo>
                  <a:cubicBezTo>
                    <a:pt x="43380" y="0"/>
                    <a:pt x="41408" y="586"/>
                    <a:pt x="40563" y="586"/>
                  </a:cubicBezTo>
                  <a:cubicBezTo>
                    <a:pt x="39436" y="880"/>
                    <a:pt x="38591" y="2640"/>
                    <a:pt x="37183" y="4400"/>
                  </a:cubicBezTo>
                  <a:cubicBezTo>
                    <a:pt x="36056" y="5867"/>
                    <a:pt x="36338" y="10855"/>
                    <a:pt x="36901" y="11735"/>
                  </a:cubicBezTo>
                  <a:cubicBezTo>
                    <a:pt x="37183" y="12322"/>
                    <a:pt x="38028" y="14083"/>
                    <a:pt x="38873" y="14963"/>
                  </a:cubicBezTo>
                  <a:cubicBezTo>
                    <a:pt x="39436" y="15843"/>
                    <a:pt x="38591" y="19364"/>
                    <a:pt x="37746" y="20537"/>
                  </a:cubicBezTo>
                  <a:cubicBezTo>
                    <a:pt x="36619" y="21711"/>
                    <a:pt x="33802" y="23471"/>
                    <a:pt x="33239" y="23765"/>
                  </a:cubicBezTo>
                  <a:cubicBezTo>
                    <a:pt x="32676" y="24352"/>
                    <a:pt x="25633" y="17310"/>
                    <a:pt x="25070" y="16136"/>
                  </a:cubicBezTo>
                  <a:cubicBezTo>
                    <a:pt x="25070" y="15843"/>
                    <a:pt x="25070" y="15550"/>
                    <a:pt x="25070" y="15256"/>
                  </a:cubicBezTo>
                  <a:cubicBezTo>
                    <a:pt x="22816" y="18777"/>
                    <a:pt x="22816" y="18777"/>
                    <a:pt x="22816" y="18777"/>
                  </a:cubicBezTo>
                  <a:cubicBezTo>
                    <a:pt x="22816" y="19070"/>
                    <a:pt x="22535" y="19070"/>
                    <a:pt x="22535" y="19070"/>
                  </a:cubicBezTo>
                  <a:cubicBezTo>
                    <a:pt x="22253" y="19070"/>
                    <a:pt x="21971" y="19070"/>
                    <a:pt x="21971" y="19070"/>
                  </a:cubicBezTo>
                  <a:cubicBezTo>
                    <a:pt x="21408" y="18484"/>
                    <a:pt x="20845" y="17897"/>
                    <a:pt x="20563" y="17897"/>
                  </a:cubicBezTo>
                  <a:cubicBezTo>
                    <a:pt x="20281" y="18484"/>
                    <a:pt x="19436" y="19364"/>
                    <a:pt x="18873" y="19364"/>
                  </a:cubicBezTo>
                  <a:cubicBezTo>
                    <a:pt x="18309" y="19070"/>
                    <a:pt x="18028" y="18777"/>
                    <a:pt x="18028" y="18484"/>
                  </a:cubicBezTo>
                  <a:cubicBezTo>
                    <a:pt x="18028" y="18190"/>
                    <a:pt x="17746" y="17897"/>
                    <a:pt x="17746" y="17603"/>
                  </a:cubicBezTo>
                  <a:cubicBezTo>
                    <a:pt x="17464" y="17897"/>
                    <a:pt x="17464" y="18190"/>
                    <a:pt x="17464" y="18484"/>
                  </a:cubicBezTo>
                  <a:cubicBezTo>
                    <a:pt x="17464" y="19657"/>
                    <a:pt x="17183" y="20831"/>
                    <a:pt x="16901" y="21418"/>
                  </a:cubicBezTo>
                  <a:cubicBezTo>
                    <a:pt x="16619" y="22004"/>
                    <a:pt x="16619" y="22298"/>
                    <a:pt x="16338" y="22591"/>
                  </a:cubicBezTo>
                  <a:cubicBezTo>
                    <a:pt x="16056" y="23471"/>
                    <a:pt x="15774" y="24352"/>
                    <a:pt x="15211" y="24645"/>
                  </a:cubicBezTo>
                  <a:cubicBezTo>
                    <a:pt x="14366" y="24938"/>
                    <a:pt x="12957" y="26405"/>
                    <a:pt x="12676" y="27286"/>
                  </a:cubicBezTo>
                  <a:cubicBezTo>
                    <a:pt x="12112" y="28459"/>
                    <a:pt x="11830" y="31980"/>
                    <a:pt x="12112" y="32273"/>
                  </a:cubicBezTo>
                  <a:cubicBezTo>
                    <a:pt x="12112" y="32567"/>
                    <a:pt x="12394" y="32567"/>
                    <a:pt x="12676" y="32860"/>
                  </a:cubicBezTo>
                  <a:cubicBezTo>
                    <a:pt x="14084" y="34327"/>
                    <a:pt x="15492" y="35501"/>
                    <a:pt x="15492" y="36674"/>
                  </a:cubicBezTo>
                  <a:cubicBezTo>
                    <a:pt x="15492" y="36674"/>
                    <a:pt x="15211" y="41662"/>
                    <a:pt x="13802" y="41662"/>
                  </a:cubicBezTo>
                  <a:cubicBezTo>
                    <a:pt x="13239" y="41662"/>
                    <a:pt x="11549" y="41955"/>
                    <a:pt x="11549" y="42249"/>
                  </a:cubicBezTo>
                  <a:cubicBezTo>
                    <a:pt x="11549" y="42542"/>
                    <a:pt x="11549" y="42836"/>
                    <a:pt x="11549" y="43129"/>
                  </a:cubicBezTo>
                  <a:cubicBezTo>
                    <a:pt x="11830" y="44303"/>
                    <a:pt x="11830" y="46063"/>
                    <a:pt x="10985" y="47530"/>
                  </a:cubicBezTo>
                  <a:cubicBezTo>
                    <a:pt x="10704" y="47823"/>
                    <a:pt x="10422" y="48117"/>
                    <a:pt x="10140" y="48704"/>
                  </a:cubicBezTo>
                  <a:cubicBezTo>
                    <a:pt x="8732" y="50464"/>
                    <a:pt x="7887" y="51931"/>
                    <a:pt x="7042" y="52224"/>
                  </a:cubicBezTo>
                  <a:cubicBezTo>
                    <a:pt x="6760" y="52518"/>
                    <a:pt x="6197" y="52518"/>
                    <a:pt x="5915" y="52518"/>
                  </a:cubicBezTo>
                  <a:cubicBezTo>
                    <a:pt x="5352" y="52811"/>
                    <a:pt x="5070" y="52811"/>
                    <a:pt x="4507" y="53398"/>
                  </a:cubicBezTo>
                  <a:cubicBezTo>
                    <a:pt x="3943" y="53985"/>
                    <a:pt x="2816" y="56039"/>
                    <a:pt x="2535" y="56919"/>
                  </a:cubicBezTo>
                  <a:cubicBezTo>
                    <a:pt x="2253" y="57212"/>
                    <a:pt x="1971" y="57506"/>
                    <a:pt x="1971" y="58092"/>
                  </a:cubicBezTo>
                  <a:cubicBezTo>
                    <a:pt x="1690" y="58679"/>
                    <a:pt x="1126" y="59853"/>
                    <a:pt x="1126" y="60146"/>
                  </a:cubicBezTo>
                  <a:cubicBezTo>
                    <a:pt x="1126" y="60146"/>
                    <a:pt x="1408" y="60440"/>
                    <a:pt x="1408" y="60733"/>
                  </a:cubicBezTo>
                  <a:cubicBezTo>
                    <a:pt x="1690" y="61320"/>
                    <a:pt x="1971" y="61907"/>
                    <a:pt x="1690" y="62493"/>
                  </a:cubicBezTo>
                  <a:cubicBezTo>
                    <a:pt x="1690" y="62787"/>
                    <a:pt x="1690" y="63080"/>
                    <a:pt x="1126" y="63374"/>
                  </a:cubicBezTo>
                  <a:cubicBezTo>
                    <a:pt x="281" y="63667"/>
                    <a:pt x="0" y="63960"/>
                    <a:pt x="0" y="64547"/>
                  </a:cubicBezTo>
                  <a:cubicBezTo>
                    <a:pt x="0" y="68948"/>
                    <a:pt x="563" y="69535"/>
                    <a:pt x="563" y="69535"/>
                  </a:cubicBezTo>
                  <a:cubicBezTo>
                    <a:pt x="1126" y="69535"/>
                    <a:pt x="1126" y="69535"/>
                    <a:pt x="1126" y="69535"/>
                  </a:cubicBezTo>
                  <a:cubicBezTo>
                    <a:pt x="1971" y="69828"/>
                    <a:pt x="3098" y="70415"/>
                    <a:pt x="3098" y="71589"/>
                  </a:cubicBezTo>
                  <a:cubicBezTo>
                    <a:pt x="3098" y="71589"/>
                    <a:pt x="3098" y="71882"/>
                    <a:pt x="3098" y="72176"/>
                  </a:cubicBezTo>
                  <a:cubicBezTo>
                    <a:pt x="3098" y="72762"/>
                    <a:pt x="3098" y="73643"/>
                    <a:pt x="3380" y="73936"/>
                  </a:cubicBezTo>
                  <a:cubicBezTo>
                    <a:pt x="3661" y="73936"/>
                    <a:pt x="3661" y="73936"/>
                    <a:pt x="3661" y="73936"/>
                  </a:cubicBezTo>
                  <a:cubicBezTo>
                    <a:pt x="4788" y="74523"/>
                    <a:pt x="5915" y="74816"/>
                    <a:pt x="6197" y="75990"/>
                  </a:cubicBezTo>
                  <a:cubicBezTo>
                    <a:pt x="6197" y="76577"/>
                    <a:pt x="7323" y="78044"/>
                    <a:pt x="7605" y="78630"/>
                  </a:cubicBezTo>
                  <a:cubicBezTo>
                    <a:pt x="8169" y="79217"/>
                    <a:pt x="9014" y="79804"/>
                    <a:pt x="9295" y="79804"/>
                  </a:cubicBezTo>
                  <a:cubicBezTo>
                    <a:pt x="9859" y="79804"/>
                    <a:pt x="11830" y="79804"/>
                    <a:pt x="12676" y="81564"/>
                  </a:cubicBezTo>
                  <a:cubicBezTo>
                    <a:pt x="12957" y="81858"/>
                    <a:pt x="12957" y="81858"/>
                    <a:pt x="12957" y="81858"/>
                  </a:cubicBezTo>
                  <a:cubicBezTo>
                    <a:pt x="13239" y="82738"/>
                    <a:pt x="13802" y="83911"/>
                    <a:pt x="14366" y="83911"/>
                  </a:cubicBezTo>
                  <a:cubicBezTo>
                    <a:pt x="14647" y="83911"/>
                    <a:pt x="20563" y="83911"/>
                    <a:pt x="21408" y="85085"/>
                  </a:cubicBezTo>
                  <a:cubicBezTo>
                    <a:pt x="21408" y="85378"/>
                    <a:pt x="21690" y="85378"/>
                    <a:pt x="21690" y="85672"/>
                  </a:cubicBezTo>
                  <a:cubicBezTo>
                    <a:pt x="21971" y="85965"/>
                    <a:pt x="22253" y="86259"/>
                    <a:pt x="22535" y="86552"/>
                  </a:cubicBezTo>
                  <a:cubicBezTo>
                    <a:pt x="22535" y="86552"/>
                    <a:pt x="22816" y="86552"/>
                    <a:pt x="23098" y="86552"/>
                  </a:cubicBezTo>
                  <a:cubicBezTo>
                    <a:pt x="23943" y="86552"/>
                    <a:pt x="25633" y="86552"/>
                    <a:pt x="25633" y="87726"/>
                  </a:cubicBezTo>
                  <a:cubicBezTo>
                    <a:pt x="25915" y="88312"/>
                    <a:pt x="25915" y="88606"/>
                    <a:pt x="25915" y="88899"/>
                  </a:cubicBezTo>
                  <a:cubicBezTo>
                    <a:pt x="25915" y="89486"/>
                    <a:pt x="25915" y="89779"/>
                    <a:pt x="26478" y="90073"/>
                  </a:cubicBezTo>
                  <a:cubicBezTo>
                    <a:pt x="26760" y="90366"/>
                    <a:pt x="27042" y="90660"/>
                    <a:pt x="27605" y="90953"/>
                  </a:cubicBezTo>
                  <a:cubicBezTo>
                    <a:pt x="28732" y="91540"/>
                    <a:pt x="30140" y="92127"/>
                    <a:pt x="30140" y="93300"/>
                  </a:cubicBezTo>
                  <a:cubicBezTo>
                    <a:pt x="30422" y="93887"/>
                    <a:pt x="30140" y="94180"/>
                    <a:pt x="30140" y="94767"/>
                  </a:cubicBezTo>
                  <a:cubicBezTo>
                    <a:pt x="30140" y="95647"/>
                    <a:pt x="30140" y="95941"/>
                    <a:pt x="30422" y="95941"/>
                  </a:cubicBezTo>
                  <a:cubicBezTo>
                    <a:pt x="30704" y="95941"/>
                    <a:pt x="30985" y="96234"/>
                    <a:pt x="31267" y="96234"/>
                  </a:cubicBezTo>
                  <a:cubicBezTo>
                    <a:pt x="32112" y="96528"/>
                    <a:pt x="32957" y="96821"/>
                    <a:pt x="33239" y="96234"/>
                  </a:cubicBezTo>
                  <a:cubicBezTo>
                    <a:pt x="33521" y="96234"/>
                    <a:pt x="33521" y="95941"/>
                    <a:pt x="33521" y="95647"/>
                  </a:cubicBezTo>
                  <a:cubicBezTo>
                    <a:pt x="33521" y="95354"/>
                    <a:pt x="33521" y="95061"/>
                    <a:pt x="33802" y="94767"/>
                  </a:cubicBezTo>
                  <a:cubicBezTo>
                    <a:pt x="34084" y="94474"/>
                    <a:pt x="34647" y="94474"/>
                    <a:pt x="34929" y="94474"/>
                  </a:cubicBezTo>
                  <a:cubicBezTo>
                    <a:pt x="36056" y="94767"/>
                    <a:pt x="38028" y="95061"/>
                    <a:pt x="38028" y="95061"/>
                  </a:cubicBezTo>
                  <a:cubicBezTo>
                    <a:pt x="38309" y="95061"/>
                    <a:pt x="38591" y="95354"/>
                    <a:pt x="38591" y="95647"/>
                  </a:cubicBezTo>
                  <a:cubicBezTo>
                    <a:pt x="38591" y="95647"/>
                    <a:pt x="38591" y="96528"/>
                    <a:pt x="39154" y="97408"/>
                  </a:cubicBezTo>
                  <a:cubicBezTo>
                    <a:pt x="39436" y="97701"/>
                    <a:pt x="39718" y="97701"/>
                    <a:pt x="40000" y="97995"/>
                  </a:cubicBezTo>
                  <a:cubicBezTo>
                    <a:pt x="40563" y="97995"/>
                    <a:pt x="41126" y="98288"/>
                    <a:pt x="41408" y="99462"/>
                  </a:cubicBezTo>
                  <a:cubicBezTo>
                    <a:pt x="41408" y="100342"/>
                    <a:pt x="41690" y="100635"/>
                    <a:pt x="42253" y="101222"/>
                  </a:cubicBezTo>
                  <a:cubicBezTo>
                    <a:pt x="42253" y="101222"/>
                    <a:pt x="42253" y="101515"/>
                    <a:pt x="42535" y="101809"/>
                  </a:cubicBezTo>
                  <a:cubicBezTo>
                    <a:pt x="42816" y="102396"/>
                    <a:pt x="44225" y="103569"/>
                    <a:pt x="45070" y="103569"/>
                  </a:cubicBezTo>
                  <a:cubicBezTo>
                    <a:pt x="45070" y="103569"/>
                    <a:pt x="45070" y="103569"/>
                    <a:pt x="45070" y="103569"/>
                  </a:cubicBezTo>
                  <a:cubicBezTo>
                    <a:pt x="45352" y="103276"/>
                    <a:pt x="45633" y="102689"/>
                    <a:pt x="45915" y="102102"/>
                  </a:cubicBezTo>
                  <a:cubicBezTo>
                    <a:pt x="46478" y="100929"/>
                    <a:pt x="47042" y="99755"/>
                    <a:pt x="48169" y="99755"/>
                  </a:cubicBezTo>
                  <a:cubicBezTo>
                    <a:pt x="49014" y="100048"/>
                    <a:pt x="50985" y="101515"/>
                    <a:pt x="51549" y="102689"/>
                  </a:cubicBezTo>
                  <a:cubicBezTo>
                    <a:pt x="51549" y="103276"/>
                    <a:pt x="51549" y="103863"/>
                    <a:pt x="51267" y="103863"/>
                  </a:cubicBezTo>
                  <a:cubicBezTo>
                    <a:pt x="50985" y="104449"/>
                    <a:pt x="50422" y="104449"/>
                    <a:pt x="50140" y="104449"/>
                  </a:cubicBezTo>
                  <a:cubicBezTo>
                    <a:pt x="50140" y="104449"/>
                    <a:pt x="50140" y="104449"/>
                    <a:pt x="50140" y="104449"/>
                  </a:cubicBezTo>
                  <a:cubicBezTo>
                    <a:pt x="50140" y="104743"/>
                    <a:pt x="50140" y="105036"/>
                    <a:pt x="50422" y="105330"/>
                  </a:cubicBezTo>
                  <a:cubicBezTo>
                    <a:pt x="51267" y="106210"/>
                    <a:pt x="51267" y="107090"/>
                    <a:pt x="51549" y="107677"/>
                  </a:cubicBezTo>
                  <a:cubicBezTo>
                    <a:pt x="51549" y="107677"/>
                    <a:pt x="51549" y="107970"/>
                    <a:pt x="51549" y="107970"/>
                  </a:cubicBezTo>
                  <a:cubicBezTo>
                    <a:pt x="51549" y="107970"/>
                    <a:pt x="51830" y="107970"/>
                    <a:pt x="51830" y="107970"/>
                  </a:cubicBezTo>
                  <a:cubicBezTo>
                    <a:pt x="55211" y="107970"/>
                    <a:pt x="56056" y="108264"/>
                    <a:pt x="56338" y="108850"/>
                  </a:cubicBezTo>
                  <a:cubicBezTo>
                    <a:pt x="56338" y="109144"/>
                    <a:pt x="56338" y="109437"/>
                    <a:pt x="56338" y="109731"/>
                  </a:cubicBezTo>
                  <a:cubicBezTo>
                    <a:pt x="55492" y="110317"/>
                    <a:pt x="55492" y="110611"/>
                    <a:pt x="55774" y="111198"/>
                  </a:cubicBezTo>
                  <a:cubicBezTo>
                    <a:pt x="56056" y="111491"/>
                    <a:pt x="56619" y="112078"/>
                    <a:pt x="56901" y="112665"/>
                  </a:cubicBezTo>
                  <a:cubicBezTo>
                    <a:pt x="57183" y="112078"/>
                    <a:pt x="57464" y="112078"/>
                    <a:pt x="58028" y="111784"/>
                  </a:cubicBezTo>
                  <a:cubicBezTo>
                    <a:pt x="58309" y="111491"/>
                    <a:pt x="58591" y="111491"/>
                    <a:pt x="58873" y="111198"/>
                  </a:cubicBezTo>
                  <a:cubicBezTo>
                    <a:pt x="59154" y="110904"/>
                    <a:pt x="59436" y="110904"/>
                    <a:pt x="59718" y="110904"/>
                  </a:cubicBezTo>
                  <a:cubicBezTo>
                    <a:pt x="60563" y="111198"/>
                    <a:pt x="61971" y="112665"/>
                    <a:pt x="64507" y="115892"/>
                  </a:cubicBezTo>
                  <a:cubicBezTo>
                    <a:pt x="64788" y="116479"/>
                    <a:pt x="64788" y="116479"/>
                    <a:pt x="64788" y="116479"/>
                  </a:cubicBezTo>
                  <a:cubicBezTo>
                    <a:pt x="65352" y="117066"/>
                    <a:pt x="65070" y="117946"/>
                    <a:pt x="65070" y="118533"/>
                  </a:cubicBezTo>
                  <a:cubicBezTo>
                    <a:pt x="64788" y="118826"/>
                    <a:pt x="64788" y="119119"/>
                    <a:pt x="64788" y="119413"/>
                  </a:cubicBezTo>
                  <a:cubicBezTo>
                    <a:pt x="65070" y="119706"/>
                    <a:pt x="65915" y="119413"/>
                    <a:pt x="66760" y="119119"/>
                  </a:cubicBezTo>
                  <a:cubicBezTo>
                    <a:pt x="67323" y="118826"/>
                    <a:pt x="67605" y="118239"/>
                    <a:pt x="68169" y="117652"/>
                  </a:cubicBezTo>
                  <a:cubicBezTo>
                    <a:pt x="68450" y="116479"/>
                    <a:pt x="70422" y="117066"/>
                    <a:pt x="72112" y="117652"/>
                  </a:cubicBezTo>
                  <a:cubicBezTo>
                    <a:pt x="72394" y="117652"/>
                    <a:pt x="72676" y="117946"/>
                    <a:pt x="72957" y="117946"/>
                  </a:cubicBezTo>
                  <a:cubicBezTo>
                    <a:pt x="73802" y="118239"/>
                    <a:pt x="74084" y="118239"/>
                    <a:pt x="74366" y="119119"/>
                  </a:cubicBezTo>
                  <a:cubicBezTo>
                    <a:pt x="74366" y="119413"/>
                    <a:pt x="74366" y="119706"/>
                    <a:pt x="74647" y="119706"/>
                  </a:cubicBezTo>
                  <a:cubicBezTo>
                    <a:pt x="74647" y="120000"/>
                    <a:pt x="74647" y="120000"/>
                    <a:pt x="74647" y="120000"/>
                  </a:cubicBezTo>
                  <a:cubicBezTo>
                    <a:pt x="74647" y="120000"/>
                    <a:pt x="74929" y="119706"/>
                    <a:pt x="75211" y="119413"/>
                  </a:cubicBezTo>
                  <a:cubicBezTo>
                    <a:pt x="75492" y="118826"/>
                    <a:pt x="76901" y="117652"/>
                    <a:pt x="77464" y="117066"/>
                  </a:cubicBezTo>
                  <a:cubicBezTo>
                    <a:pt x="78028" y="116772"/>
                    <a:pt x="78309" y="116185"/>
                    <a:pt x="78591" y="115892"/>
                  </a:cubicBezTo>
                  <a:cubicBezTo>
                    <a:pt x="78873" y="115305"/>
                    <a:pt x="79436" y="114718"/>
                    <a:pt x="79718" y="114425"/>
                  </a:cubicBezTo>
                  <a:cubicBezTo>
                    <a:pt x="80000" y="114132"/>
                    <a:pt x="80000" y="114132"/>
                    <a:pt x="80000" y="113838"/>
                  </a:cubicBezTo>
                  <a:cubicBezTo>
                    <a:pt x="80000" y="113251"/>
                    <a:pt x="79154" y="112371"/>
                    <a:pt x="78591" y="111784"/>
                  </a:cubicBezTo>
                  <a:cubicBezTo>
                    <a:pt x="78309" y="111784"/>
                    <a:pt x="78028" y="111491"/>
                    <a:pt x="78309" y="111198"/>
                  </a:cubicBezTo>
                  <a:cubicBezTo>
                    <a:pt x="78309" y="109731"/>
                    <a:pt x="81408" y="107970"/>
                    <a:pt x="81408" y="107970"/>
                  </a:cubicBezTo>
                  <a:cubicBezTo>
                    <a:pt x="81971" y="107677"/>
                    <a:pt x="82253" y="107090"/>
                    <a:pt x="82535" y="106210"/>
                  </a:cubicBezTo>
                  <a:cubicBezTo>
                    <a:pt x="82535" y="105916"/>
                    <a:pt x="82535" y="105623"/>
                    <a:pt x="82535" y="105330"/>
                  </a:cubicBezTo>
                  <a:cubicBezTo>
                    <a:pt x="83098" y="104449"/>
                    <a:pt x="83943" y="104156"/>
                    <a:pt x="84788" y="104156"/>
                  </a:cubicBezTo>
                  <a:cubicBezTo>
                    <a:pt x="85352" y="103863"/>
                    <a:pt x="85633" y="103863"/>
                    <a:pt x="86197" y="103569"/>
                  </a:cubicBezTo>
                  <a:cubicBezTo>
                    <a:pt x="86760" y="103276"/>
                    <a:pt x="87887" y="102102"/>
                    <a:pt x="88732" y="100929"/>
                  </a:cubicBezTo>
                  <a:cubicBezTo>
                    <a:pt x="89577" y="99755"/>
                    <a:pt x="90422" y="98875"/>
                    <a:pt x="90985" y="98288"/>
                  </a:cubicBezTo>
                  <a:cubicBezTo>
                    <a:pt x="90985" y="98288"/>
                    <a:pt x="91267" y="97995"/>
                    <a:pt x="91267" y="97995"/>
                  </a:cubicBezTo>
                  <a:cubicBezTo>
                    <a:pt x="91267" y="97701"/>
                    <a:pt x="91267" y="97408"/>
                    <a:pt x="90985" y="97408"/>
                  </a:cubicBezTo>
                  <a:cubicBezTo>
                    <a:pt x="90985" y="97408"/>
                    <a:pt x="90985" y="97408"/>
                    <a:pt x="90985" y="97114"/>
                  </a:cubicBezTo>
                  <a:cubicBezTo>
                    <a:pt x="90985" y="97114"/>
                    <a:pt x="90422" y="96234"/>
                    <a:pt x="89859" y="94767"/>
                  </a:cubicBezTo>
                  <a:cubicBezTo>
                    <a:pt x="89859" y="94767"/>
                    <a:pt x="89859" y="94767"/>
                    <a:pt x="89577" y="94767"/>
                  </a:cubicBezTo>
                  <a:cubicBezTo>
                    <a:pt x="89014" y="95354"/>
                    <a:pt x="87605" y="95061"/>
                    <a:pt x="86197" y="94767"/>
                  </a:cubicBezTo>
                  <a:cubicBezTo>
                    <a:pt x="85633" y="94474"/>
                    <a:pt x="84788" y="94474"/>
                    <a:pt x="84507" y="94474"/>
                  </a:cubicBezTo>
                  <a:cubicBezTo>
                    <a:pt x="84225" y="94474"/>
                    <a:pt x="83943" y="94474"/>
                    <a:pt x="83943" y="95354"/>
                  </a:cubicBezTo>
                  <a:cubicBezTo>
                    <a:pt x="83661" y="95647"/>
                    <a:pt x="83661" y="95647"/>
                    <a:pt x="83661" y="95941"/>
                  </a:cubicBezTo>
                  <a:cubicBezTo>
                    <a:pt x="83380" y="97114"/>
                    <a:pt x="82535" y="97408"/>
                    <a:pt x="81690" y="97408"/>
                  </a:cubicBezTo>
                  <a:cubicBezTo>
                    <a:pt x="81408" y="97701"/>
                    <a:pt x="80845" y="97995"/>
                    <a:pt x="80563" y="98288"/>
                  </a:cubicBezTo>
                  <a:cubicBezTo>
                    <a:pt x="80281" y="98581"/>
                    <a:pt x="80000" y="98875"/>
                    <a:pt x="79718" y="98875"/>
                  </a:cubicBezTo>
                  <a:cubicBezTo>
                    <a:pt x="78591" y="99168"/>
                    <a:pt x="77464" y="98875"/>
                    <a:pt x="76901" y="97701"/>
                  </a:cubicBezTo>
                  <a:cubicBezTo>
                    <a:pt x="76901" y="97114"/>
                    <a:pt x="76338" y="97114"/>
                    <a:pt x="75492" y="96821"/>
                  </a:cubicBezTo>
                  <a:cubicBezTo>
                    <a:pt x="74929" y="96528"/>
                    <a:pt x="74366" y="96528"/>
                    <a:pt x="73802" y="95941"/>
                  </a:cubicBezTo>
                  <a:cubicBezTo>
                    <a:pt x="72394" y="95061"/>
                    <a:pt x="72394" y="93594"/>
                    <a:pt x="72394" y="92420"/>
                  </a:cubicBezTo>
                  <a:cubicBezTo>
                    <a:pt x="72394" y="90953"/>
                    <a:pt x="73802" y="90073"/>
                    <a:pt x="74929" y="89779"/>
                  </a:cubicBezTo>
                  <a:cubicBezTo>
                    <a:pt x="74929" y="89779"/>
                    <a:pt x="74647" y="89486"/>
                    <a:pt x="74647" y="89486"/>
                  </a:cubicBezTo>
                  <a:cubicBezTo>
                    <a:pt x="74647" y="89193"/>
                    <a:pt x="74647" y="88606"/>
                    <a:pt x="74647" y="88312"/>
                  </a:cubicBezTo>
                  <a:cubicBezTo>
                    <a:pt x="74647" y="87432"/>
                    <a:pt x="75211" y="86552"/>
                    <a:pt x="75774" y="85672"/>
                  </a:cubicBezTo>
                  <a:cubicBezTo>
                    <a:pt x="76056" y="85378"/>
                    <a:pt x="76338" y="85085"/>
                    <a:pt x="76338" y="85085"/>
                  </a:cubicBezTo>
                  <a:cubicBezTo>
                    <a:pt x="76901" y="83618"/>
                    <a:pt x="79436" y="83911"/>
                    <a:pt x="80000" y="83911"/>
                  </a:cubicBezTo>
                  <a:cubicBezTo>
                    <a:pt x="80845" y="84205"/>
                    <a:pt x="80845" y="84205"/>
                    <a:pt x="81126" y="83911"/>
                  </a:cubicBezTo>
                  <a:cubicBezTo>
                    <a:pt x="81126" y="83911"/>
                    <a:pt x="81126" y="83911"/>
                    <a:pt x="81126" y="83325"/>
                  </a:cubicBezTo>
                  <a:cubicBezTo>
                    <a:pt x="81126" y="82738"/>
                    <a:pt x="81126" y="81271"/>
                    <a:pt x="80563" y="80097"/>
                  </a:cubicBezTo>
                  <a:cubicBezTo>
                    <a:pt x="79718" y="78924"/>
                    <a:pt x="79718" y="77750"/>
                    <a:pt x="80000" y="76870"/>
                  </a:cubicBezTo>
                  <a:cubicBezTo>
                    <a:pt x="80281" y="75696"/>
                    <a:pt x="81690" y="74523"/>
                    <a:pt x="82253" y="74229"/>
                  </a:cubicBezTo>
                  <a:cubicBezTo>
                    <a:pt x="82816" y="73936"/>
                    <a:pt x="83098" y="73349"/>
                    <a:pt x="83098" y="72469"/>
                  </a:cubicBezTo>
                  <a:cubicBezTo>
                    <a:pt x="82816" y="71882"/>
                    <a:pt x="83098" y="70415"/>
                    <a:pt x="83380" y="68655"/>
                  </a:cubicBezTo>
                  <a:cubicBezTo>
                    <a:pt x="83380" y="68361"/>
                    <a:pt x="83661" y="67775"/>
                    <a:pt x="83661" y="67481"/>
                  </a:cubicBezTo>
                  <a:cubicBezTo>
                    <a:pt x="83380" y="67481"/>
                    <a:pt x="82535" y="66308"/>
                    <a:pt x="81971" y="65721"/>
                  </a:cubicBezTo>
                  <a:cubicBezTo>
                    <a:pt x="81126" y="64547"/>
                    <a:pt x="80563" y="63667"/>
                    <a:pt x="80000" y="63080"/>
                  </a:cubicBezTo>
                  <a:cubicBezTo>
                    <a:pt x="79436" y="61613"/>
                    <a:pt x="79436" y="60440"/>
                    <a:pt x="79436" y="58973"/>
                  </a:cubicBezTo>
                  <a:cubicBezTo>
                    <a:pt x="79436" y="58973"/>
                    <a:pt x="79436" y="58679"/>
                    <a:pt x="79436" y="58386"/>
                  </a:cubicBezTo>
                  <a:cubicBezTo>
                    <a:pt x="79436" y="57799"/>
                    <a:pt x="79436" y="57212"/>
                    <a:pt x="80000" y="56625"/>
                  </a:cubicBezTo>
                  <a:cubicBezTo>
                    <a:pt x="80281" y="56332"/>
                    <a:pt x="80845" y="56332"/>
                    <a:pt x="81126" y="56332"/>
                  </a:cubicBezTo>
                  <a:cubicBezTo>
                    <a:pt x="81690" y="56332"/>
                    <a:pt x="83380" y="57212"/>
                    <a:pt x="83943" y="57799"/>
                  </a:cubicBezTo>
                  <a:cubicBezTo>
                    <a:pt x="84788" y="58386"/>
                    <a:pt x="86478" y="59559"/>
                    <a:pt x="87042" y="59559"/>
                  </a:cubicBezTo>
                  <a:cubicBezTo>
                    <a:pt x="88169" y="59853"/>
                    <a:pt x="88450" y="60733"/>
                    <a:pt x="88732" y="61320"/>
                  </a:cubicBezTo>
                  <a:cubicBezTo>
                    <a:pt x="88732" y="61320"/>
                    <a:pt x="89014" y="61613"/>
                    <a:pt x="89014" y="61613"/>
                  </a:cubicBezTo>
                  <a:cubicBezTo>
                    <a:pt x="89295" y="61907"/>
                    <a:pt x="91549" y="62200"/>
                    <a:pt x="92394" y="62493"/>
                  </a:cubicBezTo>
                  <a:cubicBezTo>
                    <a:pt x="92676" y="62493"/>
                    <a:pt x="93239" y="62493"/>
                    <a:pt x="93521" y="62493"/>
                  </a:cubicBezTo>
                  <a:cubicBezTo>
                    <a:pt x="94084" y="62787"/>
                    <a:pt x="95211" y="63667"/>
                    <a:pt x="96619" y="65134"/>
                  </a:cubicBezTo>
                  <a:cubicBezTo>
                    <a:pt x="97464" y="65721"/>
                    <a:pt x="98309" y="66601"/>
                    <a:pt x="98591" y="66601"/>
                  </a:cubicBezTo>
                  <a:cubicBezTo>
                    <a:pt x="99436" y="67481"/>
                    <a:pt x="99718" y="68655"/>
                    <a:pt x="99718" y="69828"/>
                  </a:cubicBezTo>
                  <a:cubicBezTo>
                    <a:pt x="99718" y="70122"/>
                    <a:pt x="100000" y="70122"/>
                    <a:pt x="100000" y="70415"/>
                  </a:cubicBezTo>
                  <a:cubicBezTo>
                    <a:pt x="100281" y="70415"/>
                    <a:pt x="101126" y="69535"/>
                    <a:pt x="101690" y="69242"/>
                  </a:cubicBezTo>
                  <a:cubicBezTo>
                    <a:pt x="102535" y="68948"/>
                    <a:pt x="103098" y="68361"/>
                    <a:pt x="103661" y="68361"/>
                  </a:cubicBezTo>
                  <a:cubicBezTo>
                    <a:pt x="105352" y="67481"/>
                    <a:pt x="106197" y="68655"/>
                    <a:pt x="106760" y="69242"/>
                  </a:cubicBezTo>
                  <a:cubicBezTo>
                    <a:pt x="106760" y="69535"/>
                    <a:pt x="107042" y="69535"/>
                    <a:pt x="107042" y="69828"/>
                  </a:cubicBezTo>
                  <a:cubicBezTo>
                    <a:pt x="107323" y="70122"/>
                    <a:pt x="107887" y="70122"/>
                    <a:pt x="108450" y="70415"/>
                  </a:cubicBezTo>
                  <a:cubicBezTo>
                    <a:pt x="109014" y="70709"/>
                    <a:pt x="109295" y="71002"/>
                    <a:pt x="109859" y="71295"/>
                  </a:cubicBezTo>
                  <a:cubicBezTo>
                    <a:pt x="110704" y="71882"/>
                    <a:pt x="111830" y="72469"/>
                    <a:pt x="112394" y="72469"/>
                  </a:cubicBezTo>
                  <a:cubicBezTo>
                    <a:pt x="113239" y="72469"/>
                    <a:pt x="113521" y="72762"/>
                    <a:pt x="114366" y="73349"/>
                  </a:cubicBezTo>
                  <a:cubicBezTo>
                    <a:pt x="114647" y="73643"/>
                    <a:pt x="114647" y="73643"/>
                    <a:pt x="114647" y="73643"/>
                  </a:cubicBezTo>
                  <a:cubicBezTo>
                    <a:pt x="114929" y="73643"/>
                    <a:pt x="115492" y="73056"/>
                    <a:pt x="116901" y="69535"/>
                  </a:cubicBezTo>
                  <a:cubicBezTo>
                    <a:pt x="117183" y="69242"/>
                    <a:pt x="117183" y="68948"/>
                    <a:pt x="117183" y="68948"/>
                  </a:cubicBezTo>
                  <a:cubicBezTo>
                    <a:pt x="117183" y="68655"/>
                    <a:pt x="116901" y="68361"/>
                    <a:pt x="116619" y="67775"/>
                  </a:cubicBezTo>
                  <a:cubicBezTo>
                    <a:pt x="116338" y="67481"/>
                    <a:pt x="116056" y="66894"/>
                    <a:pt x="115774" y="66014"/>
                  </a:cubicBezTo>
                  <a:cubicBezTo>
                    <a:pt x="115211" y="64254"/>
                    <a:pt x="116056" y="62493"/>
                    <a:pt x="116619" y="61320"/>
                  </a:cubicBezTo>
                  <a:cubicBezTo>
                    <a:pt x="116619" y="60733"/>
                    <a:pt x="115211" y="59559"/>
                    <a:pt x="114647" y="58679"/>
                  </a:cubicBezTo>
                  <a:cubicBezTo>
                    <a:pt x="113802" y="57799"/>
                    <a:pt x="113239" y="57212"/>
                    <a:pt x="112957" y="56919"/>
                  </a:cubicBezTo>
                  <a:cubicBezTo>
                    <a:pt x="112394" y="55158"/>
                    <a:pt x="115211" y="53105"/>
                    <a:pt x="115211" y="53105"/>
                  </a:cubicBezTo>
                  <a:cubicBezTo>
                    <a:pt x="115492" y="52811"/>
                    <a:pt x="115492" y="52224"/>
                    <a:pt x="115492" y="51638"/>
                  </a:cubicBezTo>
                  <a:cubicBezTo>
                    <a:pt x="115492" y="51344"/>
                    <a:pt x="115492" y="51344"/>
                    <a:pt x="115492" y="51051"/>
                  </a:cubicBezTo>
                  <a:cubicBezTo>
                    <a:pt x="115492" y="50171"/>
                    <a:pt x="116619" y="49290"/>
                    <a:pt x="117464" y="48704"/>
                  </a:cubicBezTo>
                  <a:cubicBezTo>
                    <a:pt x="118028" y="48410"/>
                    <a:pt x="118591" y="46943"/>
                    <a:pt x="118591" y="46356"/>
                  </a:cubicBezTo>
                  <a:cubicBezTo>
                    <a:pt x="118591" y="45476"/>
                    <a:pt x="119154" y="44596"/>
                    <a:pt x="119999" y="44303"/>
                  </a:cubicBezTo>
                  <a:cubicBezTo>
                    <a:pt x="119436" y="43129"/>
                    <a:pt x="118873" y="42542"/>
                    <a:pt x="118309" y="42542"/>
                  </a:cubicBezTo>
                  <a:cubicBezTo>
                    <a:pt x="117746" y="42249"/>
                    <a:pt x="116338" y="41662"/>
                    <a:pt x="115492" y="41662"/>
                  </a:cubicBezTo>
                  <a:cubicBezTo>
                    <a:pt x="114929" y="41662"/>
                    <a:pt x="114647" y="41955"/>
                    <a:pt x="114366" y="42542"/>
                  </a:cubicBezTo>
                  <a:cubicBezTo>
                    <a:pt x="113802" y="42836"/>
                    <a:pt x="113521" y="43422"/>
                    <a:pt x="112957" y="43422"/>
                  </a:cubicBezTo>
                  <a:cubicBezTo>
                    <a:pt x="111830" y="43716"/>
                    <a:pt x="109295" y="42836"/>
                    <a:pt x="108732" y="41955"/>
                  </a:cubicBezTo>
                  <a:cubicBezTo>
                    <a:pt x="107887" y="41075"/>
                    <a:pt x="105915" y="38728"/>
                    <a:pt x="105352" y="37848"/>
                  </a:cubicBezTo>
                  <a:cubicBezTo>
                    <a:pt x="104788" y="36674"/>
                    <a:pt x="104788" y="33740"/>
                    <a:pt x="104788" y="33740"/>
                  </a:cubicBezTo>
                  <a:cubicBezTo>
                    <a:pt x="104788" y="33740"/>
                    <a:pt x="104507" y="33447"/>
                    <a:pt x="104507" y="33447"/>
                  </a:cubicBezTo>
                  <a:cubicBezTo>
                    <a:pt x="104225" y="33447"/>
                    <a:pt x="103943" y="33447"/>
                    <a:pt x="103661" y="33154"/>
                  </a:cubicBezTo>
                  <a:cubicBezTo>
                    <a:pt x="102816" y="32567"/>
                    <a:pt x="100281" y="30220"/>
                    <a:pt x="100000" y="29339"/>
                  </a:cubicBezTo>
                  <a:cubicBezTo>
                    <a:pt x="99718" y="28753"/>
                    <a:pt x="99436" y="27872"/>
                    <a:pt x="99436" y="26992"/>
                  </a:cubicBezTo>
                  <a:cubicBezTo>
                    <a:pt x="99154" y="26405"/>
                    <a:pt x="99154" y="25819"/>
                    <a:pt x="99154" y="25525"/>
                  </a:cubicBezTo>
                  <a:cubicBezTo>
                    <a:pt x="98873" y="25232"/>
                    <a:pt x="98873" y="24938"/>
                    <a:pt x="98873" y="24645"/>
                  </a:cubicBezTo>
                  <a:cubicBezTo>
                    <a:pt x="98591" y="24058"/>
                    <a:pt x="98591" y="23178"/>
                    <a:pt x="98309" y="22885"/>
                  </a:cubicBezTo>
                  <a:cubicBezTo>
                    <a:pt x="98028" y="22591"/>
                    <a:pt x="97746" y="22298"/>
                    <a:pt x="97464" y="22004"/>
                  </a:cubicBezTo>
                  <a:cubicBezTo>
                    <a:pt x="97183" y="21711"/>
                    <a:pt x="96901" y="21418"/>
                    <a:pt x="96619" y="21124"/>
                  </a:cubicBezTo>
                  <a:cubicBezTo>
                    <a:pt x="96056" y="20537"/>
                    <a:pt x="96338" y="19364"/>
                    <a:pt x="96338" y="19070"/>
                  </a:cubicBezTo>
                  <a:cubicBezTo>
                    <a:pt x="96338" y="19070"/>
                    <a:pt x="96338" y="19070"/>
                    <a:pt x="96338" y="19070"/>
                  </a:cubicBezTo>
                  <a:cubicBezTo>
                    <a:pt x="95211" y="19364"/>
                    <a:pt x="91830" y="23765"/>
                    <a:pt x="90140" y="24645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4" name="Shape 6968">
              <a:extLst>
                <a:ext uri="{FF2B5EF4-FFF2-40B4-BE49-F238E27FC236}">
                  <a16:creationId xmlns:a16="http://schemas.microsoft.com/office/drawing/2014/main" id="{EF6C8E1A-88EB-400D-812A-70556F88163A}"/>
                </a:ext>
              </a:extLst>
            </p:cNvPr>
            <p:cNvSpPr/>
            <p:nvPr/>
          </p:nvSpPr>
          <p:spPr>
            <a:xfrm>
              <a:off x="3095976" y="2115902"/>
              <a:ext cx="818084" cy="59256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2264" y="80252"/>
                  </a:moveTo>
                  <a:cubicBezTo>
                    <a:pt x="3113" y="80252"/>
                    <a:pt x="4811" y="79873"/>
                    <a:pt x="4811" y="80630"/>
                  </a:cubicBezTo>
                  <a:cubicBezTo>
                    <a:pt x="4811" y="81766"/>
                    <a:pt x="5377" y="84794"/>
                    <a:pt x="5943" y="84794"/>
                  </a:cubicBezTo>
                  <a:cubicBezTo>
                    <a:pt x="6792" y="85173"/>
                    <a:pt x="7924" y="85173"/>
                    <a:pt x="7641" y="86687"/>
                  </a:cubicBezTo>
                  <a:cubicBezTo>
                    <a:pt x="7358" y="87823"/>
                    <a:pt x="6226" y="90473"/>
                    <a:pt x="7358" y="91230"/>
                  </a:cubicBezTo>
                  <a:cubicBezTo>
                    <a:pt x="8490" y="92365"/>
                    <a:pt x="9622" y="92744"/>
                    <a:pt x="9056" y="93880"/>
                  </a:cubicBezTo>
                  <a:cubicBezTo>
                    <a:pt x="8490" y="95015"/>
                    <a:pt x="8490" y="96151"/>
                    <a:pt x="7641" y="96151"/>
                  </a:cubicBezTo>
                  <a:cubicBezTo>
                    <a:pt x="7075" y="96529"/>
                    <a:pt x="5660" y="97287"/>
                    <a:pt x="5094" y="98044"/>
                  </a:cubicBezTo>
                  <a:cubicBezTo>
                    <a:pt x="4528" y="99179"/>
                    <a:pt x="3962" y="100694"/>
                    <a:pt x="4528" y="101829"/>
                  </a:cubicBezTo>
                  <a:cubicBezTo>
                    <a:pt x="5377" y="103343"/>
                    <a:pt x="9339" y="110536"/>
                    <a:pt x="10188" y="110536"/>
                  </a:cubicBezTo>
                  <a:cubicBezTo>
                    <a:pt x="11320" y="110157"/>
                    <a:pt x="11037" y="108643"/>
                    <a:pt x="12169" y="110157"/>
                  </a:cubicBezTo>
                  <a:cubicBezTo>
                    <a:pt x="13018" y="111671"/>
                    <a:pt x="13867" y="114321"/>
                    <a:pt x="14716" y="114321"/>
                  </a:cubicBezTo>
                  <a:cubicBezTo>
                    <a:pt x="15566" y="114321"/>
                    <a:pt x="17264" y="114700"/>
                    <a:pt x="17830" y="115078"/>
                  </a:cubicBezTo>
                  <a:cubicBezTo>
                    <a:pt x="18396" y="115835"/>
                    <a:pt x="18962" y="115457"/>
                    <a:pt x="18962" y="116971"/>
                  </a:cubicBezTo>
                  <a:cubicBezTo>
                    <a:pt x="18962" y="118107"/>
                    <a:pt x="19811" y="120000"/>
                    <a:pt x="20943" y="118864"/>
                  </a:cubicBezTo>
                  <a:cubicBezTo>
                    <a:pt x="21792" y="117728"/>
                    <a:pt x="23207" y="117350"/>
                    <a:pt x="23207" y="115835"/>
                  </a:cubicBezTo>
                  <a:cubicBezTo>
                    <a:pt x="23207" y="114321"/>
                    <a:pt x="22358" y="111293"/>
                    <a:pt x="21509" y="109779"/>
                  </a:cubicBezTo>
                  <a:cubicBezTo>
                    <a:pt x="20943" y="107886"/>
                    <a:pt x="20660" y="107886"/>
                    <a:pt x="20943" y="105993"/>
                  </a:cubicBezTo>
                  <a:cubicBezTo>
                    <a:pt x="20943" y="104100"/>
                    <a:pt x="22075" y="101829"/>
                    <a:pt x="21792" y="100694"/>
                  </a:cubicBezTo>
                  <a:cubicBezTo>
                    <a:pt x="21792" y="99558"/>
                    <a:pt x="19811" y="94637"/>
                    <a:pt x="20377" y="93880"/>
                  </a:cubicBezTo>
                  <a:cubicBezTo>
                    <a:pt x="20943" y="92744"/>
                    <a:pt x="21509" y="91608"/>
                    <a:pt x="21509" y="90473"/>
                  </a:cubicBezTo>
                  <a:cubicBezTo>
                    <a:pt x="21509" y="89716"/>
                    <a:pt x="20943" y="84416"/>
                    <a:pt x="21792" y="83659"/>
                  </a:cubicBezTo>
                  <a:cubicBezTo>
                    <a:pt x="22641" y="82902"/>
                    <a:pt x="23773" y="82145"/>
                    <a:pt x="24056" y="81009"/>
                  </a:cubicBezTo>
                  <a:cubicBezTo>
                    <a:pt x="24339" y="79873"/>
                    <a:pt x="24622" y="76466"/>
                    <a:pt x="25754" y="76088"/>
                  </a:cubicBezTo>
                  <a:cubicBezTo>
                    <a:pt x="26886" y="75709"/>
                    <a:pt x="28301" y="75331"/>
                    <a:pt x="28301" y="73817"/>
                  </a:cubicBezTo>
                  <a:cubicBezTo>
                    <a:pt x="28301" y="72681"/>
                    <a:pt x="28301" y="70031"/>
                    <a:pt x="29150" y="69274"/>
                  </a:cubicBezTo>
                  <a:cubicBezTo>
                    <a:pt x="30000" y="68517"/>
                    <a:pt x="31415" y="66624"/>
                    <a:pt x="32264" y="66624"/>
                  </a:cubicBezTo>
                  <a:cubicBezTo>
                    <a:pt x="33113" y="66624"/>
                    <a:pt x="35094" y="66624"/>
                    <a:pt x="35660" y="65488"/>
                  </a:cubicBezTo>
                  <a:cubicBezTo>
                    <a:pt x="35660" y="65488"/>
                    <a:pt x="38490" y="59810"/>
                    <a:pt x="39056" y="58675"/>
                  </a:cubicBezTo>
                  <a:cubicBezTo>
                    <a:pt x="39622" y="57539"/>
                    <a:pt x="40471" y="57539"/>
                    <a:pt x="41320" y="57917"/>
                  </a:cubicBezTo>
                  <a:cubicBezTo>
                    <a:pt x="41886" y="58296"/>
                    <a:pt x="43867" y="55268"/>
                    <a:pt x="44433" y="54132"/>
                  </a:cubicBezTo>
                  <a:cubicBezTo>
                    <a:pt x="45283" y="53375"/>
                    <a:pt x="45566" y="53753"/>
                    <a:pt x="46698" y="54132"/>
                  </a:cubicBezTo>
                  <a:cubicBezTo>
                    <a:pt x="47547" y="54132"/>
                    <a:pt x="46981" y="51861"/>
                    <a:pt x="47264" y="50347"/>
                  </a:cubicBezTo>
                  <a:cubicBezTo>
                    <a:pt x="47264" y="48832"/>
                    <a:pt x="47830" y="49968"/>
                    <a:pt x="48396" y="50725"/>
                  </a:cubicBezTo>
                  <a:cubicBezTo>
                    <a:pt x="49245" y="51482"/>
                    <a:pt x="49811" y="51482"/>
                    <a:pt x="50377" y="50725"/>
                  </a:cubicBezTo>
                  <a:cubicBezTo>
                    <a:pt x="51226" y="49968"/>
                    <a:pt x="50377" y="47318"/>
                    <a:pt x="50377" y="46182"/>
                  </a:cubicBezTo>
                  <a:cubicBezTo>
                    <a:pt x="50377" y="44668"/>
                    <a:pt x="51226" y="45047"/>
                    <a:pt x="52075" y="44668"/>
                  </a:cubicBezTo>
                  <a:cubicBezTo>
                    <a:pt x="52924" y="44668"/>
                    <a:pt x="52358" y="45804"/>
                    <a:pt x="52358" y="46940"/>
                  </a:cubicBezTo>
                  <a:cubicBezTo>
                    <a:pt x="52358" y="48075"/>
                    <a:pt x="56886" y="43533"/>
                    <a:pt x="57735" y="42397"/>
                  </a:cubicBezTo>
                  <a:cubicBezTo>
                    <a:pt x="58301" y="41640"/>
                    <a:pt x="58584" y="39747"/>
                    <a:pt x="58584" y="38611"/>
                  </a:cubicBezTo>
                  <a:cubicBezTo>
                    <a:pt x="58584" y="37854"/>
                    <a:pt x="60283" y="38233"/>
                    <a:pt x="61132" y="38233"/>
                  </a:cubicBezTo>
                  <a:cubicBezTo>
                    <a:pt x="62264" y="38611"/>
                    <a:pt x="61981" y="37476"/>
                    <a:pt x="62264" y="36340"/>
                  </a:cubicBezTo>
                  <a:cubicBezTo>
                    <a:pt x="62547" y="35205"/>
                    <a:pt x="66792" y="36719"/>
                    <a:pt x="67358" y="36719"/>
                  </a:cubicBezTo>
                  <a:cubicBezTo>
                    <a:pt x="67924" y="36719"/>
                    <a:pt x="70188" y="36340"/>
                    <a:pt x="70754" y="35583"/>
                  </a:cubicBezTo>
                  <a:cubicBezTo>
                    <a:pt x="71320" y="35205"/>
                    <a:pt x="71037" y="32933"/>
                    <a:pt x="70471" y="31419"/>
                  </a:cubicBezTo>
                  <a:cubicBezTo>
                    <a:pt x="69905" y="29905"/>
                    <a:pt x="73018" y="28769"/>
                    <a:pt x="73584" y="28769"/>
                  </a:cubicBezTo>
                  <a:cubicBezTo>
                    <a:pt x="74150" y="28391"/>
                    <a:pt x="79245" y="28391"/>
                    <a:pt x="79811" y="28012"/>
                  </a:cubicBezTo>
                  <a:cubicBezTo>
                    <a:pt x="80660" y="28012"/>
                    <a:pt x="82641" y="24984"/>
                    <a:pt x="83207" y="24605"/>
                  </a:cubicBezTo>
                  <a:cubicBezTo>
                    <a:pt x="83773" y="24227"/>
                    <a:pt x="94528" y="24227"/>
                    <a:pt x="95377" y="24227"/>
                  </a:cubicBezTo>
                  <a:cubicBezTo>
                    <a:pt x="96509" y="23848"/>
                    <a:pt x="97358" y="22712"/>
                    <a:pt x="97924" y="22334"/>
                  </a:cubicBezTo>
                  <a:cubicBezTo>
                    <a:pt x="98490" y="21955"/>
                    <a:pt x="99056" y="21955"/>
                    <a:pt x="100188" y="22334"/>
                  </a:cubicBezTo>
                  <a:cubicBezTo>
                    <a:pt x="101320" y="22712"/>
                    <a:pt x="102735" y="23470"/>
                    <a:pt x="103584" y="23848"/>
                  </a:cubicBezTo>
                  <a:cubicBezTo>
                    <a:pt x="104716" y="23848"/>
                    <a:pt x="108113" y="21198"/>
                    <a:pt x="108962" y="20063"/>
                  </a:cubicBezTo>
                  <a:cubicBezTo>
                    <a:pt x="109811" y="19305"/>
                    <a:pt x="112358" y="20063"/>
                    <a:pt x="113207" y="19684"/>
                  </a:cubicBezTo>
                  <a:cubicBezTo>
                    <a:pt x="114056" y="19684"/>
                    <a:pt x="117735" y="14006"/>
                    <a:pt x="118867" y="11356"/>
                  </a:cubicBezTo>
                  <a:cubicBezTo>
                    <a:pt x="120000" y="9085"/>
                    <a:pt x="120000" y="8328"/>
                    <a:pt x="120000" y="6435"/>
                  </a:cubicBezTo>
                  <a:cubicBezTo>
                    <a:pt x="119716" y="4921"/>
                    <a:pt x="118584" y="2271"/>
                    <a:pt x="118018" y="1135"/>
                  </a:cubicBezTo>
                  <a:cubicBezTo>
                    <a:pt x="117169" y="0"/>
                    <a:pt x="115471" y="378"/>
                    <a:pt x="115471" y="378"/>
                  </a:cubicBezTo>
                  <a:cubicBezTo>
                    <a:pt x="114622" y="378"/>
                    <a:pt x="112641" y="0"/>
                    <a:pt x="111226" y="757"/>
                  </a:cubicBezTo>
                  <a:cubicBezTo>
                    <a:pt x="110094" y="1135"/>
                    <a:pt x="105566" y="3406"/>
                    <a:pt x="104716" y="4164"/>
                  </a:cubicBezTo>
                  <a:cubicBezTo>
                    <a:pt x="104150" y="5299"/>
                    <a:pt x="103018" y="7570"/>
                    <a:pt x="102169" y="7949"/>
                  </a:cubicBezTo>
                  <a:cubicBezTo>
                    <a:pt x="101037" y="8328"/>
                    <a:pt x="97924" y="7570"/>
                    <a:pt x="97358" y="7949"/>
                  </a:cubicBezTo>
                  <a:cubicBezTo>
                    <a:pt x="96509" y="8328"/>
                    <a:pt x="94245" y="10220"/>
                    <a:pt x="93679" y="9463"/>
                  </a:cubicBezTo>
                  <a:cubicBezTo>
                    <a:pt x="92830" y="8706"/>
                    <a:pt x="91132" y="7192"/>
                    <a:pt x="90566" y="7192"/>
                  </a:cubicBezTo>
                  <a:cubicBezTo>
                    <a:pt x="89716" y="7192"/>
                    <a:pt x="88018" y="7570"/>
                    <a:pt x="87452" y="6435"/>
                  </a:cubicBezTo>
                  <a:cubicBezTo>
                    <a:pt x="86886" y="5299"/>
                    <a:pt x="86320" y="4921"/>
                    <a:pt x="85471" y="4542"/>
                  </a:cubicBezTo>
                  <a:cubicBezTo>
                    <a:pt x="84905" y="4542"/>
                    <a:pt x="83490" y="3785"/>
                    <a:pt x="82924" y="4542"/>
                  </a:cubicBezTo>
                  <a:cubicBezTo>
                    <a:pt x="82358" y="5299"/>
                    <a:pt x="81792" y="7570"/>
                    <a:pt x="80377" y="7570"/>
                  </a:cubicBezTo>
                  <a:cubicBezTo>
                    <a:pt x="79245" y="7949"/>
                    <a:pt x="76415" y="7949"/>
                    <a:pt x="75849" y="7949"/>
                  </a:cubicBezTo>
                  <a:cubicBezTo>
                    <a:pt x="75283" y="7570"/>
                    <a:pt x="73301" y="6813"/>
                    <a:pt x="72452" y="6813"/>
                  </a:cubicBezTo>
                  <a:cubicBezTo>
                    <a:pt x="71886" y="7192"/>
                    <a:pt x="69056" y="9463"/>
                    <a:pt x="68207" y="9463"/>
                  </a:cubicBezTo>
                  <a:cubicBezTo>
                    <a:pt x="67641" y="9463"/>
                    <a:pt x="65660" y="9085"/>
                    <a:pt x="65377" y="9463"/>
                  </a:cubicBezTo>
                  <a:cubicBezTo>
                    <a:pt x="65094" y="10220"/>
                    <a:pt x="62264" y="15520"/>
                    <a:pt x="61415" y="15141"/>
                  </a:cubicBezTo>
                  <a:cubicBezTo>
                    <a:pt x="60283" y="14384"/>
                    <a:pt x="57735" y="13249"/>
                    <a:pt x="57735" y="14384"/>
                  </a:cubicBezTo>
                  <a:cubicBezTo>
                    <a:pt x="57735" y="15899"/>
                    <a:pt x="58018" y="17413"/>
                    <a:pt x="57169" y="17413"/>
                  </a:cubicBezTo>
                  <a:cubicBezTo>
                    <a:pt x="56603" y="17413"/>
                    <a:pt x="56037" y="16656"/>
                    <a:pt x="54905" y="15899"/>
                  </a:cubicBezTo>
                  <a:cubicBezTo>
                    <a:pt x="53773" y="15141"/>
                    <a:pt x="51226" y="15141"/>
                    <a:pt x="52075" y="16656"/>
                  </a:cubicBezTo>
                  <a:cubicBezTo>
                    <a:pt x="52924" y="18548"/>
                    <a:pt x="53773" y="19305"/>
                    <a:pt x="52924" y="20441"/>
                  </a:cubicBezTo>
                  <a:cubicBezTo>
                    <a:pt x="52358" y="21198"/>
                    <a:pt x="52075" y="21577"/>
                    <a:pt x="52075" y="22712"/>
                  </a:cubicBezTo>
                  <a:cubicBezTo>
                    <a:pt x="52075" y="23848"/>
                    <a:pt x="52641" y="26876"/>
                    <a:pt x="51792" y="26119"/>
                  </a:cubicBezTo>
                  <a:cubicBezTo>
                    <a:pt x="51226" y="25741"/>
                    <a:pt x="50377" y="24984"/>
                    <a:pt x="49811" y="24984"/>
                  </a:cubicBezTo>
                  <a:cubicBezTo>
                    <a:pt x="48962" y="24984"/>
                    <a:pt x="46698" y="25362"/>
                    <a:pt x="47547" y="26119"/>
                  </a:cubicBezTo>
                  <a:cubicBezTo>
                    <a:pt x="48396" y="27255"/>
                    <a:pt x="48962" y="28391"/>
                    <a:pt x="48113" y="28391"/>
                  </a:cubicBezTo>
                  <a:cubicBezTo>
                    <a:pt x="46981" y="28391"/>
                    <a:pt x="44433" y="29148"/>
                    <a:pt x="44716" y="30283"/>
                  </a:cubicBezTo>
                  <a:cubicBezTo>
                    <a:pt x="45000" y="31419"/>
                    <a:pt x="44716" y="32176"/>
                    <a:pt x="43867" y="32176"/>
                  </a:cubicBezTo>
                  <a:cubicBezTo>
                    <a:pt x="42735" y="32176"/>
                    <a:pt x="41886" y="32176"/>
                    <a:pt x="41320" y="32933"/>
                  </a:cubicBezTo>
                  <a:cubicBezTo>
                    <a:pt x="40754" y="33312"/>
                    <a:pt x="39622" y="34826"/>
                    <a:pt x="38773" y="35205"/>
                  </a:cubicBezTo>
                  <a:cubicBezTo>
                    <a:pt x="37924" y="35205"/>
                    <a:pt x="30566" y="37097"/>
                    <a:pt x="30283" y="38611"/>
                  </a:cubicBezTo>
                  <a:cubicBezTo>
                    <a:pt x="30283" y="39747"/>
                    <a:pt x="30566" y="39369"/>
                    <a:pt x="31698" y="40504"/>
                  </a:cubicBezTo>
                  <a:cubicBezTo>
                    <a:pt x="32547" y="41640"/>
                    <a:pt x="34245" y="42018"/>
                    <a:pt x="34528" y="42776"/>
                  </a:cubicBezTo>
                  <a:cubicBezTo>
                    <a:pt x="34811" y="43154"/>
                    <a:pt x="34811" y="44668"/>
                    <a:pt x="33679" y="44668"/>
                  </a:cubicBezTo>
                  <a:cubicBezTo>
                    <a:pt x="32547" y="45047"/>
                    <a:pt x="30849" y="45425"/>
                    <a:pt x="30849" y="46182"/>
                  </a:cubicBezTo>
                  <a:cubicBezTo>
                    <a:pt x="30849" y="47318"/>
                    <a:pt x="30000" y="48454"/>
                    <a:pt x="29716" y="49211"/>
                  </a:cubicBezTo>
                  <a:cubicBezTo>
                    <a:pt x="29150" y="49968"/>
                    <a:pt x="28301" y="50347"/>
                    <a:pt x="28018" y="49968"/>
                  </a:cubicBezTo>
                  <a:cubicBezTo>
                    <a:pt x="27452" y="49211"/>
                    <a:pt x="26886" y="48075"/>
                    <a:pt x="25754" y="48075"/>
                  </a:cubicBezTo>
                  <a:cubicBezTo>
                    <a:pt x="24622" y="48075"/>
                    <a:pt x="22358" y="47318"/>
                    <a:pt x="22358" y="48454"/>
                  </a:cubicBezTo>
                  <a:cubicBezTo>
                    <a:pt x="22358" y="49589"/>
                    <a:pt x="21792" y="52996"/>
                    <a:pt x="21509" y="53753"/>
                  </a:cubicBezTo>
                  <a:cubicBezTo>
                    <a:pt x="21509" y="54889"/>
                    <a:pt x="20943" y="54889"/>
                    <a:pt x="20377" y="54889"/>
                  </a:cubicBezTo>
                  <a:cubicBezTo>
                    <a:pt x="19811" y="54511"/>
                    <a:pt x="18396" y="53753"/>
                    <a:pt x="17547" y="54132"/>
                  </a:cubicBezTo>
                  <a:cubicBezTo>
                    <a:pt x="16698" y="54511"/>
                    <a:pt x="15000" y="54511"/>
                    <a:pt x="15566" y="56025"/>
                  </a:cubicBezTo>
                  <a:cubicBezTo>
                    <a:pt x="16415" y="57539"/>
                    <a:pt x="17547" y="58296"/>
                    <a:pt x="16698" y="59432"/>
                  </a:cubicBezTo>
                  <a:cubicBezTo>
                    <a:pt x="15849" y="60567"/>
                    <a:pt x="14716" y="63596"/>
                    <a:pt x="14150" y="63596"/>
                  </a:cubicBezTo>
                  <a:cubicBezTo>
                    <a:pt x="13301" y="63974"/>
                    <a:pt x="10188" y="64731"/>
                    <a:pt x="10188" y="65867"/>
                  </a:cubicBezTo>
                  <a:cubicBezTo>
                    <a:pt x="9905" y="67003"/>
                    <a:pt x="10188" y="68895"/>
                    <a:pt x="9056" y="68517"/>
                  </a:cubicBezTo>
                  <a:cubicBezTo>
                    <a:pt x="8207" y="68138"/>
                    <a:pt x="8207" y="66246"/>
                    <a:pt x="6792" y="65867"/>
                  </a:cubicBezTo>
                  <a:cubicBezTo>
                    <a:pt x="5660" y="65488"/>
                    <a:pt x="4245" y="65867"/>
                    <a:pt x="3679" y="66246"/>
                  </a:cubicBezTo>
                  <a:cubicBezTo>
                    <a:pt x="3113" y="67003"/>
                    <a:pt x="849" y="70031"/>
                    <a:pt x="566" y="71545"/>
                  </a:cubicBezTo>
                  <a:cubicBezTo>
                    <a:pt x="0" y="72681"/>
                    <a:pt x="0" y="74574"/>
                    <a:pt x="0" y="75709"/>
                  </a:cubicBezTo>
                  <a:cubicBezTo>
                    <a:pt x="283" y="77223"/>
                    <a:pt x="1132" y="80252"/>
                    <a:pt x="2264" y="80252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5" name="Shape 6969">
              <a:extLst>
                <a:ext uri="{FF2B5EF4-FFF2-40B4-BE49-F238E27FC236}">
                  <a16:creationId xmlns:a16="http://schemas.microsoft.com/office/drawing/2014/main" id="{7F3B7F22-2ED6-48C8-8FD9-716FA9CDE1F4}"/>
                </a:ext>
              </a:extLst>
            </p:cNvPr>
            <p:cNvSpPr/>
            <p:nvPr/>
          </p:nvSpPr>
          <p:spPr>
            <a:xfrm>
              <a:off x="3256121" y="2749522"/>
              <a:ext cx="63671" cy="100782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90909" y="28888"/>
                  </a:moveTo>
                  <a:cubicBezTo>
                    <a:pt x="83636" y="20000"/>
                    <a:pt x="83636" y="0"/>
                    <a:pt x="76363" y="0"/>
                  </a:cubicBezTo>
                  <a:cubicBezTo>
                    <a:pt x="65454" y="0"/>
                    <a:pt x="54545" y="2222"/>
                    <a:pt x="54545" y="2222"/>
                  </a:cubicBezTo>
                  <a:cubicBezTo>
                    <a:pt x="40000" y="2222"/>
                    <a:pt x="14545" y="6666"/>
                    <a:pt x="10909" y="13333"/>
                  </a:cubicBezTo>
                  <a:cubicBezTo>
                    <a:pt x="3636" y="20000"/>
                    <a:pt x="0" y="31111"/>
                    <a:pt x="3636" y="42222"/>
                  </a:cubicBezTo>
                  <a:cubicBezTo>
                    <a:pt x="10909" y="53333"/>
                    <a:pt x="10909" y="62222"/>
                    <a:pt x="21818" y="68888"/>
                  </a:cubicBezTo>
                  <a:cubicBezTo>
                    <a:pt x="32727" y="75555"/>
                    <a:pt x="43636" y="73333"/>
                    <a:pt x="47272" y="80000"/>
                  </a:cubicBezTo>
                  <a:cubicBezTo>
                    <a:pt x="50909" y="86666"/>
                    <a:pt x="50909" y="102222"/>
                    <a:pt x="61818" y="104444"/>
                  </a:cubicBezTo>
                  <a:cubicBezTo>
                    <a:pt x="69090" y="108888"/>
                    <a:pt x="94545" y="120000"/>
                    <a:pt x="101818" y="111111"/>
                  </a:cubicBezTo>
                  <a:cubicBezTo>
                    <a:pt x="105454" y="102222"/>
                    <a:pt x="120000" y="93333"/>
                    <a:pt x="116363" y="86666"/>
                  </a:cubicBezTo>
                  <a:cubicBezTo>
                    <a:pt x="116363" y="80000"/>
                    <a:pt x="94545" y="66666"/>
                    <a:pt x="94545" y="57777"/>
                  </a:cubicBezTo>
                  <a:cubicBezTo>
                    <a:pt x="94545" y="48888"/>
                    <a:pt x="94545" y="37777"/>
                    <a:pt x="90909" y="28888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6" name="Shape 6970">
              <a:extLst>
                <a:ext uri="{FF2B5EF4-FFF2-40B4-BE49-F238E27FC236}">
                  <a16:creationId xmlns:a16="http://schemas.microsoft.com/office/drawing/2014/main" id="{472E3180-59A4-4682-856E-AA927C48A808}"/>
                </a:ext>
              </a:extLst>
            </p:cNvPr>
            <p:cNvSpPr/>
            <p:nvPr/>
          </p:nvSpPr>
          <p:spPr>
            <a:xfrm>
              <a:off x="2804631" y="2643142"/>
              <a:ext cx="92612" cy="8398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7500" y="93333"/>
                  </a:moveTo>
                  <a:cubicBezTo>
                    <a:pt x="17500" y="101333"/>
                    <a:pt x="45000" y="120000"/>
                    <a:pt x="52500" y="114666"/>
                  </a:cubicBezTo>
                  <a:cubicBezTo>
                    <a:pt x="62500" y="112000"/>
                    <a:pt x="67500" y="101333"/>
                    <a:pt x="77500" y="101333"/>
                  </a:cubicBezTo>
                  <a:cubicBezTo>
                    <a:pt x="85000" y="101333"/>
                    <a:pt x="90000" y="106666"/>
                    <a:pt x="100000" y="101333"/>
                  </a:cubicBezTo>
                  <a:cubicBezTo>
                    <a:pt x="107500" y="93333"/>
                    <a:pt x="115000" y="90666"/>
                    <a:pt x="115000" y="77333"/>
                  </a:cubicBezTo>
                  <a:cubicBezTo>
                    <a:pt x="117500" y="64000"/>
                    <a:pt x="120000" y="64000"/>
                    <a:pt x="112500" y="56000"/>
                  </a:cubicBezTo>
                  <a:cubicBezTo>
                    <a:pt x="102500" y="45333"/>
                    <a:pt x="97500" y="45333"/>
                    <a:pt x="97500" y="34666"/>
                  </a:cubicBezTo>
                  <a:cubicBezTo>
                    <a:pt x="97500" y="26666"/>
                    <a:pt x="92500" y="13333"/>
                    <a:pt x="82500" y="8000"/>
                  </a:cubicBezTo>
                  <a:cubicBezTo>
                    <a:pt x="75000" y="8000"/>
                    <a:pt x="62500" y="0"/>
                    <a:pt x="57500" y="5333"/>
                  </a:cubicBezTo>
                  <a:cubicBezTo>
                    <a:pt x="50000" y="8000"/>
                    <a:pt x="30000" y="18666"/>
                    <a:pt x="25000" y="26666"/>
                  </a:cubicBezTo>
                  <a:cubicBezTo>
                    <a:pt x="17500" y="32000"/>
                    <a:pt x="0" y="53333"/>
                    <a:pt x="0" y="64000"/>
                  </a:cubicBezTo>
                  <a:cubicBezTo>
                    <a:pt x="0" y="74666"/>
                    <a:pt x="0" y="85333"/>
                    <a:pt x="7500" y="93333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7" name="Shape 6971">
              <a:extLst>
                <a:ext uri="{FF2B5EF4-FFF2-40B4-BE49-F238E27FC236}">
                  <a16:creationId xmlns:a16="http://schemas.microsoft.com/office/drawing/2014/main" id="{CCFBE20F-6EE1-4890-A967-1AF43D7C9694}"/>
                </a:ext>
              </a:extLst>
            </p:cNvPr>
            <p:cNvSpPr/>
            <p:nvPr/>
          </p:nvSpPr>
          <p:spPr>
            <a:xfrm>
              <a:off x="2051184" y="2659938"/>
              <a:ext cx="19293" cy="18662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36000"/>
                  </a:moveTo>
                  <a:cubicBezTo>
                    <a:pt x="0" y="84000"/>
                    <a:pt x="0" y="120000"/>
                    <a:pt x="36000" y="120000"/>
                  </a:cubicBezTo>
                  <a:cubicBezTo>
                    <a:pt x="72000" y="108000"/>
                    <a:pt x="120000" y="96000"/>
                    <a:pt x="120000" y="60000"/>
                  </a:cubicBezTo>
                  <a:cubicBezTo>
                    <a:pt x="120000" y="36000"/>
                    <a:pt x="96000" y="36000"/>
                    <a:pt x="84000" y="24000"/>
                  </a:cubicBezTo>
                  <a:cubicBezTo>
                    <a:pt x="60000" y="12000"/>
                    <a:pt x="0" y="0"/>
                    <a:pt x="0" y="36000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8" name="Shape 6972">
              <a:extLst>
                <a:ext uri="{FF2B5EF4-FFF2-40B4-BE49-F238E27FC236}">
                  <a16:creationId xmlns:a16="http://schemas.microsoft.com/office/drawing/2014/main" id="{54119776-22B9-4A16-8A72-D0A8385238B9}"/>
                </a:ext>
              </a:extLst>
            </p:cNvPr>
            <p:cNvSpPr/>
            <p:nvPr/>
          </p:nvSpPr>
          <p:spPr>
            <a:xfrm>
              <a:off x="1157852" y="2957618"/>
              <a:ext cx="380101" cy="26688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9492" y="39440"/>
                  </a:moveTo>
                  <a:cubicBezTo>
                    <a:pt x="17664" y="40279"/>
                    <a:pt x="15837" y="41958"/>
                    <a:pt x="14619" y="43636"/>
                  </a:cubicBezTo>
                  <a:cubicBezTo>
                    <a:pt x="14010" y="44475"/>
                    <a:pt x="14010" y="44475"/>
                    <a:pt x="14010" y="44475"/>
                  </a:cubicBezTo>
                  <a:cubicBezTo>
                    <a:pt x="13401" y="45314"/>
                    <a:pt x="12791" y="46153"/>
                    <a:pt x="12182" y="46993"/>
                  </a:cubicBezTo>
                  <a:cubicBezTo>
                    <a:pt x="11573" y="48671"/>
                    <a:pt x="10964" y="49510"/>
                    <a:pt x="9746" y="50349"/>
                  </a:cubicBezTo>
                  <a:cubicBezTo>
                    <a:pt x="9137" y="50349"/>
                    <a:pt x="8527" y="51188"/>
                    <a:pt x="7918" y="52867"/>
                  </a:cubicBezTo>
                  <a:cubicBezTo>
                    <a:pt x="7918" y="52867"/>
                    <a:pt x="7918" y="53706"/>
                    <a:pt x="7918" y="53706"/>
                  </a:cubicBezTo>
                  <a:cubicBezTo>
                    <a:pt x="7918" y="56223"/>
                    <a:pt x="7309" y="59580"/>
                    <a:pt x="5482" y="60419"/>
                  </a:cubicBezTo>
                  <a:cubicBezTo>
                    <a:pt x="3654" y="61258"/>
                    <a:pt x="609" y="64615"/>
                    <a:pt x="0" y="65454"/>
                  </a:cubicBezTo>
                  <a:cubicBezTo>
                    <a:pt x="0" y="66293"/>
                    <a:pt x="609" y="66293"/>
                    <a:pt x="609" y="67132"/>
                  </a:cubicBezTo>
                  <a:cubicBezTo>
                    <a:pt x="1218" y="67972"/>
                    <a:pt x="1827" y="69650"/>
                    <a:pt x="2436" y="70489"/>
                  </a:cubicBezTo>
                  <a:cubicBezTo>
                    <a:pt x="3045" y="70489"/>
                    <a:pt x="3045" y="70489"/>
                    <a:pt x="3654" y="71328"/>
                  </a:cubicBezTo>
                  <a:cubicBezTo>
                    <a:pt x="3654" y="71328"/>
                    <a:pt x="3654" y="72167"/>
                    <a:pt x="3654" y="73006"/>
                  </a:cubicBezTo>
                  <a:cubicBezTo>
                    <a:pt x="4263" y="73846"/>
                    <a:pt x="4263" y="74685"/>
                    <a:pt x="4873" y="75524"/>
                  </a:cubicBezTo>
                  <a:cubicBezTo>
                    <a:pt x="6091" y="78881"/>
                    <a:pt x="8527" y="82237"/>
                    <a:pt x="9137" y="83076"/>
                  </a:cubicBezTo>
                  <a:cubicBezTo>
                    <a:pt x="9137" y="83076"/>
                    <a:pt x="9137" y="83076"/>
                    <a:pt x="9746" y="83076"/>
                  </a:cubicBezTo>
                  <a:cubicBezTo>
                    <a:pt x="11573" y="82237"/>
                    <a:pt x="15228" y="82237"/>
                    <a:pt x="17055" y="85594"/>
                  </a:cubicBezTo>
                  <a:cubicBezTo>
                    <a:pt x="17664" y="85594"/>
                    <a:pt x="17664" y="85594"/>
                    <a:pt x="17664" y="85594"/>
                  </a:cubicBezTo>
                  <a:cubicBezTo>
                    <a:pt x="18883" y="88111"/>
                    <a:pt x="19492" y="88951"/>
                    <a:pt x="20710" y="88951"/>
                  </a:cubicBezTo>
                  <a:cubicBezTo>
                    <a:pt x="21319" y="88951"/>
                    <a:pt x="21928" y="88111"/>
                    <a:pt x="22538" y="88111"/>
                  </a:cubicBezTo>
                  <a:cubicBezTo>
                    <a:pt x="24365" y="87272"/>
                    <a:pt x="26802" y="85594"/>
                    <a:pt x="28020" y="88951"/>
                  </a:cubicBezTo>
                  <a:cubicBezTo>
                    <a:pt x="29238" y="91468"/>
                    <a:pt x="30456" y="92307"/>
                    <a:pt x="32284" y="92307"/>
                  </a:cubicBezTo>
                  <a:cubicBezTo>
                    <a:pt x="32284" y="92307"/>
                    <a:pt x="33502" y="92307"/>
                    <a:pt x="34111" y="92307"/>
                  </a:cubicBezTo>
                  <a:cubicBezTo>
                    <a:pt x="37766" y="91468"/>
                    <a:pt x="42639" y="90629"/>
                    <a:pt x="43248" y="94825"/>
                  </a:cubicBezTo>
                  <a:cubicBezTo>
                    <a:pt x="44467" y="98181"/>
                    <a:pt x="45685" y="99860"/>
                    <a:pt x="48121" y="99860"/>
                  </a:cubicBezTo>
                  <a:cubicBezTo>
                    <a:pt x="49949" y="99020"/>
                    <a:pt x="51167" y="98181"/>
                    <a:pt x="52385" y="97342"/>
                  </a:cubicBezTo>
                  <a:cubicBezTo>
                    <a:pt x="53604" y="95664"/>
                    <a:pt x="54822" y="94825"/>
                    <a:pt x="56649" y="94825"/>
                  </a:cubicBezTo>
                  <a:cubicBezTo>
                    <a:pt x="59086" y="94825"/>
                    <a:pt x="60304" y="94825"/>
                    <a:pt x="62131" y="93146"/>
                  </a:cubicBezTo>
                  <a:cubicBezTo>
                    <a:pt x="62741" y="92307"/>
                    <a:pt x="63350" y="91468"/>
                    <a:pt x="64568" y="90629"/>
                  </a:cubicBezTo>
                  <a:cubicBezTo>
                    <a:pt x="65786" y="88111"/>
                    <a:pt x="67005" y="86433"/>
                    <a:pt x="68832" y="86433"/>
                  </a:cubicBezTo>
                  <a:cubicBezTo>
                    <a:pt x="70659" y="86433"/>
                    <a:pt x="76142" y="89790"/>
                    <a:pt x="79187" y="92307"/>
                  </a:cubicBezTo>
                  <a:cubicBezTo>
                    <a:pt x="82233" y="95664"/>
                    <a:pt x="83451" y="100699"/>
                    <a:pt x="83451" y="103216"/>
                  </a:cubicBezTo>
                  <a:cubicBezTo>
                    <a:pt x="83451" y="103216"/>
                    <a:pt x="83451" y="104055"/>
                    <a:pt x="83451" y="104055"/>
                  </a:cubicBezTo>
                  <a:cubicBezTo>
                    <a:pt x="83451" y="104055"/>
                    <a:pt x="83451" y="104055"/>
                    <a:pt x="83451" y="104055"/>
                  </a:cubicBezTo>
                  <a:cubicBezTo>
                    <a:pt x="83451" y="104055"/>
                    <a:pt x="84060" y="104895"/>
                    <a:pt x="84670" y="104895"/>
                  </a:cubicBezTo>
                  <a:cubicBezTo>
                    <a:pt x="85279" y="104895"/>
                    <a:pt x="85888" y="104895"/>
                    <a:pt x="86497" y="104895"/>
                  </a:cubicBezTo>
                  <a:cubicBezTo>
                    <a:pt x="87715" y="104895"/>
                    <a:pt x="88934" y="104055"/>
                    <a:pt x="90152" y="106573"/>
                  </a:cubicBezTo>
                  <a:cubicBezTo>
                    <a:pt x="90761" y="109090"/>
                    <a:pt x="94416" y="112447"/>
                    <a:pt x="95634" y="111608"/>
                  </a:cubicBezTo>
                  <a:cubicBezTo>
                    <a:pt x="96243" y="111608"/>
                    <a:pt x="96243" y="110769"/>
                    <a:pt x="96852" y="109930"/>
                  </a:cubicBezTo>
                  <a:cubicBezTo>
                    <a:pt x="97461" y="109090"/>
                    <a:pt x="98680" y="107412"/>
                    <a:pt x="99898" y="107412"/>
                  </a:cubicBezTo>
                  <a:cubicBezTo>
                    <a:pt x="100507" y="107412"/>
                    <a:pt x="101116" y="107412"/>
                    <a:pt x="101725" y="108251"/>
                  </a:cubicBezTo>
                  <a:cubicBezTo>
                    <a:pt x="103553" y="109930"/>
                    <a:pt x="103553" y="109930"/>
                    <a:pt x="103553" y="109930"/>
                  </a:cubicBezTo>
                  <a:cubicBezTo>
                    <a:pt x="105380" y="112447"/>
                    <a:pt x="107817" y="115804"/>
                    <a:pt x="109035" y="115804"/>
                  </a:cubicBezTo>
                  <a:cubicBezTo>
                    <a:pt x="109035" y="115804"/>
                    <a:pt x="110253" y="116643"/>
                    <a:pt x="112081" y="118321"/>
                  </a:cubicBezTo>
                  <a:cubicBezTo>
                    <a:pt x="112690" y="118321"/>
                    <a:pt x="113908" y="119160"/>
                    <a:pt x="115126" y="120000"/>
                  </a:cubicBezTo>
                  <a:cubicBezTo>
                    <a:pt x="115736" y="117482"/>
                    <a:pt x="118172" y="109930"/>
                    <a:pt x="118781" y="106573"/>
                  </a:cubicBezTo>
                  <a:cubicBezTo>
                    <a:pt x="120000" y="104895"/>
                    <a:pt x="116954" y="100699"/>
                    <a:pt x="115736" y="99020"/>
                  </a:cubicBezTo>
                  <a:cubicBezTo>
                    <a:pt x="115126" y="98181"/>
                    <a:pt x="114517" y="97342"/>
                    <a:pt x="114517" y="96503"/>
                  </a:cubicBezTo>
                  <a:cubicBezTo>
                    <a:pt x="113908" y="95664"/>
                    <a:pt x="112081" y="94825"/>
                    <a:pt x="110253" y="93986"/>
                  </a:cubicBezTo>
                  <a:cubicBezTo>
                    <a:pt x="109644" y="93986"/>
                    <a:pt x="108426" y="93986"/>
                    <a:pt x="107817" y="93146"/>
                  </a:cubicBezTo>
                  <a:cubicBezTo>
                    <a:pt x="107208" y="93146"/>
                    <a:pt x="106598" y="92307"/>
                    <a:pt x="106598" y="91468"/>
                  </a:cubicBezTo>
                  <a:cubicBezTo>
                    <a:pt x="105989" y="88951"/>
                    <a:pt x="107817" y="85594"/>
                    <a:pt x="110862" y="80559"/>
                  </a:cubicBezTo>
                  <a:cubicBezTo>
                    <a:pt x="110862" y="80559"/>
                    <a:pt x="110862" y="79720"/>
                    <a:pt x="110862" y="79720"/>
                  </a:cubicBezTo>
                  <a:cubicBezTo>
                    <a:pt x="110253" y="75524"/>
                    <a:pt x="109644" y="69650"/>
                    <a:pt x="109035" y="65454"/>
                  </a:cubicBezTo>
                  <a:cubicBezTo>
                    <a:pt x="109035" y="63776"/>
                    <a:pt x="109035" y="62097"/>
                    <a:pt x="109035" y="61258"/>
                  </a:cubicBezTo>
                  <a:cubicBezTo>
                    <a:pt x="109035" y="60419"/>
                    <a:pt x="107817" y="59580"/>
                    <a:pt x="102335" y="56223"/>
                  </a:cubicBezTo>
                  <a:cubicBezTo>
                    <a:pt x="101725" y="56223"/>
                    <a:pt x="101725" y="56223"/>
                    <a:pt x="101725" y="56223"/>
                  </a:cubicBezTo>
                  <a:cubicBezTo>
                    <a:pt x="101116" y="55384"/>
                    <a:pt x="100507" y="55384"/>
                    <a:pt x="100507" y="54545"/>
                  </a:cubicBezTo>
                  <a:cubicBezTo>
                    <a:pt x="99898" y="52867"/>
                    <a:pt x="100507" y="50349"/>
                    <a:pt x="101725" y="47832"/>
                  </a:cubicBezTo>
                  <a:cubicBezTo>
                    <a:pt x="102335" y="45314"/>
                    <a:pt x="102944" y="43636"/>
                    <a:pt x="102944" y="41958"/>
                  </a:cubicBezTo>
                  <a:cubicBezTo>
                    <a:pt x="102944" y="40279"/>
                    <a:pt x="102944" y="40279"/>
                    <a:pt x="101725" y="40279"/>
                  </a:cubicBezTo>
                  <a:cubicBezTo>
                    <a:pt x="101116" y="40279"/>
                    <a:pt x="100507" y="40279"/>
                    <a:pt x="99898" y="40279"/>
                  </a:cubicBezTo>
                  <a:cubicBezTo>
                    <a:pt x="96852" y="39440"/>
                    <a:pt x="96852" y="36083"/>
                    <a:pt x="96852" y="33566"/>
                  </a:cubicBezTo>
                  <a:cubicBezTo>
                    <a:pt x="96852" y="33566"/>
                    <a:pt x="96852" y="32727"/>
                    <a:pt x="96852" y="31888"/>
                  </a:cubicBezTo>
                  <a:cubicBezTo>
                    <a:pt x="96852" y="31888"/>
                    <a:pt x="96852" y="31888"/>
                    <a:pt x="96852" y="31888"/>
                  </a:cubicBezTo>
                  <a:cubicBezTo>
                    <a:pt x="96243" y="31048"/>
                    <a:pt x="93807" y="31048"/>
                    <a:pt x="92588" y="31048"/>
                  </a:cubicBezTo>
                  <a:cubicBezTo>
                    <a:pt x="91979" y="31048"/>
                    <a:pt x="91979" y="31048"/>
                    <a:pt x="91979" y="31048"/>
                  </a:cubicBezTo>
                  <a:cubicBezTo>
                    <a:pt x="91979" y="31048"/>
                    <a:pt x="90761" y="32727"/>
                    <a:pt x="90152" y="33566"/>
                  </a:cubicBezTo>
                  <a:cubicBezTo>
                    <a:pt x="90152" y="34405"/>
                    <a:pt x="89543" y="35244"/>
                    <a:pt x="88934" y="36083"/>
                  </a:cubicBezTo>
                  <a:cubicBezTo>
                    <a:pt x="88324" y="36923"/>
                    <a:pt x="87715" y="36923"/>
                    <a:pt x="87715" y="36923"/>
                  </a:cubicBezTo>
                  <a:cubicBezTo>
                    <a:pt x="85888" y="36083"/>
                    <a:pt x="84670" y="33566"/>
                    <a:pt x="82842" y="28531"/>
                  </a:cubicBezTo>
                  <a:cubicBezTo>
                    <a:pt x="82842" y="26853"/>
                    <a:pt x="82842" y="26853"/>
                    <a:pt x="82842" y="26853"/>
                  </a:cubicBezTo>
                  <a:cubicBezTo>
                    <a:pt x="82233" y="25174"/>
                    <a:pt x="82233" y="22657"/>
                    <a:pt x="82842" y="17622"/>
                  </a:cubicBezTo>
                  <a:cubicBezTo>
                    <a:pt x="82842" y="15104"/>
                    <a:pt x="83451" y="13426"/>
                    <a:pt x="83451" y="11748"/>
                  </a:cubicBezTo>
                  <a:cubicBezTo>
                    <a:pt x="83451" y="10909"/>
                    <a:pt x="83451" y="10909"/>
                    <a:pt x="83451" y="10909"/>
                  </a:cubicBezTo>
                  <a:cubicBezTo>
                    <a:pt x="83451" y="10909"/>
                    <a:pt x="82842" y="10909"/>
                    <a:pt x="82233" y="10909"/>
                  </a:cubicBezTo>
                  <a:cubicBezTo>
                    <a:pt x="82233" y="10909"/>
                    <a:pt x="81624" y="10909"/>
                    <a:pt x="81015" y="10909"/>
                  </a:cubicBezTo>
                  <a:cubicBezTo>
                    <a:pt x="79187" y="10909"/>
                    <a:pt x="77969" y="10069"/>
                    <a:pt x="77360" y="9230"/>
                  </a:cubicBezTo>
                  <a:cubicBezTo>
                    <a:pt x="76751" y="8391"/>
                    <a:pt x="76142" y="7552"/>
                    <a:pt x="75532" y="7552"/>
                  </a:cubicBezTo>
                  <a:cubicBezTo>
                    <a:pt x="74923" y="6713"/>
                    <a:pt x="73705" y="8391"/>
                    <a:pt x="73096" y="9230"/>
                  </a:cubicBezTo>
                  <a:cubicBezTo>
                    <a:pt x="71878" y="10909"/>
                    <a:pt x="70659" y="11748"/>
                    <a:pt x="69441" y="12587"/>
                  </a:cubicBezTo>
                  <a:cubicBezTo>
                    <a:pt x="67614" y="12587"/>
                    <a:pt x="65786" y="11748"/>
                    <a:pt x="63350" y="10069"/>
                  </a:cubicBezTo>
                  <a:cubicBezTo>
                    <a:pt x="63350" y="10069"/>
                    <a:pt x="62741" y="10069"/>
                    <a:pt x="62131" y="9230"/>
                  </a:cubicBezTo>
                  <a:cubicBezTo>
                    <a:pt x="59695" y="7552"/>
                    <a:pt x="56040" y="7552"/>
                    <a:pt x="56040" y="7552"/>
                  </a:cubicBezTo>
                  <a:cubicBezTo>
                    <a:pt x="54822" y="7552"/>
                    <a:pt x="53604" y="8391"/>
                    <a:pt x="51776" y="8391"/>
                  </a:cubicBezTo>
                  <a:cubicBezTo>
                    <a:pt x="48730" y="9230"/>
                    <a:pt x="45076" y="10069"/>
                    <a:pt x="44467" y="6713"/>
                  </a:cubicBezTo>
                  <a:cubicBezTo>
                    <a:pt x="43857" y="5874"/>
                    <a:pt x="43857" y="5034"/>
                    <a:pt x="43857" y="4195"/>
                  </a:cubicBezTo>
                  <a:cubicBezTo>
                    <a:pt x="43248" y="2517"/>
                    <a:pt x="43248" y="0"/>
                    <a:pt x="42639" y="0"/>
                  </a:cubicBezTo>
                  <a:cubicBezTo>
                    <a:pt x="42639" y="0"/>
                    <a:pt x="42030" y="0"/>
                    <a:pt x="42030" y="0"/>
                  </a:cubicBezTo>
                  <a:cubicBezTo>
                    <a:pt x="40812" y="839"/>
                    <a:pt x="40203" y="1678"/>
                    <a:pt x="39593" y="2517"/>
                  </a:cubicBezTo>
                  <a:cubicBezTo>
                    <a:pt x="37766" y="4195"/>
                    <a:pt x="36548" y="5874"/>
                    <a:pt x="34720" y="5874"/>
                  </a:cubicBezTo>
                  <a:cubicBezTo>
                    <a:pt x="34111" y="5874"/>
                    <a:pt x="33502" y="5874"/>
                    <a:pt x="32284" y="5874"/>
                  </a:cubicBezTo>
                  <a:cubicBezTo>
                    <a:pt x="29847" y="5034"/>
                    <a:pt x="24365" y="5034"/>
                    <a:pt x="23147" y="5874"/>
                  </a:cubicBezTo>
                  <a:cubicBezTo>
                    <a:pt x="23147" y="5874"/>
                    <a:pt x="23147" y="5874"/>
                    <a:pt x="23147" y="5874"/>
                  </a:cubicBezTo>
                  <a:cubicBezTo>
                    <a:pt x="21319" y="6713"/>
                    <a:pt x="20101" y="7552"/>
                    <a:pt x="20101" y="9230"/>
                  </a:cubicBezTo>
                  <a:cubicBezTo>
                    <a:pt x="20101" y="10069"/>
                    <a:pt x="20710" y="10069"/>
                    <a:pt x="20710" y="10909"/>
                  </a:cubicBezTo>
                  <a:cubicBezTo>
                    <a:pt x="21319" y="12587"/>
                    <a:pt x="21319" y="15104"/>
                    <a:pt x="20101" y="16783"/>
                  </a:cubicBezTo>
                  <a:cubicBezTo>
                    <a:pt x="18883" y="17622"/>
                    <a:pt x="18274" y="18461"/>
                    <a:pt x="17664" y="19300"/>
                  </a:cubicBezTo>
                  <a:cubicBezTo>
                    <a:pt x="17055" y="20139"/>
                    <a:pt x="16446" y="20139"/>
                    <a:pt x="16446" y="20139"/>
                  </a:cubicBezTo>
                  <a:cubicBezTo>
                    <a:pt x="17055" y="20979"/>
                    <a:pt x="18274" y="22657"/>
                    <a:pt x="19492" y="23496"/>
                  </a:cubicBezTo>
                  <a:cubicBezTo>
                    <a:pt x="21319" y="26013"/>
                    <a:pt x="22538" y="27692"/>
                    <a:pt x="22538" y="29370"/>
                  </a:cubicBezTo>
                  <a:cubicBezTo>
                    <a:pt x="22538" y="31888"/>
                    <a:pt x="22538" y="36923"/>
                    <a:pt x="19492" y="39440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9" name="Shape 6973">
              <a:extLst>
                <a:ext uri="{FF2B5EF4-FFF2-40B4-BE49-F238E27FC236}">
                  <a16:creationId xmlns:a16="http://schemas.microsoft.com/office/drawing/2014/main" id="{212B769B-B613-4AA4-9F3C-257882077FC7}"/>
                </a:ext>
              </a:extLst>
            </p:cNvPr>
            <p:cNvSpPr/>
            <p:nvPr/>
          </p:nvSpPr>
          <p:spPr>
            <a:xfrm>
              <a:off x="2207469" y="2961350"/>
              <a:ext cx="1247383" cy="716672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4643" y="89295"/>
                  </a:moveTo>
                  <a:cubicBezTo>
                    <a:pt x="4643" y="89608"/>
                    <a:pt x="4643" y="89608"/>
                    <a:pt x="4643" y="89921"/>
                  </a:cubicBezTo>
                  <a:cubicBezTo>
                    <a:pt x="4643" y="92428"/>
                    <a:pt x="4643" y="93681"/>
                    <a:pt x="4086" y="93994"/>
                  </a:cubicBezTo>
                  <a:cubicBezTo>
                    <a:pt x="3900" y="94308"/>
                    <a:pt x="3715" y="94308"/>
                    <a:pt x="3343" y="94308"/>
                  </a:cubicBezTo>
                  <a:cubicBezTo>
                    <a:pt x="2972" y="94621"/>
                    <a:pt x="2043" y="94934"/>
                    <a:pt x="1857" y="95248"/>
                  </a:cubicBezTo>
                  <a:cubicBezTo>
                    <a:pt x="1857" y="95561"/>
                    <a:pt x="1857" y="95874"/>
                    <a:pt x="2043" y="95874"/>
                  </a:cubicBezTo>
                  <a:cubicBezTo>
                    <a:pt x="2043" y="96501"/>
                    <a:pt x="2229" y="97441"/>
                    <a:pt x="1671" y="98381"/>
                  </a:cubicBezTo>
                  <a:cubicBezTo>
                    <a:pt x="1671" y="98381"/>
                    <a:pt x="1671" y="98381"/>
                    <a:pt x="1671" y="98381"/>
                  </a:cubicBezTo>
                  <a:cubicBezTo>
                    <a:pt x="743" y="99634"/>
                    <a:pt x="371" y="100261"/>
                    <a:pt x="185" y="100574"/>
                  </a:cubicBezTo>
                  <a:cubicBezTo>
                    <a:pt x="371" y="100887"/>
                    <a:pt x="185" y="101201"/>
                    <a:pt x="185" y="101514"/>
                  </a:cubicBezTo>
                  <a:cubicBezTo>
                    <a:pt x="185" y="102140"/>
                    <a:pt x="0" y="103080"/>
                    <a:pt x="185" y="103394"/>
                  </a:cubicBezTo>
                  <a:cubicBezTo>
                    <a:pt x="557" y="104020"/>
                    <a:pt x="1486" y="105274"/>
                    <a:pt x="1486" y="106214"/>
                  </a:cubicBezTo>
                  <a:cubicBezTo>
                    <a:pt x="1486" y="106527"/>
                    <a:pt x="1300" y="106840"/>
                    <a:pt x="1300" y="107154"/>
                  </a:cubicBezTo>
                  <a:cubicBezTo>
                    <a:pt x="1300" y="108093"/>
                    <a:pt x="1300" y="109033"/>
                    <a:pt x="1300" y="109660"/>
                  </a:cubicBezTo>
                  <a:cubicBezTo>
                    <a:pt x="1486" y="109973"/>
                    <a:pt x="1486" y="110287"/>
                    <a:pt x="1671" y="110600"/>
                  </a:cubicBezTo>
                  <a:cubicBezTo>
                    <a:pt x="1857" y="111540"/>
                    <a:pt x="2043" y="112167"/>
                    <a:pt x="1857" y="112793"/>
                  </a:cubicBezTo>
                  <a:cubicBezTo>
                    <a:pt x="1857" y="113107"/>
                    <a:pt x="1857" y="113420"/>
                    <a:pt x="1671" y="113733"/>
                  </a:cubicBezTo>
                  <a:cubicBezTo>
                    <a:pt x="1486" y="114046"/>
                    <a:pt x="1114" y="115300"/>
                    <a:pt x="1114" y="115613"/>
                  </a:cubicBezTo>
                  <a:cubicBezTo>
                    <a:pt x="1300" y="115926"/>
                    <a:pt x="1486" y="116866"/>
                    <a:pt x="1671" y="117180"/>
                  </a:cubicBezTo>
                  <a:cubicBezTo>
                    <a:pt x="1857" y="116866"/>
                    <a:pt x="2043" y="116553"/>
                    <a:pt x="2229" y="116240"/>
                  </a:cubicBezTo>
                  <a:cubicBezTo>
                    <a:pt x="2414" y="115613"/>
                    <a:pt x="2786" y="114986"/>
                    <a:pt x="2972" y="114360"/>
                  </a:cubicBezTo>
                  <a:cubicBezTo>
                    <a:pt x="2972" y="114360"/>
                    <a:pt x="2972" y="114046"/>
                    <a:pt x="2972" y="113733"/>
                  </a:cubicBezTo>
                  <a:cubicBezTo>
                    <a:pt x="3343" y="111540"/>
                    <a:pt x="3715" y="109347"/>
                    <a:pt x="4458" y="109033"/>
                  </a:cubicBezTo>
                  <a:cubicBezTo>
                    <a:pt x="4643" y="109033"/>
                    <a:pt x="5015" y="109033"/>
                    <a:pt x="5201" y="109033"/>
                  </a:cubicBezTo>
                  <a:cubicBezTo>
                    <a:pt x="5758" y="108720"/>
                    <a:pt x="6315" y="108407"/>
                    <a:pt x="6873" y="109033"/>
                  </a:cubicBezTo>
                  <a:cubicBezTo>
                    <a:pt x="7058" y="109033"/>
                    <a:pt x="7244" y="109347"/>
                    <a:pt x="7616" y="109347"/>
                  </a:cubicBezTo>
                  <a:cubicBezTo>
                    <a:pt x="8730" y="110287"/>
                    <a:pt x="9473" y="110600"/>
                    <a:pt x="9845" y="111227"/>
                  </a:cubicBezTo>
                  <a:cubicBezTo>
                    <a:pt x="9845" y="111540"/>
                    <a:pt x="9845" y="111853"/>
                    <a:pt x="10030" y="111853"/>
                  </a:cubicBezTo>
                  <a:cubicBezTo>
                    <a:pt x="10030" y="112167"/>
                    <a:pt x="10216" y="112793"/>
                    <a:pt x="10402" y="112793"/>
                  </a:cubicBezTo>
                  <a:cubicBezTo>
                    <a:pt x="11517" y="110913"/>
                    <a:pt x="12260" y="109973"/>
                    <a:pt x="12817" y="109973"/>
                  </a:cubicBezTo>
                  <a:cubicBezTo>
                    <a:pt x="12817" y="110287"/>
                    <a:pt x="13003" y="110287"/>
                    <a:pt x="13188" y="110600"/>
                  </a:cubicBezTo>
                  <a:cubicBezTo>
                    <a:pt x="13188" y="110913"/>
                    <a:pt x="13374" y="110913"/>
                    <a:pt x="13560" y="111227"/>
                  </a:cubicBezTo>
                  <a:cubicBezTo>
                    <a:pt x="13746" y="111853"/>
                    <a:pt x="14117" y="112167"/>
                    <a:pt x="14303" y="113107"/>
                  </a:cubicBezTo>
                  <a:cubicBezTo>
                    <a:pt x="14489" y="113733"/>
                    <a:pt x="15046" y="114046"/>
                    <a:pt x="15417" y="114046"/>
                  </a:cubicBezTo>
                  <a:cubicBezTo>
                    <a:pt x="15417" y="114046"/>
                    <a:pt x="15603" y="113733"/>
                    <a:pt x="15603" y="113420"/>
                  </a:cubicBezTo>
                  <a:cubicBezTo>
                    <a:pt x="16160" y="112793"/>
                    <a:pt x="16904" y="111540"/>
                    <a:pt x="17647" y="111540"/>
                  </a:cubicBezTo>
                  <a:cubicBezTo>
                    <a:pt x="18204" y="111853"/>
                    <a:pt x="18947" y="111853"/>
                    <a:pt x="19504" y="111540"/>
                  </a:cubicBezTo>
                  <a:cubicBezTo>
                    <a:pt x="19504" y="111540"/>
                    <a:pt x="19690" y="111540"/>
                    <a:pt x="19690" y="111540"/>
                  </a:cubicBezTo>
                  <a:cubicBezTo>
                    <a:pt x="20247" y="111540"/>
                    <a:pt x="20619" y="111227"/>
                    <a:pt x="20804" y="110913"/>
                  </a:cubicBezTo>
                  <a:cubicBezTo>
                    <a:pt x="21176" y="110287"/>
                    <a:pt x="21362" y="109347"/>
                    <a:pt x="21362" y="109347"/>
                  </a:cubicBezTo>
                  <a:cubicBezTo>
                    <a:pt x="21176" y="109033"/>
                    <a:pt x="21176" y="109033"/>
                    <a:pt x="21176" y="109033"/>
                  </a:cubicBezTo>
                  <a:cubicBezTo>
                    <a:pt x="20247" y="107780"/>
                    <a:pt x="19504" y="106214"/>
                    <a:pt x="19876" y="105274"/>
                  </a:cubicBezTo>
                  <a:cubicBezTo>
                    <a:pt x="20061" y="104960"/>
                    <a:pt x="20247" y="104334"/>
                    <a:pt x="20247" y="104020"/>
                  </a:cubicBezTo>
                  <a:cubicBezTo>
                    <a:pt x="20619" y="102767"/>
                    <a:pt x="20990" y="101201"/>
                    <a:pt x="21733" y="101514"/>
                  </a:cubicBezTo>
                  <a:cubicBezTo>
                    <a:pt x="22105" y="101827"/>
                    <a:pt x="22476" y="102140"/>
                    <a:pt x="22848" y="102454"/>
                  </a:cubicBezTo>
                  <a:cubicBezTo>
                    <a:pt x="23034" y="102767"/>
                    <a:pt x="23591" y="103394"/>
                    <a:pt x="23591" y="103394"/>
                  </a:cubicBezTo>
                  <a:cubicBezTo>
                    <a:pt x="23777" y="103394"/>
                    <a:pt x="23777" y="103080"/>
                    <a:pt x="23962" y="103080"/>
                  </a:cubicBezTo>
                  <a:cubicBezTo>
                    <a:pt x="24148" y="102454"/>
                    <a:pt x="24520" y="101827"/>
                    <a:pt x="25077" y="102454"/>
                  </a:cubicBezTo>
                  <a:cubicBezTo>
                    <a:pt x="25263" y="102454"/>
                    <a:pt x="25263" y="102767"/>
                    <a:pt x="25448" y="103080"/>
                  </a:cubicBezTo>
                  <a:cubicBezTo>
                    <a:pt x="25634" y="103394"/>
                    <a:pt x="25634" y="103394"/>
                    <a:pt x="25820" y="103394"/>
                  </a:cubicBezTo>
                  <a:cubicBezTo>
                    <a:pt x="26006" y="103080"/>
                    <a:pt x="26191" y="102767"/>
                    <a:pt x="26377" y="102454"/>
                  </a:cubicBezTo>
                  <a:cubicBezTo>
                    <a:pt x="26563" y="102140"/>
                    <a:pt x="26749" y="101514"/>
                    <a:pt x="27306" y="101514"/>
                  </a:cubicBezTo>
                  <a:cubicBezTo>
                    <a:pt x="27306" y="101514"/>
                    <a:pt x="29721" y="101827"/>
                    <a:pt x="29907" y="104020"/>
                  </a:cubicBezTo>
                  <a:cubicBezTo>
                    <a:pt x="29907" y="104960"/>
                    <a:pt x="29907" y="105587"/>
                    <a:pt x="29721" y="106214"/>
                  </a:cubicBezTo>
                  <a:cubicBezTo>
                    <a:pt x="29721" y="106840"/>
                    <a:pt x="29721" y="107154"/>
                    <a:pt x="29721" y="107467"/>
                  </a:cubicBezTo>
                  <a:cubicBezTo>
                    <a:pt x="30464" y="109660"/>
                    <a:pt x="30835" y="109660"/>
                    <a:pt x="30835" y="109660"/>
                  </a:cubicBezTo>
                  <a:cubicBezTo>
                    <a:pt x="30835" y="109660"/>
                    <a:pt x="31207" y="109660"/>
                    <a:pt x="31578" y="109660"/>
                  </a:cubicBezTo>
                  <a:cubicBezTo>
                    <a:pt x="32321" y="109347"/>
                    <a:pt x="32879" y="109347"/>
                    <a:pt x="33065" y="109347"/>
                  </a:cubicBezTo>
                  <a:cubicBezTo>
                    <a:pt x="33436" y="109347"/>
                    <a:pt x="35294" y="110913"/>
                    <a:pt x="35665" y="111853"/>
                  </a:cubicBezTo>
                  <a:cubicBezTo>
                    <a:pt x="36037" y="112793"/>
                    <a:pt x="36594" y="114046"/>
                    <a:pt x="36965" y="114046"/>
                  </a:cubicBezTo>
                  <a:cubicBezTo>
                    <a:pt x="37151" y="114046"/>
                    <a:pt x="37337" y="113733"/>
                    <a:pt x="37708" y="113733"/>
                  </a:cubicBezTo>
                  <a:cubicBezTo>
                    <a:pt x="38452" y="113420"/>
                    <a:pt x="39566" y="112793"/>
                    <a:pt x="40123" y="113420"/>
                  </a:cubicBezTo>
                  <a:cubicBezTo>
                    <a:pt x="40495" y="113733"/>
                    <a:pt x="41238" y="114360"/>
                    <a:pt x="41795" y="113733"/>
                  </a:cubicBezTo>
                  <a:cubicBezTo>
                    <a:pt x="41981" y="113733"/>
                    <a:pt x="41981" y="113420"/>
                    <a:pt x="42167" y="113107"/>
                  </a:cubicBezTo>
                  <a:cubicBezTo>
                    <a:pt x="42538" y="112480"/>
                    <a:pt x="43095" y="111540"/>
                    <a:pt x="43653" y="112167"/>
                  </a:cubicBezTo>
                  <a:cubicBezTo>
                    <a:pt x="44024" y="112480"/>
                    <a:pt x="44210" y="112793"/>
                    <a:pt x="44396" y="113107"/>
                  </a:cubicBezTo>
                  <a:cubicBezTo>
                    <a:pt x="44767" y="113420"/>
                    <a:pt x="44953" y="113733"/>
                    <a:pt x="45325" y="113733"/>
                  </a:cubicBezTo>
                  <a:cubicBezTo>
                    <a:pt x="45325" y="114046"/>
                    <a:pt x="45325" y="114046"/>
                    <a:pt x="45325" y="114046"/>
                  </a:cubicBezTo>
                  <a:cubicBezTo>
                    <a:pt x="45882" y="114046"/>
                    <a:pt x="46068" y="114046"/>
                    <a:pt x="46068" y="113733"/>
                  </a:cubicBezTo>
                  <a:cubicBezTo>
                    <a:pt x="46253" y="113420"/>
                    <a:pt x="46253" y="113107"/>
                    <a:pt x="46253" y="112793"/>
                  </a:cubicBezTo>
                  <a:cubicBezTo>
                    <a:pt x="46439" y="112167"/>
                    <a:pt x="46625" y="111227"/>
                    <a:pt x="47182" y="110913"/>
                  </a:cubicBezTo>
                  <a:cubicBezTo>
                    <a:pt x="47368" y="110913"/>
                    <a:pt x="47368" y="110913"/>
                    <a:pt x="47554" y="110913"/>
                  </a:cubicBezTo>
                  <a:cubicBezTo>
                    <a:pt x="47925" y="110600"/>
                    <a:pt x="48297" y="110287"/>
                    <a:pt x="48854" y="110913"/>
                  </a:cubicBezTo>
                  <a:cubicBezTo>
                    <a:pt x="49040" y="110913"/>
                    <a:pt x="49226" y="111227"/>
                    <a:pt x="49411" y="111540"/>
                  </a:cubicBezTo>
                  <a:cubicBezTo>
                    <a:pt x="55727" y="118120"/>
                    <a:pt x="59814" y="120000"/>
                    <a:pt x="62414" y="120000"/>
                  </a:cubicBezTo>
                  <a:cubicBezTo>
                    <a:pt x="62414" y="118433"/>
                    <a:pt x="62414" y="117806"/>
                    <a:pt x="62600" y="117180"/>
                  </a:cubicBezTo>
                  <a:cubicBezTo>
                    <a:pt x="62972" y="116553"/>
                    <a:pt x="63715" y="115300"/>
                    <a:pt x="64272" y="114986"/>
                  </a:cubicBezTo>
                  <a:cubicBezTo>
                    <a:pt x="64272" y="114986"/>
                    <a:pt x="64272" y="114986"/>
                    <a:pt x="64272" y="114986"/>
                  </a:cubicBezTo>
                  <a:cubicBezTo>
                    <a:pt x="64272" y="114986"/>
                    <a:pt x="64272" y="114986"/>
                    <a:pt x="64272" y="114986"/>
                  </a:cubicBezTo>
                  <a:cubicBezTo>
                    <a:pt x="64458" y="114673"/>
                    <a:pt x="64458" y="113107"/>
                    <a:pt x="64458" y="112480"/>
                  </a:cubicBezTo>
                  <a:cubicBezTo>
                    <a:pt x="64458" y="111853"/>
                    <a:pt x="64458" y="111540"/>
                    <a:pt x="64643" y="111227"/>
                  </a:cubicBezTo>
                  <a:cubicBezTo>
                    <a:pt x="64643" y="110913"/>
                    <a:pt x="65015" y="109973"/>
                    <a:pt x="67430" y="106214"/>
                  </a:cubicBezTo>
                  <a:cubicBezTo>
                    <a:pt x="67616" y="105900"/>
                    <a:pt x="67616" y="105900"/>
                    <a:pt x="67801" y="105900"/>
                  </a:cubicBezTo>
                  <a:cubicBezTo>
                    <a:pt x="67801" y="105587"/>
                    <a:pt x="67801" y="104020"/>
                    <a:pt x="67801" y="103394"/>
                  </a:cubicBezTo>
                  <a:cubicBezTo>
                    <a:pt x="67801" y="103080"/>
                    <a:pt x="67801" y="102767"/>
                    <a:pt x="67801" y="102454"/>
                  </a:cubicBezTo>
                  <a:cubicBezTo>
                    <a:pt x="67801" y="101514"/>
                    <a:pt x="67987" y="100887"/>
                    <a:pt x="68359" y="100574"/>
                  </a:cubicBezTo>
                  <a:cubicBezTo>
                    <a:pt x="68544" y="100261"/>
                    <a:pt x="68544" y="100261"/>
                    <a:pt x="68730" y="99947"/>
                  </a:cubicBezTo>
                  <a:cubicBezTo>
                    <a:pt x="68916" y="99634"/>
                    <a:pt x="68544" y="96814"/>
                    <a:pt x="68359" y="96187"/>
                  </a:cubicBezTo>
                  <a:cubicBezTo>
                    <a:pt x="67801" y="94934"/>
                    <a:pt x="70030" y="90234"/>
                    <a:pt x="70030" y="90234"/>
                  </a:cubicBezTo>
                  <a:cubicBezTo>
                    <a:pt x="70216" y="89608"/>
                    <a:pt x="70959" y="88668"/>
                    <a:pt x="71702" y="88041"/>
                  </a:cubicBezTo>
                  <a:cubicBezTo>
                    <a:pt x="72074" y="87728"/>
                    <a:pt x="72260" y="87415"/>
                    <a:pt x="72260" y="87415"/>
                  </a:cubicBezTo>
                  <a:cubicBezTo>
                    <a:pt x="72445" y="87101"/>
                    <a:pt x="73003" y="84908"/>
                    <a:pt x="73188" y="83655"/>
                  </a:cubicBezTo>
                  <a:cubicBezTo>
                    <a:pt x="73188" y="82715"/>
                    <a:pt x="73931" y="82088"/>
                    <a:pt x="75417" y="80835"/>
                  </a:cubicBezTo>
                  <a:cubicBezTo>
                    <a:pt x="75789" y="80522"/>
                    <a:pt x="76160" y="80208"/>
                    <a:pt x="76346" y="79895"/>
                  </a:cubicBezTo>
                  <a:cubicBezTo>
                    <a:pt x="76532" y="79582"/>
                    <a:pt x="76346" y="78015"/>
                    <a:pt x="76160" y="77075"/>
                  </a:cubicBezTo>
                  <a:cubicBezTo>
                    <a:pt x="75975" y="76449"/>
                    <a:pt x="75975" y="75509"/>
                    <a:pt x="75975" y="74882"/>
                  </a:cubicBezTo>
                  <a:cubicBezTo>
                    <a:pt x="75975" y="73315"/>
                    <a:pt x="76904" y="71122"/>
                    <a:pt x="77461" y="69869"/>
                  </a:cubicBezTo>
                  <a:cubicBezTo>
                    <a:pt x="80990" y="63916"/>
                    <a:pt x="81362" y="63603"/>
                    <a:pt x="81362" y="63603"/>
                  </a:cubicBezTo>
                  <a:cubicBezTo>
                    <a:pt x="82105" y="62976"/>
                    <a:pt x="83034" y="63289"/>
                    <a:pt x="83405" y="63603"/>
                  </a:cubicBezTo>
                  <a:cubicBezTo>
                    <a:pt x="83777" y="64229"/>
                    <a:pt x="83962" y="64856"/>
                    <a:pt x="83962" y="66422"/>
                  </a:cubicBezTo>
                  <a:cubicBezTo>
                    <a:pt x="84148" y="66736"/>
                    <a:pt x="84148" y="66736"/>
                    <a:pt x="84148" y="67049"/>
                  </a:cubicBezTo>
                  <a:cubicBezTo>
                    <a:pt x="84148" y="67049"/>
                    <a:pt x="84148" y="67049"/>
                    <a:pt x="84520" y="67049"/>
                  </a:cubicBezTo>
                  <a:cubicBezTo>
                    <a:pt x="84520" y="66736"/>
                    <a:pt x="84705" y="66736"/>
                    <a:pt x="84891" y="66736"/>
                  </a:cubicBezTo>
                  <a:cubicBezTo>
                    <a:pt x="85263" y="66736"/>
                    <a:pt x="85634" y="66736"/>
                    <a:pt x="86006" y="66422"/>
                  </a:cubicBezTo>
                  <a:cubicBezTo>
                    <a:pt x="86377" y="66109"/>
                    <a:pt x="87120" y="64856"/>
                    <a:pt x="87678" y="63916"/>
                  </a:cubicBezTo>
                  <a:cubicBezTo>
                    <a:pt x="88049" y="63289"/>
                    <a:pt x="88421" y="62976"/>
                    <a:pt x="88606" y="62663"/>
                  </a:cubicBezTo>
                  <a:cubicBezTo>
                    <a:pt x="88792" y="62349"/>
                    <a:pt x="89349" y="61723"/>
                    <a:pt x="89907" y="60783"/>
                  </a:cubicBezTo>
                  <a:cubicBezTo>
                    <a:pt x="90464" y="60156"/>
                    <a:pt x="91207" y="59530"/>
                    <a:pt x="91393" y="59216"/>
                  </a:cubicBezTo>
                  <a:cubicBezTo>
                    <a:pt x="91764" y="58590"/>
                    <a:pt x="93250" y="57336"/>
                    <a:pt x="93808" y="57336"/>
                  </a:cubicBezTo>
                  <a:cubicBezTo>
                    <a:pt x="93808" y="57023"/>
                    <a:pt x="94179" y="57023"/>
                    <a:pt x="94551" y="57023"/>
                  </a:cubicBezTo>
                  <a:cubicBezTo>
                    <a:pt x="94551" y="57023"/>
                    <a:pt x="94736" y="56710"/>
                    <a:pt x="94922" y="57023"/>
                  </a:cubicBezTo>
                  <a:cubicBezTo>
                    <a:pt x="94922" y="57023"/>
                    <a:pt x="95108" y="57023"/>
                    <a:pt x="95108" y="57023"/>
                  </a:cubicBezTo>
                  <a:cubicBezTo>
                    <a:pt x="95294" y="57023"/>
                    <a:pt x="95479" y="57023"/>
                    <a:pt x="95851" y="57023"/>
                  </a:cubicBezTo>
                  <a:cubicBezTo>
                    <a:pt x="96780" y="57023"/>
                    <a:pt x="97523" y="57023"/>
                    <a:pt x="97894" y="56710"/>
                  </a:cubicBezTo>
                  <a:cubicBezTo>
                    <a:pt x="98080" y="56396"/>
                    <a:pt x="98080" y="55456"/>
                    <a:pt x="97894" y="54830"/>
                  </a:cubicBezTo>
                  <a:cubicBezTo>
                    <a:pt x="97894" y="54516"/>
                    <a:pt x="97894" y="54203"/>
                    <a:pt x="97894" y="53890"/>
                  </a:cubicBezTo>
                  <a:cubicBezTo>
                    <a:pt x="97894" y="53263"/>
                    <a:pt x="98452" y="52637"/>
                    <a:pt x="101238" y="49817"/>
                  </a:cubicBezTo>
                  <a:cubicBezTo>
                    <a:pt x="101424" y="49503"/>
                    <a:pt x="101609" y="49190"/>
                    <a:pt x="101609" y="49190"/>
                  </a:cubicBezTo>
                  <a:cubicBezTo>
                    <a:pt x="101981" y="48877"/>
                    <a:pt x="104024" y="47624"/>
                    <a:pt x="104767" y="47310"/>
                  </a:cubicBezTo>
                  <a:cubicBezTo>
                    <a:pt x="105510" y="47310"/>
                    <a:pt x="109597" y="46684"/>
                    <a:pt x="110526" y="46684"/>
                  </a:cubicBezTo>
                  <a:cubicBezTo>
                    <a:pt x="110712" y="46684"/>
                    <a:pt x="111083" y="46370"/>
                    <a:pt x="111455" y="43237"/>
                  </a:cubicBezTo>
                  <a:cubicBezTo>
                    <a:pt x="111640" y="42924"/>
                    <a:pt x="111640" y="42924"/>
                    <a:pt x="111640" y="42924"/>
                  </a:cubicBezTo>
                  <a:cubicBezTo>
                    <a:pt x="111640" y="41984"/>
                    <a:pt x="112383" y="41984"/>
                    <a:pt x="113126" y="41984"/>
                  </a:cubicBezTo>
                  <a:cubicBezTo>
                    <a:pt x="113312" y="41984"/>
                    <a:pt x="113498" y="41984"/>
                    <a:pt x="113869" y="41671"/>
                  </a:cubicBezTo>
                  <a:cubicBezTo>
                    <a:pt x="114427" y="41671"/>
                    <a:pt x="114984" y="40731"/>
                    <a:pt x="115356" y="40104"/>
                  </a:cubicBezTo>
                  <a:cubicBezTo>
                    <a:pt x="115541" y="39791"/>
                    <a:pt x="115727" y="39477"/>
                    <a:pt x="115727" y="39164"/>
                  </a:cubicBezTo>
                  <a:cubicBezTo>
                    <a:pt x="115913" y="39164"/>
                    <a:pt x="116284" y="38851"/>
                    <a:pt x="116842" y="38224"/>
                  </a:cubicBezTo>
                  <a:cubicBezTo>
                    <a:pt x="117585" y="37597"/>
                    <a:pt x="118885" y="36657"/>
                    <a:pt x="119256" y="36031"/>
                  </a:cubicBezTo>
                  <a:cubicBezTo>
                    <a:pt x="119442" y="35718"/>
                    <a:pt x="119256" y="35404"/>
                    <a:pt x="118699" y="34464"/>
                  </a:cubicBezTo>
                  <a:cubicBezTo>
                    <a:pt x="118513" y="33838"/>
                    <a:pt x="118142" y="33524"/>
                    <a:pt x="118142" y="32898"/>
                  </a:cubicBezTo>
                  <a:cubicBezTo>
                    <a:pt x="117956" y="32584"/>
                    <a:pt x="117956" y="32271"/>
                    <a:pt x="118142" y="31958"/>
                  </a:cubicBezTo>
                  <a:cubicBezTo>
                    <a:pt x="118328" y="31331"/>
                    <a:pt x="118699" y="31018"/>
                    <a:pt x="119256" y="30704"/>
                  </a:cubicBezTo>
                  <a:cubicBezTo>
                    <a:pt x="119442" y="30391"/>
                    <a:pt x="119442" y="30391"/>
                    <a:pt x="119628" y="30391"/>
                  </a:cubicBezTo>
                  <a:cubicBezTo>
                    <a:pt x="120000" y="30078"/>
                    <a:pt x="120000" y="28825"/>
                    <a:pt x="120000" y="28198"/>
                  </a:cubicBezTo>
                  <a:cubicBezTo>
                    <a:pt x="119814" y="27885"/>
                    <a:pt x="119256" y="27571"/>
                    <a:pt x="118885" y="27258"/>
                  </a:cubicBezTo>
                  <a:cubicBezTo>
                    <a:pt x="118328" y="26945"/>
                    <a:pt x="117770" y="26318"/>
                    <a:pt x="117585" y="26005"/>
                  </a:cubicBezTo>
                  <a:cubicBezTo>
                    <a:pt x="116842" y="25065"/>
                    <a:pt x="117399" y="23498"/>
                    <a:pt x="117585" y="22872"/>
                  </a:cubicBezTo>
                  <a:cubicBezTo>
                    <a:pt x="117770" y="22558"/>
                    <a:pt x="117770" y="22558"/>
                    <a:pt x="117770" y="22245"/>
                  </a:cubicBezTo>
                  <a:cubicBezTo>
                    <a:pt x="117956" y="21305"/>
                    <a:pt x="118328" y="20678"/>
                    <a:pt x="118885" y="20052"/>
                  </a:cubicBezTo>
                  <a:cubicBezTo>
                    <a:pt x="118885" y="19738"/>
                    <a:pt x="119071" y="19425"/>
                    <a:pt x="119256" y="18798"/>
                  </a:cubicBezTo>
                  <a:cubicBezTo>
                    <a:pt x="119071" y="18798"/>
                    <a:pt x="118885" y="18798"/>
                    <a:pt x="118885" y="18485"/>
                  </a:cubicBezTo>
                  <a:cubicBezTo>
                    <a:pt x="117956" y="17859"/>
                    <a:pt x="117399" y="17859"/>
                    <a:pt x="117027" y="17859"/>
                  </a:cubicBezTo>
                  <a:cubicBezTo>
                    <a:pt x="116842" y="17859"/>
                    <a:pt x="116099" y="18798"/>
                    <a:pt x="114613" y="20678"/>
                  </a:cubicBezTo>
                  <a:cubicBezTo>
                    <a:pt x="114427" y="21305"/>
                    <a:pt x="114427" y="21305"/>
                    <a:pt x="114427" y="21305"/>
                  </a:cubicBezTo>
                  <a:cubicBezTo>
                    <a:pt x="113869" y="21932"/>
                    <a:pt x="112755" y="21932"/>
                    <a:pt x="112012" y="21932"/>
                  </a:cubicBezTo>
                  <a:cubicBezTo>
                    <a:pt x="111640" y="21932"/>
                    <a:pt x="111455" y="23185"/>
                    <a:pt x="111269" y="23812"/>
                  </a:cubicBezTo>
                  <a:cubicBezTo>
                    <a:pt x="111083" y="24438"/>
                    <a:pt x="110897" y="25065"/>
                    <a:pt x="110526" y="25378"/>
                  </a:cubicBezTo>
                  <a:cubicBezTo>
                    <a:pt x="110154" y="26005"/>
                    <a:pt x="109226" y="25691"/>
                    <a:pt x="108111" y="25378"/>
                  </a:cubicBezTo>
                  <a:cubicBezTo>
                    <a:pt x="107739" y="25378"/>
                    <a:pt x="107554" y="25378"/>
                    <a:pt x="107368" y="25378"/>
                  </a:cubicBezTo>
                  <a:cubicBezTo>
                    <a:pt x="107182" y="25378"/>
                    <a:pt x="106996" y="26005"/>
                    <a:pt x="106811" y="26631"/>
                  </a:cubicBezTo>
                  <a:cubicBezTo>
                    <a:pt x="106439" y="27258"/>
                    <a:pt x="106068" y="28198"/>
                    <a:pt x="105325" y="29451"/>
                  </a:cubicBezTo>
                  <a:cubicBezTo>
                    <a:pt x="103839" y="31644"/>
                    <a:pt x="98637" y="34151"/>
                    <a:pt x="98266" y="34151"/>
                  </a:cubicBezTo>
                  <a:cubicBezTo>
                    <a:pt x="97708" y="34151"/>
                    <a:pt x="95294" y="32584"/>
                    <a:pt x="94922" y="31958"/>
                  </a:cubicBezTo>
                  <a:cubicBezTo>
                    <a:pt x="94736" y="31958"/>
                    <a:pt x="94365" y="31958"/>
                    <a:pt x="93993" y="32271"/>
                  </a:cubicBezTo>
                  <a:cubicBezTo>
                    <a:pt x="93808" y="32271"/>
                    <a:pt x="93436" y="32271"/>
                    <a:pt x="93250" y="32271"/>
                  </a:cubicBezTo>
                  <a:cubicBezTo>
                    <a:pt x="92693" y="32271"/>
                    <a:pt x="92321" y="31644"/>
                    <a:pt x="91950" y="30704"/>
                  </a:cubicBezTo>
                  <a:cubicBezTo>
                    <a:pt x="91764" y="30391"/>
                    <a:pt x="91764" y="30078"/>
                    <a:pt x="91578" y="29765"/>
                  </a:cubicBezTo>
                  <a:cubicBezTo>
                    <a:pt x="91393" y="29451"/>
                    <a:pt x="90278" y="28825"/>
                    <a:pt x="89721" y="28511"/>
                  </a:cubicBezTo>
                  <a:cubicBezTo>
                    <a:pt x="89349" y="28198"/>
                    <a:pt x="88978" y="27885"/>
                    <a:pt x="88606" y="27885"/>
                  </a:cubicBezTo>
                  <a:cubicBezTo>
                    <a:pt x="88235" y="27258"/>
                    <a:pt x="86377" y="25691"/>
                    <a:pt x="85820" y="25065"/>
                  </a:cubicBezTo>
                  <a:cubicBezTo>
                    <a:pt x="85263" y="24751"/>
                    <a:pt x="78947" y="20052"/>
                    <a:pt x="78390" y="19425"/>
                  </a:cubicBezTo>
                  <a:cubicBezTo>
                    <a:pt x="77461" y="19112"/>
                    <a:pt x="75789" y="15979"/>
                    <a:pt x="75603" y="15039"/>
                  </a:cubicBezTo>
                  <a:cubicBezTo>
                    <a:pt x="75417" y="15039"/>
                    <a:pt x="74489" y="15039"/>
                    <a:pt x="74117" y="15039"/>
                  </a:cubicBezTo>
                  <a:cubicBezTo>
                    <a:pt x="73746" y="15039"/>
                    <a:pt x="73560" y="15039"/>
                    <a:pt x="73374" y="14725"/>
                  </a:cubicBezTo>
                  <a:cubicBezTo>
                    <a:pt x="72631" y="14725"/>
                    <a:pt x="70959" y="12845"/>
                    <a:pt x="70773" y="12845"/>
                  </a:cubicBezTo>
                  <a:cubicBezTo>
                    <a:pt x="70402" y="12532"/>
                    <a:pt x="68916" y="10652"/>
                    <a:pt x="68359" y="10339"/>
                  </a:cubicBezTo>
                  <a:cubicBezTo>
                    <a:pt x="67987" y="10026"/>
                    <a:pt x="67430" y="9086"/>
                    <a:pt x="67058" y="7832"/>
                  </a:cubicBezTo>
                  <a:cubicBezTo>
                    <a:pt x="66687" y="7206"/>
                    <a:pt x="66501" y="6892"/>
                    <a:pt x="66315" y="6266"/>
                  </a:cubicBezTo>
                  <a:cubicBezTo>
                    <a:pt x="65758" y="5639"/>
                    <a:pt x="65201" y="5326"/>
                    <a:pt x="64643" y="5326"/>
                  </a:cubicBezTo>
                  <a:cubicBezTo>
                    <a:pt x="64458" y="5013"/>
                    <a:pt x="64086" y="5013"/>
                    <a:pt x="63900" y="4699"/>
                  </a:cubicBezTo>
                  <a:cubicBezTo>
                    <a:pt x="63157" y="4386"/>
                    <a:pt x="60743" y="626"/>
                    <a:pt x="60371" y="0"/>
                  </a:cubicBezTo>
                  <a:cubicBezTo>
                    <a:pt x="60185" y="0"/>
                    <a:pt x="59256" y="0"/>
                    <a:pt x="57399" y="626"/>
                  </a:cubicBezTo>
                  <a:cubicBezTo>
                    <a:pt x="57213" y="939"/>
                    <a:pt x="56656" y="1566"/>
                    <a:pt x="56284" y="2193"/>
                  </a:cubicBezTo>
                  <a:cubicBezTo>
                    <a:pt x="55913" y="2506"/>
                    <a:pt x="55541" y="3133"/>
                    <a:pt x="55170" y="3133"/>
                  </a:cubicBezTo>
                  <a:cubicBezTo>
                    <a:pt x="54613" y="3446"/>
                    <a:pt x="47925" y="3133"/>
                    <a:pt x="45882" y="2819"/>
                  </a:cubicBezTo>
                  <a:cubicBezTo>
                    <a:pt x="44210" y="2819"/>
                    <a:pt x="42352" y="2819"/>
                    <a:pt x="41981" y="3133"/>
                  </a:cubicBezTo>
                  <a:cubicBezTo>
                    <a:pt x="41795" y="3446"/>
                    <a:pt x="41795" y="3446"/>
                    <a:pt x="41795" y="3446"/>
                  </a:cubicBezTo>
                  <a:cubicBezTo>
                    <a:pt x="41424" y="3759"/>
                    <a:pt x="41052" y="4073"/>
                    <a:pt x="41052" y="4699"/>
                  </a:cubicBezTo>
                  <a:cubicBezTo>
                    <a:pt x="41052" y="5639"/>
                    <a:pt x="40495" y="7832"/>
                    <a:pt x="39938" y="8459"/>
                  </a:cubicBezTo>
                  <a:cubicBezTo>
                    <a:pt x="39380" y="8772"/>
                    <a:pt x="39009" y="9399"/>
                    <a:pt x="39009" y="9712"/>
                  </a:cubicBezTo>
                  <a:cubicBezTo>
                    <a:pt x="39009" y="10026"/>
                    <a:pt x="39009" y="10026"/>
                    <a:pt x="39009" y="10339"/>
                  </a:cubicBezTo>
                  <a:cubicBezTo>
                    <a:pt x="39009" y="10966"/>
                    <a:pt x="39009" y="12219"/>
                    <a:pt x="38452" y="12845"/>
                  </a:cubicBezTo>
                  <a:cubicBezTo>
                    <a:pt x="37894" y="13472"/>
                    <a:pt x="37337" y="15039"/>
                    <a:pt x="37337" y="15352"/>
                  </a:cubicBezTo>
                  <a:cubicBezTo>
                    <a:pt x="37523" y="15665"/>
                    <a:pt x="37894" y="16605"/>
                    <a:pt x="38266" y="17232"/>
                  </a:cubicBezTo>
                  <a:cubicBezTo>
                    <a:pt x="39195" y="18798"/>
                    <a:pt x="40123" y="20052"/>
                    <a:pt x="39752" y="21305"/>
                  </a:cubicBezTo>
                  <a:cubicBezTo>
                    <a:pt x="39195" y="22558"/>
                    <a:pt x="38823" y="24125"/>
                    <a:pt x="39195" y="25378"/>
                  </a:cubicBezTo>
                  <a:cubicBezTo>
                    <a:pt x="39195" y="26005"/>
                    <a:pt x="39566" y="26631"/>
                    <a:pt x="39752" y="26945"/>
                  </a:cubicBezTo>
                  <a:cubicBezTo>
                    <a:pt x="39938" y="27885"/>
                    <a:pt x="40309" y="28511"/>
                    <a:pt x="40123" y="29451"/>
                  </a:cubicBezTo>
                  <a:cubicBezTo>
                    <a:pt x="40123" y="29451"/>
                    <a:pt x="39938" y="29765"/>
                    <a:pt x="39938" y="29765"/>
                  </a:cubicBezTo>
                  <a:cubicBezTo>
                    <a:pt x="39195" y="32584"/>
                    <a:pt x="38637" y="34778"/>
                    <a:pt x="37894" y="35091"/>
                  </a:cubicBezTo>
                  <a:cubicBezTo>
                    <a:pt x="37708" y="35091"/>
                    <a:pt x="37523" y="35091"/>
                    <a:pt x="37337" y="34778"/>
                  </a:cubicBezTo>
                  <a:cubicBezTo>
                    <a:pt x="37151" y="34464"/>
                    <a:pt x="37151" y="34464"/>
                    <a:pt x="37151" y="34464"/>
                  </a:cubicBezTo>
                  <a:cubicBezTo>
                    <a:pt x="36594" y="33838"/>
                    <a:pt x="36408" y="33838"/>
                    <a:pt x="36222" y="33838"/>
                  </a:cubicBezTo>
                  <a:cubicBezTo>
                    <a:pt x="35479" y="33838"/>
                    <a:pt x="34551" y="32898"/>
                    <a:pt x="33993" y="32271"/>
                  </a:cubicBezTo>
                  <a:cubicBezTo>
                    <a:pt x="33808" y="31958"/>
                    <a:pt x="33622" y="31958"/>
                    <a:pt x="33250" y="31644"/>
                  </a:cubicBezTo>
                  <a:cubicBezTo>
                    <a:pt x="32879" y="31331"/>
                    <a:pt x="32507" y="31018"/>
                    <a:pt x="32136" y="30704"/>
                  </a:cubicBezTo>
                  <a:cubicBezTo>
                    <a:pt x="32136" y="30391"/>
                    <a:pt x="31950" y="30078"/>
                    <a:pt x="31950" y="30078"/>
                  </a:cubicBezTo>
                  <a:cubicBezTo>
                    <a:pt x="31578" y="29138"/>
                    <a:pt x="31393" y="28825"/>
                    <a:pt x="30650" y="29138"/>
                  </a:cubicBezTo>
                  <a:cubicBezTo>
                    <a:pt x="30464" y="29451"/>
                    <a:pt x="30092" y="29765"/>
                    <a:pt x="29721" y="30391"/>
                  </a:cubicBezTo>
                  <a:cubicBezTo>
                    <a:pt x="28606" y="31331"/>
                    <a:pt x="28049" y="31958"/>
                    <a:pt x="27678" y="31644"/>
                  </a:cubicBezTo>
                  <a:cubicBezTo>
                    <a:pt x="27492" y="31331"/>
                    <a:pt x="27306" y="31331"/>
                    <a:pt x="27306" y="30704"/>
                  </a:cubicBezTo>
                  <a:cubicBezTo>
                    <a:pt x="27306" y="30391"/>
                    <a:pt x="27120" y="30078"/>
                    <a:pt x="27120" y="30078"/>
                  </a:cubicBezTo>
                  <a:cubicBezTo>
                    <a:pt x="27120" y="28825"/>
                    <a:pt x="27120" y="27885"/>
                    <a:pt x="26749" y="27571"/>
                  </a:cubicBezTo>
                  <a:cubicBezTo>
                    <a:pt x="26377" y="27258"/>
                    <a:pt x="26006" y="26631"/>
                    <a:pt x="25448" y="25691"/>
                  </a:cubicBezTo>
                  <a:cubicBezTo>
                    <a:pt x="24891" y="24751"/>
                    <a:pt x="23777" y="23185"/>
                    <a:pt x="23591" y="23185"/>
                  </a:cubicBezTo>
                  <a:cubicBezTo>
                    <a:pt x="23405" y="23185"/>
                    <a:pt x="23219" y="23185"/>
                    <a:pt x="22848" y="23185"/>
                  </a:cubicBezTo>
                  <a:cubicBezTo>
                    <a:pt x="21176" y="22558"/>
                    <a:pt x="20247" y="22558"/>
                    <a:pt x="20061" y="21618"/>
                  </a:cubicBezTo>
                  <a:cubicBezTo>
                    <a:pt x="20061" y="21618"/>
                    <a:pt x="20061" y="21305"/>
                    <a:pt x="20061" y="21305"/>
                  </a:cubicBezTo>
                  <a:cubicBezTo>
                    <a:pt x="19876" y="20365"/>
                    <a:pt x="19690" y="20052"/>
                    <a:pt x="19318" y="20052"/>
                  </a:cubicBezTo>
                  <a:cubicBezTo>
                    <a:pt x="18761" y="19738"/>
                    <a:pt x="17089" y="18172"/>
                    <a:pt x="17089" y="17859"/>
                  </a:cubicBezTo>
                  <a:cubicBezTo>
                    <a:pt x="16346" y="17232"/>
                    <a:pt x="15789" y="16919"/>
                    <a:pt x="15603" y="16605"/>
                  </a:cubicBezTo>
                  <a:cubicBezTo>
                    <a:pt x="15417" y="16605"/>
                    <a:pt x="15417" y="16605"/>
                    <a:pt x="15232" y="16919"/>
                  </a:cubicBezTo>
                  <a:cubicBezTo>
                    <a:pt x="15232" y="16919"/>
                    <a:pt x="15232" y="16919"/>
                    <a:pt x="15232" y="17545"/>
                  </a:cubicBezTo>
                  <a:cubicBezTo>
                    <a:pt x="15232" y="17859"/>
                    <a:pt x="15232" y="18172"/>
                    <a:pt x="15232" y="18485"/>
                  </a:cubicBezTo>
                  <a:cubicBezTo>
                    <a:pt x="15232" y="19425"/>
                    <a:pt x="15232" y="20678"/>
                    <a:pt x="15603" y="21932"/>
                  </a:cubicBezTo>
                  <a:cubicBezTo>
                    <a:pt x="15789" y="22558"/>
                    <a:pt x="16346" y="23498"/>
                    <a:pt x="16718" y="24438"/>
                  </a:cubicBezTo>
                  <a:cubicBezTo>
                    <a:pt x="17647" y="26318"/>
                    <a:pt x="18018" y="26945"/>
                    <a:pt x="18018" y="27258"/>
                  </a:cubicBezTo>
                  <a:cubicBezTo>
                    <a:pt x="18018" y="27571"/>
                    <a:pt x="17832" y="28198"/>
                    <a:pt x="17832" y="28825"/>
                  </a:cubicBezTo>
                  <a:cubicBezTo>
                    <a:pt x="17647" y="30078"/>
                    <a:pt x="17461" y="31644"/>
                    <a:pt x="17647" y="32584"/>
                  </a:cubicBezTo>
                  <a:cubicBezTo>
                    <a:pt x="17832" y="34464"/>
                    <a:pt x="17089" y="35404"/>
                    <a:pt x="16718" y="35718"/>
                  </a:cubicBezTo>
                  <a:cubicBezTo>
                    <a:pt x="16346" y="36031"/>
                    <a:pt x="15603" y="36971"/>
                    <a:pt x="15603" y="37597"/>
                  </a:cubicBezTo>
                  <a:cubicBezTo>
                    <a:pt x="15417" y="38537"/>
                    <a:pt x="15603" y="39477"/>
                    <a:pt x="15789" y="40104"/>
                  </a:cubicBezTo>
                  <a:cubicBezTo>
                    <a:pt x="16346" y="41671"/>
                    <a:pt x="16346" y="43237"/>
                    <a:pt x="16346" y="44177"/>
                  </a:cubicBezTo>
                  <a:cubicBezTo>
                    <a:pt x="16346" y="45117"/>
                    <a:pt x="16160" y="45430"/>
                    <a:pt x="15975" y="45744"/>
                  </a:cubicBezTo>
                  <a:cubicBezTo>
                    <a:pt x="15603" y="46370"/>
                    <a:pt x="15232" y="46370"/>
                    <a:pt x="14860" y="46057"/>
                  </a:cubicBezTo>
                  <a:cubicBezTo>
                    <a:pt x="13931" y="46057"/>
                    <a:pt x="13188" y="46057"/>
                    <a:pt x="13003" y="46370"/>
                  </a:cubicBezTo>
                  <a:cubicBezTo>
                    <a:pt x="13003" y="46684"/>
                    <a:pt x="12817" y="47310"/>
                    <a:pt x="12631" y="47624"/>
                  </a:cubicBezTo>
                  <a:cubicBezTo>
                    <a:pt x="12445" y="48250"/>
                    <a:pt x="12074" y="49190"/>
                    <a:pt x="12074" y="49503"/>
                  </a:cubicBezTo>
                  <a:cubicBezTo>
                    <a:pt x="12074" y="49817"/>
                    <a:pt x="12074" y="50130"/>
                    <a:pt x="12074" y="50443"/>
                  </a:cubicBezTo>
                  <a:cubicBezTo>
                    <a:pt x="12260" y="51070"/>
                    <a:pt x="12260" y="51697"/>
                    <a:pt x="12074" y="52010"/>
                  </a:cubicBezTo>
                  <a:cubicBezTo>
                    <a:pt x="12074" y="52323"/>
                    <a:pt x="11888" y="52323"/>
                    <a:pt x="11517" y="52323"/>
                  </a:cubicBezTo>
                  <a:cubicBezTo>
                    <a:pt x="11145" y="52323"/>
                    <a:pt x="10588" y="52950"/>
                    <a:pt x="10588" y="53890"/>
                  </a:cubicBezTo>
                  <a:cubicBezTo>
                    <a:pt x="10588" y="55143"/>
                    <a:pt x="10588" y="56083"/>
                    <a:pt x="11145" y="56710"/>
                  </a:cubicBezTo>
                  <a:cubicBezTo>
                    <a:pt x="11517" y="57023"/>
                    <a:pt x="11888" y="57336"/>
                    <a:pt x="12260" y="57336"/>
                  </a:cubicBezTo>
                  <a:cubicBezTo>
                    <a:pt x="12817" y="57650"/>
                    <a:pt x="13374" y="57963"/>
                    <a:pt x="13560" y="58903"/>
                  </a:cubicBezTo>
                  <a:cubicBezTo>
                    <a:pt x="13746" y="59530"/>
                    <a:pt x="14117" y="59843"/>
                    <a:pt x="14303" y="59530"/>
                  </a:cubicBezTo>
                  <a:cubicBezTo>
                    <a:pt x="14489" y="59530"/>
                    <a:pt x="14674" y="59216"/>
                    <a:pt x="14860" y="59216"/>
                  </a:cubicBezTo>
                  <a:cubicBezTo>
                    <a:pt x="15046" y="58590"/>
                    <a:pt x="15417" y="58276"/>
                    <a:pt x="15789" y="58276"/>
                  </a:cubicBezTo>
                  <a:cubicBezTo>
                    <a:pt x="16346" y="57963"/>
                    <a:pt x="16532" y="57650"/>
                    <a:pt x="16532" y="57336"/>
                  </a:cubicBezTo>
                  <a:cubicBezTo>
                    <a:pt x="16532" y="57336"/>
                    <a:pt x="16718" y="57023"/>
                    <a:pt x="16718" y="57023"/>
                  </a:cubicBezTo>
                  <a:cubicBezTo>
                    <a:pt x="16718" y="56083"/>
                    <a:pt x="16904" y="54830"/>
                    <a:pt x="17832" y="54830"/>
                  </a:cubicBezTo>
                  <a:cubicBezTo>
                    <a:pt x="18204" y="54830"/>
                    <a:pt x="18575" y="54830"/>
                    <a:pt x="19133" y="55143"/>
                  </a:cubicBezTo>
                  <a:cubicBezTo>
                    <a:pt x="19690" y="55456"/>
                    <a:pt x="20619" y="55770"/>
                    <a:pt x="20804" y="55456"/>
                  </a:cubicBezTo>
                  <a:cubicBezTo>
                    <a:pt x="20990" y="55143"/>
                    <a:pt x="21176" y="54830"/>
                    <a:pt x="21176" y="54516"/>
                  </a:cubicBezTo>
                  <a:cubicBezTo>
                    <a:pt x="21176" y="54516"/>
                    <a:pt x="21176" y="53890"/>
                    <a:pt x="21547" y="53890"/>
                  </a:cubicBezTo>
                  <a:cubicBezTo>
                    <a:pt x="21919" y="53890"/>
                    <a:pt x="21919" y="54203"/>
                    <a:pt x="22105" y="55143"/>
                  </a:cubicBezTo>
                  <a:cubicBezTo>
                    <a:pt x="22291" y="56710"/>
                    <a:pt x="22662" y="57963"/>
                    <a:pt x="22662" y="58276"/>
                  </a:cubicBezTo>
                  <a:cubicBezTo>
                    <a:pt x="22848" y="58590"/>
                    <a:pt x="23034" y="59216"/>
                    <a:pt x="23034" y="59843"/>
                  </a:cubicBezTo>
                  <a:cubicBezTo>
                    <a:pt x="23034" y="60156"/>
                    <a:pt x="23034" y="60783"/>
                    <a:pt x="22476" y="61409"/>
                  </a:cubicBezTo>
                  <a:cubicBezTo>
                    <a:pt x="22105" y="61723"/>
                    <a:pt x="21733" y="62663"/>
                    <a:pt x="21176" y="63916"/>
                  </a:cubicBezTo>
                  <a:cubicBezTo>
                    <a:pt x="20433" y="65169"/>
                    <a:pt x="19876" y="66736"/>
                    <a:pt x="19133" y="67049"/>
                  </a:cubicBezTo>
                  <a:cubicBezTo>
                    <a:pt x="18947" y="67362"/>
                    <a:pt x="18575" y="67362"/>
                    <a:pt x="18204" y="67676"/>
                  </a:cubicBezTo>
                  <a:cubicBezTo>
                    <a:pt x="17647" y="67676"/>
                    <a:pt x="17461" y="67676"/>
                    <a:pt x="17275" y="68302"/>
                  </a:cubicBezTo>
                  <a:cubicBezTo>
                    <a:pt x="17275" y="68302"/>
                    <a:pt x="17275" y="68616"/>
                    <a:pt x="17089" y="68929"/>
                  </a:cubicBezTo>
                  <a:cubicBezTo>
                    <a:pt x="17089" y="69869"/>
                    <a:pt x="16904" y="71122"/>
                    <a:pt x="16160" y="71749"/>
                  </a:cubicBezTo>
                  <a:cubicBezTo>
                    <a:pt x="15417" y="72062"/>
                    <a:pt x="14674" y="73315"/>
                    <a:pt x="14489" y="73942"/>
                  </a:cubicBezTo>
                  <a:cubicBezTo>
                    <a:pt x="14860" y="74255"/>
                    <a:pt x="15417" y="75509"/>
                    <a:pt x="15603" y="76762"/>
                  </a:cubicBezTo>
                  <a:cubicBezTo>
                    <a:pt x="15603" y="77389"/>
                    <a:pt x="15417" y="77702"/>
                    <a:pt x="15232" y="78328"/>
                  </a:cubicBezTo>
                  <a:cubicBezTo>
                    <a:pt x="15046" y="78642"/>
                    <a:pt x="14674" y="79268"/>
                    <a:pt x="14489" y="79582"/>
                  </a:cubicBezTo>
                  <a:cubicBezTo>
                    <a:pt x="14303" y="80208"/>
                    <a:pt x="14117" y="80835"/>
                    <a:pt x="13746" y="81148"/>
                  </a:cubicBezTo>
                  <a:cubicBezTo>
                    <a:pt x="13188" y="81775"/>
                    <a:pt x="12631" y="83028"/>
                    <a:pt x="12260" y="83655"/>
                  </a:cubicBezTo>
                  <a:cubicBezTo>
                    <a:pt x="12074" y="83968"/>
                    <a:pt x="11702" y="84595"/>
                    <a:pt x="11145" y="84595"/>
                  </a:cubicBezTo>
                  <a:cubicBezTo>
                    <a:pt x="10959" y="84595"/>
                    <a:pt x="10773" y="84281"/>
                    <a:pt x="10588" y="83655"/>
                  </a:cubicBezTo>
                  <a:cubicBezTo>
                    <a:pt x="10402" y="83342"/>
                    <a:pt x="10402" y="83028"/>
                    <a:pt x="10402" y="82715"/>
                  </a:cubicBezTo>
                  <a:cubicBezTo>
                    <a:pt x="10402" y="82715"/>
                    <a:pt x="10402" y="82715"/>
                    <a:pt x="10402" y="82402"/>
                  </a:cubicBezTo>
                  <a:cubicBezTo>
                    <a:pt x="10402" y="82402"/>
                    <a:pt x="10030" y="82402"/>
                    <a:pt x="9845" y="82402"/>
                  </a:cubicBezTo>
                  <a:cubicBezTo>
                    <a:pt x="9845" y="82088"/>
                    <a:pt x="9659" y="82088"/>
                    <a:pt x="9473" y="82088"/>
                  </a:cubicBezTo>
                  <a:cubicBezTo>
                    <a:pt x="8916" y="81775"/>
                    <a:pt x="7801" y="81148"/>
                    <a:pt x="7616" y="81462"/>
                  </a:cubicBezTo>
                  <a:cubicBezTo>
                    <a:pt x="7430" y="82402"/>
                    <a:pt x="7058" y="83028"/>
                    <a:pt x="6501" y="83655"/>
                  </a:cubicBezTo>
                  <a:cubicBezTo>
                    <a:pt x="6501" y="83655"/>
                    <a:pt x="6130" y="83655"/>
                    <a:pt x="5758" y="83968"/>
                  </a:cubicBezTo>
                  <a:cubicBezTo>
                    <a:pt x="5944" y="84908"/>
                    <a:pt x="6130" y="86788"/>
                    <a:pt x="5572" y="87415"/>
                  </a:cubicBezTo>
                  <a:cubicBezTo>
                    <a:pt x="4829" y="88355"/>
                    <a:pt x="4643" y="89295"/>
                    <a:pt x="4643" y="89295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0" name="Shape 6974">
              <a:extLst>
                <a:ext uri="{FF2B5EF4-FFF2-40B4-BE49-F238E27FC236}">
                  <a16:creationId xmlns:a16="http://schemas.microsoft.com/office/drawing/2014/main" id="{5F22EA93-551C-4A9B-B1CA-9C6E5763E883}"/>
                </a:ext>
              </a:extLst>
            </p:cNvPr>
            <p:cNvSpPr/>
            <p:nvPr/>
          </p:nvSpPr>
          <p:spPr>
            <a:xfrm>
              <a:off x="1503223" y="2991213"/>
              <a:ext cx="694598" cy="54403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55333" y="13608"/>
                  </a:moveTo>
                  <a:cubicBezTo>
                    <a:pt x="55666" y="12783"/>
                    <a:pt x="56000" y="11546"/>
                    <a:pt x="56666" y="10721"/>
                  </a:cubicBezTo>
                  <a:cubicBezTo>
                    <a:pt x="56000" y="9484"/>
                    <a:pt x="55000" y="7835"/>
                    <a:pt x="54333" y="7010"/>
                  </a:cubicBezTo>
                  <a:cubicBezTo>
                    <a:pt x="53333" y="6185"/>
                    <a:pt x="53333" y="5360"/>
                    <a:pt x="53333" y="4536"/>
                  </a:cubicBezTo>
                  <a:cubicBezTo>
                    <a:pt x="53333" y="4123"/>
                    <a:pt x="53333" y="4123"/>
                    <a:pt x="53000" y="3711"/>
                  </a:cubicBezTo>
                  <a:cubicBezTo>
                    <a:pt x="52666" y="2886"/>
                    <a:pt x="52333" y="2474"/>
                    <a:pt x="50666" y="2061"/>
                  </a:cubicBezTo>
                  <a:cubicBezTo>
                    <a:pt x="49666" y="1649"/>
                    <a:pt x="49333" y="2061"/>
                    <a:pt x="48666" y="2474"/>
                  </a:cubicBezTo>
                  <a:cubicBezTo>
                    <a:pt x="48333" y="2886"/>
                    <a:pt x="48000" y="2886"/>
                    <a:pt x="47333" y="2886"/>
                  </a:cubicBezTo>
                  <a:cubicBezTo>
                    <a:pt x="46666" y="2886"/>
                    <a:pt x="45333" y="2474"/>
                    <a:pt x="44000" y="1649"/>
                  </a:cubicBezTo>
                  <a:cubicBezTo>
                    <a:pt x="43000" y="1237"/>
                    <a:pt x="41666" y="412"/>
                    <a:pt x="41000" y="412"/>
                  </a:cubicBezTo>
                  <a:cubicBezTo>
                    <a:pt x="40000" y="0"/>
                    <a:pt x="35000" y="2886"/>
                    <a:pt x="33333" y="3711"/>
                  </a:cubicBezTo>
                  <a:cubicBezTo>
                    <a:pt x="32666" y="4123"/>
                    <a:pt x="32333" y="4123"/>
                    <a:pt x="32000" y="4536"/>
                  </a:cubicBezTo>
                  <a:cubicBezTo>
                    <a:pt x="31000" y="4948"/>
                    <a:pt x="29666" y="4123"/>
                    <a:pt x="28666" y="3298"/>
                  </a:cubicBezTo>
                  <a:cubicBezTo>
                    <a:pt x="28333" y="2886"/>
                    <a:pt x="28333" y="2886"/>
                    <a:pt x="28333" y="2886"/>
                  </a:cubicBezTo>
                  <a:cubicBezTo>
                    <a:pt x="28000" y="3711"/>
                    <a:pt x="27000" y="5773"/>
                    <a:pt x="26666" y="7010"/>
                  </a:cubicBezTo>
                  <a:cubicBezTo>
                    <a:pt x="26666" y="7835"/>
                    <a:pt x="26333" y="8659"/>
                    <a:pt x="26000" y="9072"/>
                  </a:cubicBezTo>
                  <a:cubicBezTo>
                    <a:pt x="25333" y="10721"/>
                    <a:pt x="21333" y="12371"/>
                    <a:pt x="20000" y="12783"/>
                  </a:cubicBezTo>
                  <a:cubicBezTo>
                    <a:pt x="20000" y="12783"/>
                    <a:pt x="20000" y="12783"/>
                    <a:pt x="20000" y="12783"/>
                  </a:cubicBezTo>
                  <a:cubicBezTo>
                    <a:pt x="20000" y="13195"/>
                    <a:pt x="20000" y="13608"/>
                    <a:pt x="19666" y="14020"/>
                  </a:cubicBezTo>
                  <a:cubicBezTo>
                    <a:pt x="19666" y="14845"/>
                    <a:pt x="19666" y="14845"/>
                    <a:pt x="19666" y="14845"/>
                  </a:cubicBezTo>
                  <a:cubicBezTo>
                    <a:pt x="19000" y="18144"/>
                    <a:pt x="16333" y="23505"/>
                    <a:pt x="16000" y="24329"/>
                  </a:cubicBezTo>
                  <a:cubicBezTo>
                    <a:pt x="16000" y="24742"/>
                    <a:pt x="16000" y="24742"/>
                    <a:pt x="16000" y="24742"/>
                  </a:cubicBezTo>
                  <a:cubicBezTo>
                    <a:pt x="15333" y="25567"/>
                    <a:pt x="14666" y="26804"/>
                    <a:pt x="13000" y="26804"/>
                  </a:cubicBezTo>
                  <a:cubicBezTo>
                    <a:pt x="11333" y="26804"/>
                    <a:pt x="11000" y="26804"/>
                    <a:pt x="11000" y="27216"/>
                  </a:cubicBezTo>
                  <a:cubicBezTo>
                    <a:pt x="10333" y="28865"/>
                    <a:pt x="9333" y="30103"/>
                    <a:pt x="8333" y="30103"/>
                  </a:cubicBezTo>
                  <a:cubicBezTo>
                    <a:pt x="8000" y="30103"/>
                    <a:pt x="7666" y="30103"/>
                    <a:pt x="7333" y="29690"/>
                  </a:cubicBezTo>
                  <a:cubicBezTo>
                    <a:pt x="6666" y="29690"/>
                    <a:pt x="5666" y="29278"/>
                    <a:pt x="5333" y="29690"/>
                  </a:cubicBezTo>
                  <a:cubicBezTo>
                    <a:pt x="3000" y="31340"/>
                    <a:pt x="2666" y="32164"/>
                    <a:pt x="2333" y="32577"/>
                  </a:cubicBezTo>
                  <a:cubicBezTo>
                    <a:pt x="2333" y="32577"/>
                    <a:pt x="2333" y="32989"/>
                    <a:pt x="2000" y="32989"/>
                  </a:cubicBezTo>
                  <a:cubicBezTo>
                    <a:pt x="333" y="35463"/>
                    <a:pt x="0" y="36701"/>
                    <a:pt x="0" y="37113"/>
                  </a:cubicBezTo>
                  <a:cubicBezTo>
                    <a:pt x="333" y="37113"/>
                    <a:pt x="666" y="37113"/>
                    <a:pt x="1000" y="37113"/>
                  </a:cubicBezTo>
                  <a:cubicBezTo>
                    <a:pt x="2000" y="37525"/>
                    <a:pt x="3333" y="37938"/>
                    <a:pt x="4000" y="39175"/>
                  </a:cubicBezTo>
                  <a:cubicBezTo>
                    <a:pt x="4000" y="39175"/>
                    <a:pt x="4333" y="39587"/>
                    <a:pt x="4666" y="40000"/>
                  </a:cubicBezTo>
                  <a:cubicBezTo>
                    <a:pt x="5666" y="41649"/>
                    <a:pt x="7333" y="43711"/>
                    <a:pt x="6666" y="45773"/>
                  </a:cubicBezTo>
                  <a:cubicBezTo>
                    <a:pt x="6000" y="47422"/>
                    <a:pt x="5000" y="51546"/>
                    <a:pt x="4666" y="52371"/>
                  </a:cubicBezTo>
                  <a:cubicBezTo>
                    <a:pt x="6000" y="53195"/>
                    <a:pt x="7333" y="54020"/>
                    <a:pt x="8000" y="54020"/>
                  </a:cubicBezTo>
                  <a:cubicBezTo>
                    <a:pt x="9333" y="54020"/>
                    <a:pt x="9333" y="54020"/>
                    <a:pt x="9333" y="54020"/>
                  </a:cubicBezTo>
                  <a:cubicBezTo>
                    <a:pt x="9333" y="54020"/>
                    <a:pt x="12000" y="53195"/>
                    <a:pt x="13333" y="53608"/>
                  </a:cubicBezTo>
                  <a:cubicBezTo>
                    <a:pt x="13666" y="53608"/>
                    <a:pt x="14000" y="53608"/>
                    <a:pt x="14666" y="53608"/>
                  </a:cubicBezTo>
                  <a:cubicBezTo>
                    <a:pt x="15333" y="53608"/>
                    <a:pt x="16000" y="53608"/>
                    <a:pt x="16666" y="54432"/>
                  </a:cubicBezTo>
                  <a:cubicBezTo>
                    <a:pt x="16666" y="54432"/>
                    <a:pt x="17000" y="55257"/>
                    <a:pt x="16666" y="55670"/>
                  </a:cubicBezTo>
                  <a:cubicBezTo>
                    <a:pt x="16666" y="56494"/>
                    <a:pt x="16333" y="57319"/>
                    <a:pt x="16000" y="58556"/>
                  </a:cubicBezTo>
                  <a:cubicBezTo>
                    <a:pt x="15666" y="59793"/>
                    <a:pt x="15333" y="61443"/>
                    <a:pt x="15333" y="61855"/>
                  </a:cubicBezTo>
                  <a:cubicBezTo>
                    <a:pt x="15333" y="62268"/>
                    <a:pt x="15333" y="62680"/>
                    <a:pt x="15333" y="62680"/>
                  </a:cubicBezTo>
                  <a:cubicBezTo>
                    <a:pt x="15333" y="64329"/>
                    <a:pt x="15333" y="64742"/>
                    <a:pt x="15666" y="64742"/>
                  </a:cubicBezTo>
                  <a:cubicBezTo>
                    <a:pt x="16333" y="64742"/>
                    <a:pt x="17333" y="64329"/>
                    <a:pt x="18333" y="64329"/>
                  </a:cubicBezTo>
                  <a:cubicBezTo>
                    <a:pt x="20666" y="63917"/>
                    <a:pt x="22000" y="63505"/>
                    <a:pt x="22666" y="64329"/>
                  </a:cubicBezTo>
                  <a:cubicBezTo>
                    <a:pt x="23333" y="64742"/>
                    <a:pt x="26000" y="67628"/>
                    <a:pt x="27000" y="68865"/>
                  </a:cubicBezTo>
                  <a:cubicBezTo>
                    <a:pt x="27333" y="69690"/>
                    <a:pt x="28666" y="71752"/>
                    <a:pt x="29666" y="70927"/>
                  </a:cubicBezTo>
                  <a:cubicBezTo>
                    <a:pt x="30333" y="70927"/>
                    <a:pt x="30666" y="70515"/>
                    <a:pt x="30666" y="70103"/>
                  </a:cubicBezTo>
                  <a:cubicBezTo>
                    <a:pt x="31333" y="69690"/>
                    <a:pt x="32000" y="68453"/>
                    <a:pt x="33000" y="69278"/>
                  </a:cubicBezTo>
                  <a:cubicBezTo>
                    <a:pt x="34000" y="70103"/>
                    <a:pt x="37000" y="72989"/>
                    <a:pt x="37333" y="75463"/>
                  </a:cubicBezTo>
                  <a:cubicBezTo>
                    <a:pt x="37333" y="76288"/>
                    <a:pt x="37333" y="78350"/>
                    <a:pt x="37333" y="80000"/>
                  </a:cubicBezTo>
                  <a:cubicBezTo>
                    <a:pt x="37000" y="82061"/>
                    <a:pt x="37000" y="85360"/>
                    <a:pt x="37333" y="85773"/>
                  </a:cubicBezTo>
                  <a:cubicBezTo>
                    <a:pt x="40666" y="89896"/>
                    <a:pt x="41000" y="90721"/>
                    <a:pt x="41000" y="90721"/>
                  </a:cubicBezTo>
                  <a:cubicBezTo>
                    <a:pt x="41333" y="91546"/>
                    <a:pt x="43666" y="92783"/>
                    <a:pt x="44666" y="91958"/>
                  </a:cubicBezTo>
                  <a:cubicBezTo>
                    <a:pt x="45666" y="91546"/>
                    <a:pt x="52000" y="88659"/>
                    <a:pt x="53666" y="88659"/>
                  </a:cubicBezTo>
                  <a:cubicBezTo>
                    <a:pt x="54333" y="89072"/>
                    <a:pt x="55000" y="89484"/>
                    <a:pt x="56000" y="89896"/>
                  </a:cubicBezTo>
                  <a:cubicBezTo>
                    <a:pt x="56666" y="90309"/>
                    <a:pt x="58000" y="91134"/>
                    <a:pt x="58333" y="91134"/>
                  </a:cubicBezTo>
                  <a:cubicBezTo>
                    <a:pt x="58333" y="91134"/>
                    <a:pt x="58666" y="90721"/>
                    <a:pt x="59000" y="90309"/>
                  </a:cubicBezTo>
                  <a:cubicBezTo>
                    <a:pt x="60666" y="89072"/>
                    <a:pt x="62666" y="87422"/>
                    <a:pt x="63666" y="89072"/>
                  </a:cubicBezTo>
                  <a:cubicBezTo>
                    <a:pt x="64000" y="89484"/>
                    <a:pt x="64333" y="90721"/>
                    <a:pt x="64999" y="91958"/>
                  </a:cubicBezTo>
                  <a:cubicBezTo>
                    <a:pt x="65333" y="93195"/>
                    <a:pt x="66666" y="96494"/>
                    <a:pt x="67333" y="96494"/>
                  </a:cubicBezTo>
                  <a:cubicBezTo>
                    <a:pt x="68000" y="96494"/>
                    <a:pt x="68000" y="96494"/>
                    <a:pt x="68000" y="96494"/>
                  </a:cubicBezTo>
                  <a:cubicBezTo>
                    <a:pt x="71666" y="97319"/>
                    <a:pt x="73666" y="97731"/>
                    <a:pt x="74333" y="98969"/>
                  </a:cubicBezTo>
                  <a:cubicBezTo>
                    <a:pt x="74666" y="98969"/>
                    <a:pt x="75000" y="99381"/>
                    <a:pt x="75333" y="100206"/>
                  </a:cubicBezTo>
                  <a:cubicBezTo>
                    <a:pt x="76333" y="101443"/>
                    <a:pt x="77666" y="103092"/>
                    <a:pt x="78000" y="104742"/>
                  </a:cubicBezTo>
                  <a:cubicBezTo>
                    <a:pt x="78666" y="106391"/>
                    <a:pt x="79000" y="108041"/>
                    <a:pt x="80000" y="109278"/>
                  </a:cubicBezTo>
                  <a:cubicBezTo>
                    <a:pt x="80333" y="110103"/>
                    <a:pt x="82000" y="110927"/>
                    <a:pt x="83666" y="112164"/>
                  </a:cubicBezTo>
                  <a:cubicBezTo>
                    <a:pt x="86000" y="113814"/>
                    <a:pt x="87666" y="114639"/>
                    <a:pt x="88333" y="115463"/>
                  </a:cubicBezTo>
                  <a:cubicBezTo>
                    <a:pt x="88666" y="115876"/>
                    <a:pt x="88666" y="116701"/>
                    <a:pt x="89000" y="117525"/>
                  </a:cubicBezTo>
                  <a:cubicBezTo>
                    <a:pt x="89333" y="118350"/>
                    <a:pt x="90000" y="120000"/>
                    <a:pt x="90333" y="120000"/>
                  </a:cubicBezTo>
                  <a:cubicBezTo>
                    <a:pt x="90666" y="120000"/>
                    <a:pt x="91333" y="119587"/>
                    <a:pt x="91666" y="119175"/>
                  </a:cubicBezTo>
                  <a:cubicBezTo>
                    <a:pt x="92666" y="118762"/>
                    <a:pt x="93666" y="117938"/>
                    <a:pt x="94666" y="118350"/>
                  </a:cubicBezTo>
                  <a:cubicBezTo>
                    <a:pt x="94666" y="118350"/>
                    <a:pt x="95000" y="118350"/>
                    <a:pt x="95333" y="118762"/>
                  </a:cubicBezTo>
                  <a:cubicBezTo>
                    <a:pt x="96333" y="119175"/>
                    <a:pt x="97333" y="119587"/>
                    <a:pt x="98000" y="119175"/>
                  </a:cubicBezTo>
                  <a:cubicBezTo>
                    <a:pt x="98333" y="118762"/>
                    <a:pt x="98666" y="117938"/>
                    <a:pt x="99000" y="117113"/>
                  </a:cubicBezTo>
                  <a:cubicBezTo>
                    <a:pt x="99333" y="115463"/>
                    <a:pt x="100000" y="113814"/>
                    <a:pt x="101333" y="114639"/>
                  </a:cubicBezTo>
                  <a:cubicBezTo>
                    <a:pt x="102333" y="115051"/>
                    <a:pt x="104666" y="117525"/>
                    <a:pt x="106000" y="119175"/>
                  </a:cubicBezTo>
                  <a:cubicBezTo>
                    <a:pt x="106666" y="116288"/>
                    <a:pt x="107666" y="113402"/>
                    <a:pt x="107666" y="112577"/>
                  </a:cubicBezTo>
                  <a:cubicBezTo>
                    <a:pt x="107666" y="111752"/>
                    <a:pt x="108000" y="111340"/>
                    <a:pt x="108000" y="111340"/>
                  </a:cubicBezTo>
                  <a:cubicBezTo>
                    <a:pt x="108333" y="110927"/>
                    <a:pt x="109000" y="110927"/>
                    <a:pt x="109666" y="110927"/>
                  </a:cubicBezTo>
                  <a:cubicBezTo>
                    <a:pt x="109666" y="110927"/>
                    <a:pt x="110000" y="110927"/>
                    <a:pt x="110000" y="110927"/>
                  </a:cubicBezTo>
                  <a:cubicBezTo>
                    <a:pt x="109666" y="110515"/>
                    <a:pt x="108666" y="109278"/>
                    <a:pt x="108333" y="108453"/>
                  </a:cubicBezTo>
                  <a:cubicBezTo>
                    <a:pt x="107333" y="107216"/>
                    <a:pt x="106333" y="106391"/>
                    <a:pt x="106333" y="105567"/>
                  </a:cubicBezTo>
                  <a:cubicBezTo>
                    <a:pt x="105333" y="103505"/>
                    <a:pt x="106666" y="102268"/>
                    <a:pt x="107333" y="101855"/>
                  </a:cubicBezTo>
                  <a:cubicBezTo>
                    <a:pt x="107333" y="101443"/>
                    <a:pt x="107666" y="101443"/>
                    <a:pt x="107666" y="101443"/>
                  </a:cubicBezTo>
                  <a:cubicBezTo>
                    <a:pt x="109000" y="100206"/>
                    <a:pt x="112333" y="102268"/>
                    <a:pt x="113333" y="103092"/>
                  </a:cubicBezTo>
                  <a:cubicBezTo>
                    <a:pt x="113666" y="102680"/>
                    <a:pt x="114000" y="102268"/>
                    <a:pt x="114333" y="101443"/>
                  </a:cubicBezTo>
                  <a:cubicBezTo>
                    <a:pt x="115000" y="101030"/>
                    <a:pt x="115333" y="100206"/>
                    <a:pt x="115666" y="99793"/>
                  </a:cubicBezTo>
                  <a:cubicBezTo>
                    <a:pt x="116333" y="98969"/>
                    <a:pt x="119000" y="95670"/>
                    <a:pt x="120000" y="94020"/>
                  </a:cubicBezTo>
                  <a:cubicBezTo>
                    <a:pt x="119666" y="93608"/>
                    <a:pt x="119000" y="92371"/>
                    <a:pt x="118666" y="91546"/>
                  </a:cubicBezTo>
                  <a:cubicBezTo>
                    <a:pt x="118000" y="90309"/>
                    <a:pt x="118333" y="89072"/>
                    <a:pt x="119000" y="87835"/>
                  </a:cubicBezTo>
                  <a:cubicBezTo>
                    <a:pt x="118333" y="87835"/>
                    <a:pt x="117333" y="87835"/>
                    <a:pt x="115000" y="87835"/>
                  </a:cubicBezTo>
                  <a:cubicBezTo>
                    <a:pt x="113666" y="87835"/>
                    <a:pt x="113666" y="87010"/>
                    <a:pt x="113333" y="86185"/>
                  </a:cubicBezTo>
                  <a:cubicBezTo>
                    <a:pt x="113333" y="85360"/>
                    <a:pt x="113000" y="84536"/>
                    <a:pt x="112333" y="83298"/>
                  </a:cubicBezTo>
                  <a:cubicBezTo>
                    <a:pt x="111666" y="82061"/>
                    <a:pt x="111333" y="81237"/>
                    <a:pt x="111666" y="80824"/>
                  </a:cubicBezTo>
                  <a:cubicBezTo>
                    <a:pt x="111666" y="80000"/>
                    <a:pt x="112333" y="80000"/>
                    <a:pt x="112666" y="79587"/>
                  </a:cubicBezTo>
                  <a:cubicBezTo>
                    <a:pt x="113000" y="79587"/>
                    <a:pt x="113333" y="79587"/>
                    <a:pt x="113333" y="79587"/>
                  </a:cubicBezTo>
                  <a:cubicBezTo>
                    <a:pt x="113333" y="78762"/>
                    <a:pt x="111333" y="76701"/>
                    <a:pt x="110333" y="76288"/>
                  </a:cubicBezTo>
                  <a:cubicBezTo>
                    <a:pt x="110000" y="76701"/>
                    <a:pt x="109333" y="77938"/>
                    <a:pt x="109000" y="78762"/>
                  </a:cubicBezTo>
                  <a:cubicBezTo>
                    <a:pt x="108666" y="79587"/>
                    <a:pt x="108666" y="80412"/>
                    <a:pt x="108333" y="80824"/>
                  </a:cubicBezTo>
                  <a:cubicBezTo>
                    <a:pt x="108000" y="81237"/>
                    <a:pt x="107333" y="81649"/>
                    <a:pt x="107000" y="81649"/>
                  </a:cubicBezTo>
                  <a:cubicBezTo>
                    <a:pt x="105333" y="81649"/>
                    <a:pt x="103333" y="79175"/>
                    <a:pt x="103000" y="78350"/>
                  </a:cubicBezTo>
                  <a:cubicBezTo>
                    <a:pt x="102666" y="77938"/>
                    <a:pt x="102666" y="77938"/>
                    <a:pt x="102666" y="77525"/>
                  </a:cubicBezTo>
                  <a:cubicBezTo>
                    <a:pt x="102000" y="77113"/>
                    <a:pt x="101333" y="76288"/>
                    <a:pt x="101333" y="74226"/>
                  </a:cubicBezTo>
                  <a:cubicBezTo>
                    <a:pt x="101333" y="73814"/>
                    <a:pt x="101000" y="73814"/>
                    <a:pt x="100666" y="73814"/>
                  </a:cubicBezTo>
                  <a:cubicBezTo>
                    <a:pt x="100000" y="73402"/>
                    <a:pt x="99333" y="73402"/>
                    <a:pt x="99000" y="72164"/>
                  </a:cubicBezTo>
                  <a:cubicBezTo>
                    <a:pt x="98333" y="71340"/>
                    <a:pt x="98000" y="70103"/>
                    <a:pt x="98000" y="69690"/>
                  </a:cubicBezTo>
                  <a:cubicBezTo>
                    <a:pt x="97000" y="69278"/>
                    <a:pt x="95666" y="69278"/>
                    <a:pt x="94666" y="68865"/>
                  </a:cubicBezTo>
                  <a:cubicBezTo>
                    <a:pt x="94666" y="68865"/>
                    <a:pt x="94666" y="68865"/>
                    <a:pt x="94666" y="68865"/>
                  </a:cubicBezTo>
                  <a:cubicBezTo>
                    <a:pt x="94666" y="68865"/>
                    <a:pt x="94666" y="69278"/>
                    <a:pt x="94666" y="69278"/>
                  </a:cubicBezTo>
                  <a:cubicBezTo>
                    <a:pt x="94666" y="69690"/>
                    <a:pt x="94333" y="70515"/>
                    <a:pt x="94000" y="70927"/>
                  </a:cubicBezTo>
                  <a:cubicBezTo>
                    <a:pt x="93000" y="72164"/>
                    <a:pt x="91666" y="71752"/>
                    <a:pt x="90333" y="71340"/>
                  </a:cubicBezTo>
                  <a:cubicBezTo>
                    <a:pt x="90000" y="71340"/>
                    <a:pt x="89666" y="70927"/>
                    <a:pt x="89333" y="70927"/>
                  </a:cubicBezTo>
                  <a:cubicBezTo>
                    <a:pt x="88000" y="70515"/>
                    <a:pt x="88000" y="68865"/>
                    <a:pt x="88000" y="67628"/>
                  </a:cubicBezTo>
                  <a:cubicBezTo>
                    <a:pt x="88000" y="66804"/>
                    <a:pt x="88333" y="66391"/>
                    <a:pt x="88000" y="65979"/>
                  </a:cubicBezTo>
                  <a:cubicBezTo>
                    <a:pt x="88000" y="65154"/>
                    <a:pt x="86666" y="64329"/>
                    <a:pt x="85666" y="63505"/>
                  </a:cubicBezTo>
                  <a:cubicBezTo>
                    <a:pt x="85000" y="63092"/>
                    <a:pt x="84666" y="63092"/>
                    <a:pt x="84333" y="62680"/>
                  </a:cubicBezTo>
                  <a:cubicBezTo>
                    <a:pt x="83000" y="61443"/>
                    <a:pt x="83000" y="60206"/>
                    <a:pt x="83000" y="59381"/>
                  </a:cubicBezTo>
                  <a:cubicBezTo>
                    <a:pt x="83000" y="58969"/>
                    <a:pt x="83000" y="58556"/>
                    <a:pt x="82666" y="58144"/>
                  </a:cubicBezTo>
                  <a:cubicBezTo>
                    <a:pt x="82666" y="57731"/>
                    <a:pt x="82000" y="57731"/>
                    <a:pt x="81000" y="57731"/>
                  </a:cubicBezTo>
                  <a:cubicBezTo>
                    <a:pt x="80666" y="57731"/>
                    <a:pt x="80333" y="57731"/>
                    <a:pt x="80000" y="57319"/>
                  </a:cubicBezTo>
                  <a:cubicBezTo>
                    <a:pt x="79000" y="57319"/>
                    <a:pt x="78666" y="56494"/>
                    <a:pt x="78333" y="55670"/>
                  </a:cubicBezTo>
                  <a:cubicBezTo>
                    <a:pt x="78000" y="55257"/>
                    <a:pt x="78000" y="55257"/>
                    <a:pt x="77666" y="54845"/>
                  </a:cubicBezTo>
                  <a:cubicBezTo>
                    <a:pt x="77333" y="54432"/>
                    <a:pt x="73333" y="54020"/>
                    <a:pt x="70666" y="54020"/>
                  </a:cubicBezTo>
                  <a:cubicBezTo>
                    <a:pt x="69333" y="54020"/>
                    <a:pt x="68333" y="51958"/>
                    <a:pt x="67666" y="50309"/>
                  </a:cubicBezTo>
                  <a:cubicBezTo>
                    <a:pt x="67666" y="49484"/>
                    <a:pt x="67666" y="49484"/>
                    <a:pt x="67666" y="49484"/>
                  </a:cubicBezTo>
                  <a:cubicBezTo>
                    <a:pt x="67000" y="48247"/>
                    <a:pt x="64999" y="48247"/>
                    <a:pt x="64666" y="48247"/>
                  </a:cubicBezTo>
                  <a:cubicBezTo>
                    <a:pt x="63666" y="48247"/>
                    <a:pt x="62333" y="46597"/>
                    <a:pt x="62000" y="46185"/>
                  </a:cubicBezTo>
                  <a:cubicBezTo>
                    <a:pt x="61666" y="45773"/>
                    <a:pt x="60000" y="43298"/>
                    <a:pt x="59666" y="41649"/>
                  </a:cubicBezTo>
                  <a:cubicBezTo>
                    <a:pt x="59666" y="40824"/>
                    <a:pt x="58333" y="40412"/>
                    <a:pt x="57666" y="40000"/>
                  </a:cubicBezTo>
                  <a:cubicBezTo>
                    <a:pt x="57333" y="40000"/>
                    <a:pt x="57333" y="40000"/>
                    <a:pt x="57333" y="40000"/>
                  </a:cubicBezTo>
                  <a:cubicBezTo>
                    <a:pt x="56000" y="39175"/>
                    <a:pt x="56000" y="37113"/>
                    <a:pt x="56000" y="35876"/>
                  </a:cubicBezTo>
                  <a:cubicBezTo>
                    <a:pt x="56000" y="35463"/>
                    <a:pt x="56000" y="35051"/>
                    <a:pt x="56000" y="35051"/>
                  </a:cubicBezTo>
                  <a:cubicBezTo>
                    <a:pt x="56000" y="34639"/>
                    <a:pt x="55000" y="33814"/>
                    <a:pt x="54333" y="33814"/>
                  </a:cubicBezTo>
                  <a:cubicBezTo>
                    <a:pt x="54000" y="33402"/>
                    <a:pt x="54000" y="33402"/>
                    <a:pt x="54000" y="33402"/>
                  </a:cubicBezTo>
                  <a:cubicBezTo>
                    <a:pt x="53000" y="32989"/>
                    <a:pt x="52333" y="31752"/>
                    <a:pt x="52333" y="25154"/>
                  </a:cubicBezTo>
                  <a:cubicBezTo>
                    <a:pt x="52333" y="23092"/>
                    <a:pt x="53333" y="22268"/>
                    <a:pt x="54666" y="21855"/>
                  </a:cubicBezTo>
                  <a:cubicBezTo>
                    <a:pt x="54666" y="21443"/>
                    <a:pt x="54333" y="21030"/>
                    <a:pt x="54000" y="20618"/>
                  </a:cubicBezTo>
                  <a:cubicBezTo>
                    <a:pt x="54000" y="20206"/>
                    <a:pt x="53666" y="19793"/>
                    <a:pt x="53666" y="19381"/>
                  </a:cubicBezTo>
                  <a:cubicBezTo>
                    <a:pt x="53333" y="18144"/>
                    <a:pt x="54000" y="16907"/>
                    <a:pt x="54666" y="15257"/>
                  </a:cubicBezTo>
                  <a:cubicBezTo>
                    <a:pt x="55000" y="14845"/>
                    <a:pt x="55000" y="14020"/>
                    <a:pt x="55333" y="13608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1" name="Shape 6975">
              <a:extLst>
                <a:ext uri="{FF2B5EF4-FFF2-40B4-BE49-F238E27FC236}">
                  <a16:creationId xmlns:a16="http://schemas.microsoft.com/office/drawing/2014/main" id="{A2F19356-2AA3-46DA-AF2D-FB055AE428C7}"/>
                </a:ext>
              </a:extLst>
            </p:cNvPr>
            <p:cNvSpPr/>
            <p:nvPr/>
          </p:nvSpPr>
          <p:spPr>
            <a:xfrm>
              <a:off x="1487786" y="2341727"/>
              <a:ext cx="617422" cy="69987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750" y="63529"/>
                  </a:moveTo>
                  <a:cubicBezTo>
                    <a:pt x="375" y="65454"/>
                    <a:pt x="0" y="68663"/>
                    <a:pt x="375" y="69625"/>
                  </a:cubicBezTo>
                  <a:cubicBezTo>
                    <a:pt x="750" y="71229"/>
                    <a:pt x="12000" y="101390"/>
                    <a:pt x="13500" y="102673"/>
                  </a:cubicBezTo>
                  <a:cubicBezTo>
                    <a:pt x="13875" y="102994"/>
                    <a:pt x="15000" y="103315"/>
                    <a:pt x="16125" y="103636"/>
                  </a:cubicBezTo>
                  <a:cubicBezTo>
                    <a:pt x="18000" y="104278"/>
                    <a:pt x="19125" y="104598"/>
                    <a:pt x="19875" y="105240"/>
                  </a:cubicBezTo>
                  <a:cubicBezTo>
                    <a:pt x="20250" y="105882"/>
                    <a:pt x="21375" y="107486"/>
                    <a:pt x="22125" y="109732"/>
                  </a:cubicBezTo>
                  <a:cubicBezTo>
                    <a:pt x="22500" y="110374"/>
                    <a:pt x="22875" y="110695"/>
                    <a:pt x="22875" y="111016"/>
                  </a:cubicBezTo>
                  <a:cubicBezTo>
                    <a:pt x="23625" y="111978"/>
                    <a:pt x="25500" y="117754"/>
                    <a:pt x="25875" y="118716"/>
                  </a:cubicBezTo>
                  <a:cubicBezTo>
                    <a:pt x="25875" y="119037"/>
                    <a:pt x="25875" y="119358"/>
                    <a:pt x="25875" y="120000"/>
                  </a:cubicBezTo>
                  <a:cubicBezTo>
                    <a:pt x="28125" y="119358"/>
                    <a:pt x="30750" y="118395"/>
                    <a:pt x="31125" y="117754"/>
                  </a:cubicBezTo>
                  <a:cubicBezTo>
                    <a:pt x="31125" y="117754"/>
                    <a:pt x="31500" y="117112"/>
                    <a:pt x="31875" y="116470"/>
                  </a:cubicBezTo>
                  <a:cubicBezTo>
                    <a:pt x="32625" y="114224"/>
                    <a:pt x="33375" y="112620"/>
                    <a:pt x="34500" y="112299"/>
                  </a:cubicBezTo>
                  <a:cubicBezTo>
                    <a:pt x="34875" y="112299"/>
                    <a:pt x="35250" y="112299"/>
                    <a:pt x="35625" y="112620"/>
                  </a:cubicBezTo>
                  <a:cubicBezTo>
                    <a:pt x="36000" y="112941"/>
                    <a:pt x="36000" y="112941"/>
                    <a:pt x="36000" y="112941"/>
                  </a:cubicBezTo>
                  <a:cubicBezTo>
                    <a:pt x="37125" y="113262"/>
                    <a:pt x="37875" y="113903"/>
                    <a:pt x="38625" y="113582"/>
                  </a:cubicBezTo>
                  <a:cubicBezTo>
                    <a:pt x="39000" y="113582"/>
                    <a:pt x="39375" y="113262"/>
                    <a:pt x="39750" y="113262"/>
                  </a:cubicBezTo>
                  <a:cubicBezTo>
                    <a:pt x="44625" y="111336"/>
                    <a:pt x="48000" y="110053"/>
                    <a:pt x="49500" y="110374"/>
                  </a:cubicBezTo>
                  <a:cubicBezTo>
                    <a:pt x="50625" y="110374"/>
                    <a:pt x="51750" y="111016"/>
                    <a:pt x="53250" y="111336"/>
                  </a:cubicBezTo>
                  <a:cubicBezTo>
                    <a:pt x="54375" y="111978"/>
                    <a:pt x="55500" y="112299"/>
                    <a:pt x="56250" y="112299"/>
                  </a:cubicBezTo>
                  <a:cubicBezTo>
                    <a:pt x="56250" y="112299"/>
                    <a:pt x="56625" y="112299"/>
                    <a:pt x="57000" y="111978"/>
                  </a:cubicBezTo>
                  <a:cubicBezTo>
                    <a:pt x="57750" y="111657"/>
                    <a:pt x="58875" y="111336"/>
                    <a:pt x="60375" y="111657"/>
                  </a:cubicBezTo>
                  <a:cubicBezTo>
                    <a:pt x="62625" y="111978"/>
                    <a:pt x="63375" y="112620"/>
                    <a:pt x="64125" y="113582"/>
                  </a:cubicBezTo>
                  <a:cubicBezTo>
                    <a:pt x="64125" y="113903"/>
                    <a:pt x="64500" y="114545"/>
                    <a:pt x="64500" y="114545"/>
                  </a:cubicBezTo>
                  <a:cubicBezTo>
                    <a:pt x="64500" y="115187"/>
                    <a:pt x="64500" y="115508"/>
                    <a:pt x="65250" y="115828"/>
                  </a:cubicBezTo>
                  <a:cubicBezTo>
                    <a:pt x="66000" y="116470"/>
                    <a:pt x="67125" y="117754"/>
                    <a:pt x="67500" y="118395"/>
                  </a:cubicBezTo>
                  <a:cubicBezTo>
                    <a:pt x="67875" y="118074"/>
                    <a:pt x="68250" y="118074"/>
                    <a:pt x="68250" y="117754"/>
                  </a:cubicBezTo>
                  <a:cubicBezTo>
                    <a:pt x="69000" y="117112"/>
                    <a:pt x="70125" y="116791"/>
                    <a:pt x="70875" y="116791"/>
                  </a:cubicBezTo>
                  <a:cubicBezTo>
                    <a:pt x="71250" y="116470"/>
                    <a:pt x="71625" y="116470"/>
                    <a:pt x="72000" y="116470"/>
                  </a:cubicBezTo>
                  <a:cubicBezTo>
                    <a:pt x="72750" y="116149"/>
                    <a:pt x="74625" y="113903"/>
                    <a:pt x="75750" y="112620"/>
                  </a:cubicBezTo>
                  <a:cubicBezTo>
                    <a:pt x="76125" y="112299"/>
                    <a:pt x="76500" y="111657"/>
                    <a:pt x="76875" y="111336"/>
                  </a:cubicBezTo>
                  <a:cubicBezTo>
                    <a:pt x="77625" y="110374"/>
                    <a:pt x="77625" y="108770"/>
                    <a:pt x="77250" y="107807"/>
                  </a:cubicBezTo>
                  <a:cubicBezTo>
                    <a:pt x="77250" y="107165"/>
                    <a:pt x="77250" y="106844"/>
                    <a:pt x="77250" y="106524"/>
                  </a:cubicBezTo>
                  <a:cubicBezTo>
                    <a:pt x="77250" y="104919"/>
                    <a:pt x="80625" y="104598"/>
                    <a:pt x="81750" y="104598"/>
                  </a:cubicBezTo>
                  <a:cubicBezTo>
                    <a:pt x="82125" y="103957"/>
                    <a:pt x="82500" y="101711"/>
                    <a:pt x="82500" y="100427"/>
                  </a:cubicBezTo>
                  <a:cubicBezTo>
                    <a:pt x="82500" y="99786"/>
                    <a:pt x="80250" y="97860"/>
                    <a:pt x="79125" y="97219"/>
                  </a:cubicBezTo>
                  <a:cubicBezTo>
                    <a:pt x="78750" y="96898"/>
                    <a:pt x="78375" y="96898"/>
                    <a:pt x="78375" y="96577"/>
                  </a:cubicBezTo>
                  <a:cubicBezTo>
                    <a:pt x="77250" y="95614"/>
                    <a:pt x="78375" y="90481"/>
                    <a:pt x="78750" y="89839"/>
                  </a:cubicBezTo>
                  <a:cubicBezTo>
                    <a:pt x="79125" y="88556"/>
                    <a:pt x="81750" y="86631"/>
                    <a:pt x="82875" y="86310"/>
                  </a:cubicBezTo>
                  <a:cubicBezTo>
                    <a:pt x="83250" y="85989"/>
                    <a:pt x="83625" y="85347"/>
                    <a:pt x="83625" y="84705"/>
                  </a:cubicBezTo>
                  <a:cubicBezTo>
                    <a:pt x="84000" y="84064"/>
                    <a:pt x="84000" y="83743"/>
                    <a:pt x="84375" y="83101"/>
                  </a:cubicBezTo>
                  <a:cubicBezTo>
                    <a:pt x="85125" y="82459"/>
                    <a:pt x="85125" y="81497"/>
                    <a:pt x="85125" y="80534"/>
                  </a:cubicBezTo>
                  <a:cubicBezTo>
                    <a:pt x="85125" y="80213"/>
                    <a:pt x="85500" y="79893"/>
                    <a:pt x="85500" y="79251"/>
                  </a:cubicBezTo>
                  <a:cubicBezTo>
                    <a:pt x="85500" y="78288"/>
                    <a:pt x="86250" y="78288"/>
                    <a:pt x="86625" y="78288"/>
                  </a:cubicBezTo>
                  <a:cubicBezTo>
                    <a:pt x="87375" y="78288"/>
                    <a:pt x="88500" y="79251"/>
                    <a:pt x="88875" y="79893"/>
                  </a:cubicBezTo>
                  <a:cubicBezTo>
                    <a:pt x="88875" y="79893"/>
                    <a:pt x="89250" y="79572"/>
                    <a:pt x="89625" y="79251"/>
                  </a:cubicBezTo>
                  <a:cubicBezTo>
                    <a:pt x="89625" y="78930"/>
                    <a:pt x="90000" y="78609"/>
                    <a:pt x="90375" y="78609"/>
                  </a:cubicBezTo>
                  <a:cubicBezTo>
                    <a:pt x="91125" y="78609"/>
                    <a:pt x="92250" y="79251"/>
                    <a:pt x="93000" y="79572"/>
                  </a:cubicBezTo>
                  <a:cubicBezTo>
                    <a:pt x="95625" y="76042"/>
                    <a:pt x="95625" y="76042"/>
                    <a:pt x="95625" y="76042"/>
                  </a:cubicBezTo>
                  <a:cubicBezTo>
                    <a:pt x="96000" y="75721"/>
                    <a:pt x="96375" y="75721"/>
                    <a:pt x="96750" y="76042"/>
                  </a:cubicBezTo>
                  <a:cubicBezTo>
                    <a:pt x="96750" y="76042"/>
                    <a:pt x="97125" y="76042"/>
                    <a:pt x="97125" y="76363"/>
                  </a:cubicBezTo>
                  <a:cubicBezTo>
                    <a:pt x="97500" y="74438"/>
                    <a:pt x="99375" y="72192"/>
                    <a:pt x="99750" y="71550"/>
                  </a:cubicBezTo>
                  <a:cubicBezTo>
                    <a:pt x="100125" y="70909"/>
                    <a:pt x="97125" y="62566"/>
                    <a:pt x="96375" y="60962"/>
                  </a:cubicBezTo>
                  <a:cubicBezTo>
                    <a:pt x="96000" y="59679"/>
                    <a:pt x="99375" y="57433"/>
                    <a:pt x="100500" y="56791"/>
                  </a:cubicBezTo>
                  <a:cubicBezTo>
                    <a:pt x="101625" y="55828"/>
                    <a:pt x="102375" y="51657"/>
                    <a:pt x="102750" y="50053"/>
                  </a:cubicBezTo>
                  <a:cubicBezTo>
                    <a:pt x="102750" y="48128"/>
                    <a:pt x="105000" y="46524"/>
                    <a:pt x="106500" y="45240"/>
                  </a:cubicBezTo>
                  <a:cubicBezTo>
                    <a:pt x="107625" y="43957"/>
                    <a:pt x="112875" y="42994"/>
                    <a:pt x="114375" y="42352"/>
                  </a:cubicBezTo>
                  <a:cubicBezTo>
                    <a:pt x="115875" y="42032"/>
                    <a:pt x="118500" y="33368"/>
                    <a:pt x="119250" y="31764"/>
                  </a:cubicBezTo>
                  <a:cubicBezTo>
                    <a:pt x="120000" y="30481"/>
                    <a:pt x="117750" y="29518"/>
                    <a:pt x="116625" y="28235"/>
                  </a:cubicBezTo>
                  <a:cubicBezTo>
                    <a:pt x="115500" y="26951"/>
                    <a:pt x="117375" y="25347"/>
                    <a:pt x="118125" y="24385"/>
                  </a:cubicBezTo>
                  <a:cubicBezTo>
                    <a:pt x="118875" y="23743"/>
                    <a:pt x="118500" y="21818"/>
                    <a:pt x="118500" y="19572"/>
                  </a:cubicBezTo>
                  <a:cubicBezTo>
                    <a:pt x="118125" y="19572"/>
                    <a:pt x="118125" y="19893"/>
                    <a:pt x="117750" y="19893"/>
                  </a:cubicBezTo>
                  <a:cubicBezTo>
                    <a:pt x="116250" y="19893"/>
                    <a:pt x="112875" y="18930"/>
                    <a:pt x="111750" y="17967"/>
                  </a:cubicBezTo>
                  <a:cubicBezTo>
                    <a:pt x="111750" y="17647"/>
                    <a:pt x="110625" y="18288"/>
                    <a:pt x="109875" y="18288"/>
                  </a:cubicBezTo>
                  <a:cubicBezTo>
                    <a:pt x="109500" y="18609"/>
                    <a:pt x="108750" y="18930"/>
                    <a:pt x="108000" y="19251"/>
                  </a:cubicBezTo>
                  <a:cubicBezTo>
                    <a:pt x="106500" y="19251"/>
                    <a:pt x="105750" y="18288"/>
                    <a:pt x="105375" y="17326"/>
                  </a:cubicBezTo>
                  <a:cubicBezTo>
                    <a:pt x="105000" y="17005"/>
                    <a:pt x="105000" y="16363"/>
                    <a:pt x="104625" y="16042"/>
                  </a:cubicBezTo>
                  <a:cubicBezTo>
                    <a:pt x="103500" y="15080"/>
                    <a:pt x="104625" y="13155"/>
                    <a:pt x="105750" y="10588"/>
                  </a:cubicBezTo>
                  <a:cubicBezTo>
                    <a:pt x="106125" y="9946"/>
                    <a:pt x="106500" y="9304"/>
                    <a:pt x="106500" y="8983"/>
                  </a:cubicBezTo>
                  <a:cubicBezTo>
                    <a:pt x="106500" y="8663"/>
                    <a:pt x="105375" y="8021"/>
                    <a:pt x="105000" y="7379"/>
                  </a:cubicBezTo>
                  <a:cubicBezTo>
                    <a:pt x="104250" y="7058"/>
                    <a:pt x="103875" y="6737"/>
                    <a:pt x="103500" y="6417"/>
                  </a:cubicBezTo>
                  <a:cubicBezTo>
                    <a:pt x="102750" y="5454"/>
                    <a:pt x="97125" y="1925"/>
                    <a:pt x="93375" y="0"/>
                  </a:cubicBezTo>
                  <a:cubicBezTo>
                    <a:pt x="91875" y="2566"/>
                    <a:pt x="85125" y="12834"/>
                    <a:pt x="85125" y="12834"/>
                  </a:cubicBezTo>
                  <a:cubicBezTo>
                    <a:pt x="85125" y="12834"/>
                    <a:pt x="84000" y="15401"/>
                    <a:pt x="82875" y="14438"/>
                  </a:cubicBezTo>
                  <a:cubicBezTo>
                    <a:pt x="81750" y="13796"/>
                    <a:pt x="79500" y="13475"/>
                    <a:pt x="78375" y="14117"/>
                  </a:cubicBezTo>
                  <a:cubicBezTo>
                    <a:pt x="77250" y="14438"/>
                    <a:pt x="72375" y="18609"/>
                    <a:pt x="70875" y="18930"/>
                  </a:cubicBezTo>
                  <a:cubicBezTo>
                    <a:pt x="69750" y="18930"/>
                    <a:pt x="67125" y="18930"/>
                    <a:pt x="66750" y="19893"/>
                  </a:cubicBezTo>
                  <a:cubicBezTo>
                    <a:pt x="66750" y="20855"/>
                    <a:pt x="67500" y="26951"/>
                    <a:pt x="66000" y="27272"/>
                  </a:cubicBezTo>
                  <a:cubicBezTo>
                    <a:pt x="64500" y="27593"/>
                    <a:pt x="61500" y="28556"/>
                    <a:pt x="61500" y="29518"/>
                  </a:cubicBezTo>
                  <a:cubicBezTo>
                    <a:pt x="61500" y="30802"/>
                    <a:pt x="62250" y="34010"/>
                    <a:pt x="60000" y="35294"/>
                  </a:cubicBezTo>
                  <a:cubicBezTo>
                    <a:pt x="58125" y="36898"/>
                    <a:pt x="56625" y="38823"/>
                    <a:pt x="54375" y="38823"/>
                  </a:cubicBezTo>
                  <a:cubicBezTo>
                    <a:pt x="52125" y="38823"/>
                    <a:pt x="47625" y="38502"/>
                    <a:pt x="47625" y="41069"/>
                  </a:cubicBezTo>
                  <a:cubicBezTo>
                    <a:pt x="47250" y="43957"/>
                    <a:pt x="46500" y="52941"/>
                    <a:pt x="46125" y="54224"/>
                  </a:cubicBezTo>
                  <a:cubicBezTo>
                    <a:pt x="46125" y="55508"/>
                    <a:pt x="47625" y="58716"/>
                    <a:pt x="44250" y="59679"/>
                  </a:cubicBezTo>
                  <a:cubicBezTo>
                    <a:pt x="40875" y="60962"/>
                    <a:pt x="35250" y="63208"/>
                    <a:pt x="32625" y="63208"/>
                  </a:cubicBezTo>
                  <a:cubicBezTo>
                    <a:pt x="30750" y="63208"/>
                    <a:pt x="13875" y="63208"/>
                    <a:pt x="750" y="63208"/>
                  </a:cubicBezTo>
                  <a:cubicBezTo>
                    <a:pt x="750" y="63529"/>
                    <a:pt x="750" y="63529"/>
                    <a:pt x="750" y="63529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2" name="Shape 6976">
              <a:extLst>
                <a:ext uri="{FF2B5EF4-FFF2-40B4-BE49-F238E27FC236}">
                  <a16:creationId xmlns:a16="http://schemas.microsoft.com/office/drawing/2014/main" id="{A6765ACD-D35E-4264-94E5-DC557A86DCC6}"/>
                </a:ext>
              </a:extLst>
            </p:cNvPr>
            <p:cNvSpPr/>
            <p:nvPr/>
          </p:nvSpPr>
          <p:spPr>
            <a:xfrm>
              <a:off x="1219595" y="2708464"/>
              <a:ext cx="395536" cy="42085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4682" y="38400"/>
                  </a:moveTo>
                  <a:cubicBezTo>
                    <a:pt x="4682" y="38933"/>
                    <a:pt x="4097" y="39466"/>
                    <a:pt x="3512" y="40000"/>
                  </a:cubicBezTo>
                  <a:cubicBezTo>
                    <a:pt x="3512" y="40533"/>
                    <a:pt x="2926" y="41600"/>
                    <a:pt x="2926" y="42133"/>
                  </a:cubicBezTo>
                  <a:cubicBezTo>
                    <a:pt x="3512" y="42666"/>
                    <a:pt x="3512" y="42666"/>
                    <a:pt x="3512" y="42666"/>
                  </a:cubicBezTo>
                  <a:cubicBezTo>
                    <a:pt x="4682" y="43733"/>
                    <a:pt x="7609" y="46400"/>
                    <a:pt x="7609" y="48533"/>
                  </a:cubicBezTo>
                  <a:cubicBezTo>
                    <a:pt x="8195" y="49066"/>
                    <a:pt x="8195" y="49600"/>
                    <a:pt x="8195" y="50133"/>
                  </a:cubicBezTo>
                  <a:cubicBezTo>
                    <a:pt x="8195" y="51733"/>
                    <a:pt x="8195" y="52266"/>
                    <a:pt x="8780" y="53333"/>
                  </a:cubicBezTo>
                  <a:cubicBezTo>
                    <a:pt x="8780" y="53866"/>
                    <a:pt x="9365" y="53866"/>
                    <a:pt x="9365" y="54400"/>
                  </a:cubicBezTo>
                  <a:cubicBezTo>
                    <a:pt x="10536" y="56000"/>
                    <a:pt x="11707" y="57066"/>
                    <a:pt x="11121" y="59200"/>
                  </a:cubicBezTo>
                  <a:cubicBezTo>
                    <a:pt x="11121" y="60800"/>
                    <a:pt x="10536" y="61866"/>
                    <a:pt x="9365" y="62933"/>
                  </a:cubicBezTo>
                  <a:cubicBezTo>
                    <a:pt x="9365" y="63466"/>
                    <a:pt x="8195" y="64000"/>
                    <a:pt x="8780" y="64533"/>
                  </a:cubicBezTo>
                  <a:cubicBezTo>
                    <a:pt x="9951" y="68800"/>
                    <a:pt x="9951" y="70933"/>
                    <a:pt x="9951" y="72000"/>
                  </a:cubicBezTo>
                  <a:cubicBezTo>
                    <a:pt x="11121" y="72000"/>
                    <a:pt x="11707" y="72533"/>
                    <a:pt x="12292" y="72533"/>
                  </a:cubicBezTo>
                  <a:cubicBezTo>
                    <a:pt x="13463" y="72533"/>
                    <a:pt x="14048" y="72533"/>
                    <a:pt x="14634" y="72533"/>
                  </a:cubicBezTo>
                  <a:cubicBezTo>
                    <a:pt x="15804" y="72533"/>
                    <a:pt x="16390" y="72000"/>
                    <a:pt x="17560" y="70933"/>
                  </a:cubicBezTo>
                  <a:cubicBezTo>
                    <a:pt x="18146" y="70400"/>
                    <a:pt x="19317" y="69866"/>
                    <a:pt x="20487" y="68800"/>
                  </a:cubicBezTo>
                  <a:cubicBezTo>
                    <a:pt x="21658" y="68266"/>
                    <a:pt x="22243" y="68800"/>
                    <a:pt x="22829" y="68800"/>
                  </a:cubicBezTo>
                  <a:cubicBezTo>
                    <a:pt x="24585" y="69333"/>
                    <a:pt x="25170" y="71466"/>
                    <a:pt x="25756" y="73066"/>
                  </a:cubicBezTo>
                  <a:cubicBezTo>
                    <a:pt x="25756" y="73600"/>
                    <a:pt x="25756" y="74133"/>
                    <a:pt x="26341" y="74666"/>
                  </a:cubicBezTo>
                  <a:cubicBezTo>
                    <a:pt x="26341" y="74666"/>
                    <a:pt x="29268" y="74666"/>
                    <a:pt x="31024" y="74133"/>
                  </a:cubicBezTo>
                  <a:cubicBezTo>
                    <a:pt x="32195" y="74133"/>
                    <a:pt x="33951" y="73600"/>
                    <a:pt x="35121" y="73600"/>
                  </a:cubicBezTo>
                  <a:cubicBezTo>
                    <a:pt x="35121" y="73600"/>
                    <a:pt x="38634" y="73600"/>
                    <a:pt x="41560" y="75200"/>
                  </a:cubicBezTo>
                  <a:cubicBezTo>
                    <a:pt x="42146" y="75200"/>
                    <a:pt x="42731" y="75200"/>
                    <a:pt x="43317" y="75733"/>
                  </a:cubicBezTo>
                  <a:cubicBezTo>
                    <a:pt x="45073" y="76266"/>
                    <a:pt x="46829" y="76800"/>
                    <a:pt x="48000" y="76800"/>
                  </a:cubicBezTo>
                  <a:cubicBezTo>
                    <a:pt x="48000" y="76800"/>
                    <a:pt x="49170" y="75733"/>
                    <a:pt x="49756" y="75200"/>
                  </a:cubicBezTo>
                  <a:cubicBezTo>
                    <a:pt x="51512" y="74133"/>
                    <a:pt x="52682" y="73066"/>
                    <a:pt x="54439" y="73600"/>
                  </a:cubicBezTo>
                  <a:cubicBezTo>
                    <a:pt x="55609" y="74133"/>
                    <a:pt x="56195" y="74666"/>
                    <a:pt x="56780" y="75200"/>
                  </a:cubicBezTo>
                  <a:cubicBezTo>
                    <a:pt x="57951" y="75733"/>
                    <a:pt x="58536" y="75733"/>
                    <a:pt x="59121" y="75733"/>
                  </a:cubicBezTo>
                  <a:cubicBezTo>
                    <a:pt x="59121" y="75733"/>
                    <a:pt x="59707" y="75733"/>
                    <a:pt x="60292" y="75733"/>
                  </a:cubicBezTo>
                  <a:cubicBezTo>
                    <a:pt x="60878" y="75733"/>
                    <a:pt x="62048" y="75733"/>
                    <a:pt x="62634" y="76266"/>
                  </a:cubicBezTo>
                  <a:cubicBezTo>
                    <a:pt x="63804" y="76800"/>
                    <a:pt x="63804" y="77866"/>
                    <a:pt x="63804" y="78400"/>
                  </a:cubicBezTo>
                  <a:cubicBezTo>
                    <a:pt x="63804" y="79466"/>
                    <a:pt x="63219" y="81066"/>
                    <a:pt x="63219" y="82666"/>
                  </a:cubicBezTo>
                  <a:cubicBezTo>
                    <a:pt x="62634" y="84266"/>
                    <a:pt x="62634" y="86400"/>
                    <a:pt x="62634" y="87466"/>
                  </a:cubicBezTo>
                  <a:cubicBezTo>
                    <a:pt x="63219" y="88000"/>
                    <a:pt x="63219" y="88000"/>
                    <a:pt x="63219" y="88000"/>
                  </a:cubicBezTo>
                  <a:cubicBezTo>
                    <a:pt x="64390" y="90133"/>
                    <a:pt x="64975" y="91200"/>
                    <a:pt x="65560" y="91733"/>
                  </a:cubicBezTo>
                  <a:cubicBezTo>
                    <a:pt x="65560" y="91733"/>
                    <a:pt x="66146" y="91200"/>
                    <a:pt x="66146" y="91200"/>
                  </a:cubicBezTo>
                  <a:cubicBezTo>
                    <a:pt x="67317" y="89600"/>
                    <a:pt x="67902" y="88533"/>
                    <a:pt x="69658" y="88533"/>
                  </a:cubicBezTo>
                  <a:cubicBezTo>
                    <a:pt x="70243" y="88533"/>
                    <a:pt x="70243" y="88533"/>
                    <a:pt x="70243" y="88533"/>
                  </a:cubicBezTo>
                  <a:cubicBezTo>
                    <a:pt x="72000" y="88533"/>
                    <a:pt x="74926" y="88533"/>
                    <a:pt x="76097" y="89600"/>
                  </a:cubicBezTo>
                  <a:cubicBezTo>
                    <a:pt x="76682" y="90133"/>
                    <a:pt x="76682" y="90666"/>
                    <a:pt x="76682" y="91200"/>
                  </a:cubicBezTo>
                  <a:cubicBezTo>
                    <a:pt x="76682" y="91733"/>
                    <a:pt x="76682" y="92266"/>
                    <a:pt x="76682" y="92800"/>
                  </a:cubicBezTo>
                  <a:cubicBezTo>
                    <a:pt x="76682" y="94400"/>
                    <a:pt x="76682" y="94400"/>
                    <a:pt x="77268" y="94400"/>
                  </a:cubicBezTo>
                  <a:cubicBezTo>
                    <a:pt x="77853" y="94400"/>
                    <a:pt x="78439" y="94400"/>
                    <a:pt x="79024" y="94400"/>
                  </a:cubicBezTo>
                  <a:cubicBezTo>
                    <a:pt x="80195" y="94400"/>
                    <a:pt x="82536" y="94933"/>
                    <a:pt x="82536" y="97600"/>
                  </a:cubicBezTo>
                  <a:cubicBezTo>
                    <a:pt x="82536" y="99200"/>
                    <a:pt x="81951" y="100800"/>
                    <a:pt x="80780" y="101866"/>
                  </a:cubicBezTo>
                  <a:cubicBezTo>
                    <a:pt x="80780" y="102933"/>
                    <a:pt x="80195" y="104000"/>
                    <a:pt x="79609" y="104533"/>
                  </a:cubicBezTo>
                  <a:cubicBezTo>
                    <a:pt x="80195" y="104533"/>
                    <a:pt x="80195" y="104533"/>
                    <a:pt x="80195" y="104533"/>
                  </a:cubicBezTo>
                  <a:cubicBezTo>
                    <a:pt x="84292" y="106133"/>
                    <a:pt x="87804" y="107733"/>
                    <a:pt x="88390" y="109333"/>
                  </a:cubicBezTo>
                  <a:cubicBezTo>
                    <a:pt x="88390" y="109866"/>
                    <a:pt x="88390" y="110933"/>
                    <a:pt x="88390" y="112000"/>
                  </a:cubicBezTo>
                  <a:cubicBezTo>
                    <a:pt x="88975" y="114666"/>
                    <a:pt x="88975" y="117333"/>
                    <a:pt x="90146" y="120000"/>
                  </a:cubicBezTo>
                  <a:cubicBezTo>
                    <a:pt x="90731" y="118933"/>
                    <a:pt x="92487" y="118400"/>
                    <a:pt x="94243" y="116800"/>
                  </a:cubicBezTo>
                  <a:cubicBezTo>
                    <a:pt x="95414" y="116266"/>
                    <a:pt x="97170" y="116800"/>
                    <a:pt x="98926" y="116800"/>
                  </a:cubicBezTo>
                  <a:cubicBezTo>
                    <a:pt x="99512" y="117333"/>
                    <a:pt x="100682" y="117333"/>
                    <a:pt x="100682" y="117333"/>
                  </a:cubicBezTo>
                  <a:cubicBezTo>
                    <a:pt x="101268" y="117333"/>
                    <a:pt x="102439" y="116266"/>
                    <a:pt x="103024" y="115200"/>
                  </a:cubicBezTo>
                  <a:cubicBezTo>
                    <a:pt x="104195" y="113066"/>
                    <a:pt x="105951" y="113066"/>
                    <a:pt x="108878" y="113066"/>
                  </a:cubicBezTo>
                  <a:cubicBezTo>
                    <a:pt x="110634" y="113066"/>
                    <a:pt x="111219" y="112000"/>
                    <a:pt x="111804" y="111466"/>
                  </a:cubicBezTo>
                  <a:cubicBezTo>
                    <a:pt x="112390" y="110933"/>
                    <a:pt x="112390" y="110933"/>
                    <a:pt x="112390" y="110933"/>
                  </a:cubicBezTo>
                  <a:cubicBezTo>
                    <a:pt x="112975" y="109866"/>
                    <a:pt x="117073" y="102933"/>
                    <a:pt x="118243" y="99200"/>
                  </a:cubicBezTo>
                  <a:cubicBezTo>
                    <a:pt x="118829" y="98133"/>
                    <a:pt x="118829" y="98133"/>
                    <a:pt x="118829" y="98133"/>
                  </a:cubicBezTo>
                  <a:cubicBezTo>
                    <a:pt x="119414" y="94933"/>
                    <a:pt x="120000" y="94400"/>
                    <a:pt x="119414" y="93333"/>
                  </a:cubicBezTo>
                  <a:cubicBezTo>
                    <a:pt x="118829" y="91733"/>
                    <a:pt x="115902" y="82133"/>
                    <a:pt x="115317" y="81066"/>
                  </a:cubicBezTo>
                  <a:cubicBezTo>
                    <a:pt x="114731" y="80533"/>
                    <a:pt x="114731" y="80000"/>
                    <a:pt x="114146" y="78400"/>
                  </a:cubicBezTo>
                  <a:cubicBezTo>
                    <a:pt x="112975" y="76266"/>
                    <a:pt x="111219" y="72533"/>
                    <a:pt x="110048" y="71466"/>
                  </a:cubicBezTo>
                  <a:cubicBezTo>
                    <a:pt x="110048" y="70933"/>
                    <a:pt x="107707" y="70400"/>
                    <a:pt x="105951" y="69866"/>
                  </a:cubicBezTo>
                  <a:cubicBezTo>
                    <a:pt x="103609" y="69333"/>
                    <a:pt x="101853" y="68800"/>
                    <a:pt x="100682" y="67733"/>
                  </a:cubicBezTo>
                  <a:cubicBezTo>
                    <a:pt x="98341" y="66133"/>
                    <a:pt x="79609" y="12266"/>
                    <a:pt x="79609" y="11733"/>
                  </a:cubicBezTo>
                  <a:cubicBezTo>
                    <a:pt x="79024" y="9066"/>
                    <a:pt x="80195" y="1600"/>
                    <a:pt x="80195" y="533"/>
                  </a:cubicBezTo>
                  <a:cubicBezTo>
                    <a:pt x="67902" y="533"/>
                    <a:pt x="58536" y="533"/>
                    <a:pt x="58536" y="533"/>
                  </a:cubicBezTo>
                  <a:cubicBezTo>
                    <a:pt x="55609" y="533"/>
                    <a:pt x="43317" y="0"/>
                    <a:pt x="45658" y="2666"/>
                  </a:cubicBezTo>
                  <a:cubicBezTo>
                    <a:pt x="47414" y="5866"/>
                    <a:pt x="52097" y="8000"/>
                    <a:pt x="53853" y="8000"/>
                  </a:cubicBezTo>
                  <a:cubicBezTo>
                    <a:pt x="55609" y="8533"/>
                    <a:pt x="57365" y="10133"/>
                    <a:pt x="55609" y="10666"/>
                  </a:cubicBezTo>
                  <a:cubicBezTo>
                    <a:pt x="53853" y="11200"/>
                    <a:pt x="49756" y="12800"/>
                    <a:pt x="49756" y="13866"/>
                  </a:cubicBezTo>
                  <a:cubicBezTo>
                    <a:pt x="49756" y="14933"/>
                    <a:pt x="46829" y="22933"/>
                    <a:pt x="49170" y="24533"/>
                  </a:cubicBezTo>
                  <a:cubicBezTo>
                    <a:pt x="51512" y="26666"/>
                    <a:pt x="57951" y="30933"/>
                    <a:pt x="57951" y="32533"/>
                  </a:cubicBezTo>
                  <a:cubicBezTo>
                    <a:pt x="57951" y="33600"/>
                    <a:pt x="57951" y="36800"/>
                    <a:pt x="57951" y="39466"/>
                  </a:cubicBezTo>
                  <a:cubicBezTo>
                    <a:pt x="60878" y="37866"/>
                    <a:pt x="60878" y="37866"/>
                    <a:pt x="60878" y="37866"/>
                  </a:cubicBezTo>
                  <a:cubicBezTo>
                    <a:pt x="61463" y="37866"/>
                    <a:pt x="62634" y="37866"/>
                    <a:pt x="62634" y="38400"/>
                  </a:cubicBezTo>
                  <a:cubicBezTo>
                    <a:pt x="63804" y="40000"/>
                    <a:pt x="63804" y="44800"/>
                    <a:pt x="62048" y="46400"/>
                  </a:cubicBezTo>
                  <a:cubicBezTo>
                    <a:pt x="61463" y="46933"/>
                    <a:pt x="61463" y="46933"/>
                    <a:pt x="61463" y="48000"/>
                  </a:cubicBezTo>
                  <a:cubicBezTo>
                    <a:pt x="61463" y="48000"/>
                    <a:pt x="61463" y="48533"/>
                    <a:pt x="61463" y="49066"/>
                  </a:cubicBezTo>
                  <a:cubicBezTo>
                    <a:pt x="61463" y="51200"/>
                    <a:pt x="59121" y="51733"/>
                    <a:pt x="56780" y="52266"/>
                  </a:cubicBezTo>
                  <a:cubicBezTo>
                    <a:pt x="56195" y="52266"/>
                    <a:pt x="56195" y="52266"/>
                    <a:pt x="56195" y="52266"/>
                  </a:cubicBezTo>
                  <a:cubicBezTo>
                    <a:pt x="55024" y="52800"/>
                    <a:pt x="54439" y="52800"/>
                    <a:pt x="53268" y="52800"/>
                  </a:cubicBezTo>
                  <a:cubicBezTo>
                    <a:pt x="51512" y="52800"/>
                    <a:pt x="50341" y="52266"/>
                    <a:pt x="47414" y="50666"/>
                  </a:cubicBezTo>
                  <a:cubicBezTo>
                    <a:pt x="47414" y="50666"/>
                    <a:pt x="47414" y="50666"/>
                    <a:pt x="47414" y="50133"/>
                  </a:cubicBezTo>
                  <a:cubicBezTo>
                    <a:pt x="46829" y="50666"/>
                    <a:pt x="45073" y="50666"/>
                    <a:pt x="44487" y="50133"/>
                  </a:cubicBezTo>
                  <a:cubicBezTo>
                    <a:pt x="43317" y="49066"/>
                    <a:pt x="43902" y="47466"/>
                    <a:pt x="44487" y="45333"/>
                  </a:cubicBezTo>
                  <a:cubicBezTo>
                    <a:pt x="45073" y="44266"/>
                    <a:pt x="45073" y="43733"/>
                    <a:pt x="45073" y="42666"/>
                  </a:cubicBezTo>
                  <a:cubicBezTo>
                    <a:pt x="45073" y="40533"/>
                    <a:pt x="47414" y="39466"/>
                    <a:pt x="48585" y="38933"/>
                  </a:cubicBezTo>
                  <a:cubicBezTo>
                    <a:pt x="49170" y="38933"/>
                    <a:pt x="49170" y="38933"/>
                    <a:pt x="49170" y="38933"/>
                  </a:cubicBezTo>
                  <a:cubicBezTo>
                    <a:pt x="48585" y="36266"/>
                    <a:pt x="46829" y="34133"/>
                    <a:pt x="45658" y="33600"/>
                  </a:cubicBezTo>
                  <a:cubicBezTo>
                    <a:pt x="42731" y="32533"/>
                    <a:pt x="37463" y="32000"/>
                    <a:pt x="36292" y="30400"/>
                  </a:cubicBezTo>
                  <a:cubicBezTo>
                    <a:pt x="35121" y="28266"/>
                    <a:pt x="30439" y="23466"/>
                    <a:pt x="28097" y="22933"/>
                  </a:cubicBezTo>
                  <a:cubicBezTo>
                    <a:pt x="25756" y="22400"/>
                    <a:pt x="24000" y="20800"/>
                    <a:pt x="22243" y="23466"/>
                  </a:cubicBezTo>
                  <a:cubicBezTo>
                    <a:pt x="20487" y="25600"/>
                    <a:pt x="20487" y="30400"/>
                    <a:pt x="18146" y="30400"/>
                  </a:cubicBezTo>
                  <a:cubicBezTo>
                    <a:pt x="15804" y="29866"/>
                    <a:pt x="9951" y="27200"/>
                    <a:pt x="7609" y="28800"/>
                  </a:cubicBezTo>
                  <a:cubicBezTo>
                    <a:pt x="5853" y="29866"/>
                    <a:pt x="2341" y="32000"/>
                    <a:pt x="0" y="32533"/>
                  </a:cubicBezTo>
                  <a:cubicBezTo>
                    <a:pt x="2341" y="34133"/>
                    <a:pt x="5268" y="36800"/>
                    <a:pt x="4682" y="38400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3" name="Shape 6977">
              <a:extLst>
                <a:ext uri="{FF2B5EF4-FFF2-40B4-BE49-F238E27FC236}">
                  <a16:creationId xmlns:a16="http://schemas.microsoft.com/office/drawing/2014/main" id="{920D5C0E-0E6C-41E4-ACC4-08DC92F6A4E0}"/>
                </a:ext>
              </a:extLst>
            </p:cNvPr>
            <p:cNvSpPr/>
            <p:nvPr/>
          </p:nvSpPr>
          <p:spPr>
            <a:xfrm>
              <a:off x="1372020" y="2848438"/>
              <a:ext cx="50164" cy="4012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41538" y="57142"/>
                  </a:moveTo>
                  <a:cubicBezTo>
                    <a:pt x="41538" y="45714"/>
                    <a:pt x="36923" y="28571"/>
                    <a:pt x="32307" y="5714"/>
                  </a:cubicBezTo>
                  <a:cubicBezTo>
                    <a:pt x="27692" y="11428"/>
                    <a:pt x="27692" y="11428"/>
                    <a:pt x="27692" y="11428"/>
                  </a:cubicBezTo>
                  <a:cubicBezTo>
                    <a:pt x="23076" y="11428"/>
                    <a:pt x="9230" y="17142"/>
                    <a:pt x="9230" y="28571"/>
                  </a:cubicBezTo>
                  <a:cubicBezTo>
                    <a:pt x="9230" y="40000"/>
                    <a:pt x="9230" y="51428"/>
                    <a:pt x="4615" y="62857"/>
                  </a:cubicBezTo>
                  <a:cubicBezTo>
                    <a:pt x="4615" y="68571"/>
                    <a:pt x="0" y="74285"/>
                    <a:pt x="0" y="85714"/>
                  </a:cubicBezTo>
                  <a:cubicBezTo>
                    <a:pt x="4615" y="80000"/>
                    <a:pt x="9230" y="80000"/>
                    <a:pt x="23076" y="97142"/>
                  </a:cubicBezTo>
                  <a:cubicBezTo>
                    <a:pt x="46153" y="114285"/>
                    <a:pt x="55384" y="120000"/>
                    <a:pt x="73846" y="114285"/>
                  </a:cubicBezTo>
                  <a:cubicBezTo>
                    <a:pt x="78461" y="108571"/>
                    <a:pt x="78461" y="108571"/>
                    <a:pt x="78461" y="108571"/>
                  </a:cubicBezTo>
                  <a:cubicBezTo>
                    <a:pt x="92307" y="102857"/>
                    <a:pt x="101538" y="102857"/>
                    <a:pt x="101538" y="97142"/>
                  </a:cubicBezTo>
                  <a:cubicBezTo>
                    <a:pt x="101538" y="91428"/>
                    <a:pt x="101538" y="91428"/>
                    <a:pt x="101538" y="85714"/>
                  </a:cubicBezTo>
                  <a:cubicBezTo>
                    <a:pt x="101538" y="74285"/>
                    <a:pt x="101538" y="62857"/>
                    <a:pt x="110769" y="51428"/>
                  </a:cubicBezTo>
                  <a:cubicBezTo>
                    <a:pt x="120000" y="40000"/>
                    <a:pt x="120000" y="17142"/>
                    <a:pt x="120000" y="0"/>
                  </a:cubicBezTo>
                  <a:cubicBezTo>
                    <a:pt x="96923" y="17142"/>
                    <a:pt x="96923" y="17142"/>
                    <a:pt x="96923" y="17142"/>
                  </a:cubicBezTo>
                  <a:cubicBezTo>
                    <a:pt x="96923" y="17142"/>
                    <a:pt x="96923" y="17142"/>
                    <a:pt x="92307" y="17142"/>
                  </a:cubicBezTo>
                  <a:cubicBezTo>
                    <a:pt x="92307" y="22857"/>
                    <a:pt x="92307" y="28571"/>
                    <a:pt x="92307" y="28571"/>
                  </a:cubicBezTo>
                  <a:cubicBezTo>
                    <a:pt x="83076" y="34285"/>
                    <a:pt x="46153" y="85714"/>
                    <a:pt x="41538" y="57142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4" name="Shape 6978">
              <a:extLst>
                <a:ext uri="{FF2B5EF4-FFF2-40B4-BE49-F238E27FC236}">
                  <a16:creationId xmlns:a16="http://schemas.microsoft.com/office/drawing/2014/main" id="{E4ADACFF-1F0D-459E-B4B0-20E54FAA8948}"/>
                </a:ext>
              </a:extLst>
            </p:cNvPr>
            <p:cNvSpPr/>
            <p:nvPr/>
          </p:nvSpPr>
          <p:spPr>
            <a:xfrm>
              <a:off x="1972077" y="2112168"/>
              <a:ext cx="480430" cy="60002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44485"/>
                  </a:moveTo>
                  <a:cubicBezTo>
                    <a:pt x="1445" y="45233"/>
                    <a:pt x="12048" y="51214"/>
                    <a:pt x="13493" y="52336"/>
                  </a:cubicBezTo>
                  <a:cubicBezTo>
                    <a:pt x="13975" y="52710"/>
                    <a:pt x="14457" y="53084"/>
                    <a:pt x="14939" y="53457"/>
                  </a:cubicBezTo>
                  <a:cubicBezTo>
                    <a:pt x="16385" y="54579"/>
                    <a:pt x="17831" y="55327"/>
                    <a:pt x="17831" y="56822"/>
                  </a:cubicBezTo>
                  <a:cubicBezTo>
                    <a:pt x="17349" y="57196"/>
                    <a:pt x="17349" y="57943"/>
                    <a:pt x="16867" y="58691"/>
                  </a:cubicBezTo>
                  <a:cubicBezTo>
                    <a:pt x="15903" y="60186"/>
                    <a:pt x="14457" y="63177"/>
                    <a:pt x="14939" y="63925"/>
                  </a:cubicBezTo>
                  <a:cubicBezTo>
                    <a:pt x="15421" y="64299"/>
                    <a:pt x="15903" y="65046"/>
                    <a:pt x="15903" y="65420"/>
                  </a:cubicBezTo>
                  <a:cubicBezTo>
                    <a:pt x="16867" y="66542"/>
                    <a:pt x="16867" y="66915"/>
                    <a:pt x="17349" y="66915"/>
                  </a:cubicBezTo>
                  <a:cubicBezTo>
                    <a:pt x="18313" y="66915"/>
                    <a:pt x="18795" y="66542"/>
                    <a:pt x="19759" y="66168"/>
                  </a:cubicBezTo>
                  <a:cubicBezTo>
                    <a:pt x="21204" y="65420"/>
                    <a:pt x="22650" y="64672"/>
                    <a:pt x="24096" y="65794"/>
                  </a:cubicBezTo>
                  <a:cubicBezTo>
                    <a:pt x="25060" y="66542"/>
                    <a:pt x="28915" y="67663"/>
                    <a:pt x="30361" y="67663"/>
                  </a:cubicBezTo>
                  <a:cubicBezTo>
                    <a:pt x="30843" y="67663"/>
                    <a:pt x="30843" y="67663"/>
                    <a:pt x="31325" y="67663"/>
                  </a:cubicBezTo>
                  <a:cubicBezTo>
                    <a:pt x="30843" y="65794"/>
                    <a:pt x="30361" y="64299"/>
                    <a:pt x="30361" y="63177"/>
                  </a:cubicBezTo>
                  <a:cubicBezTo>
                    <a:pt x="29397" y="60934"/>
                    <a:pt x="30361" y="60186"/>
                    <a:pt x="31325" y="59813"/>
                  </a:cubicBezTo>
                  <a:cubicBezTo>
                    <a:pt x="32771" y="59439"/>
                    <a:pt x="34216" y="57196"/>
                    <a:pt x="35180" y="55700"/>
                  </a:cubicBezTo>
                  <a:cubicBezTo>
                    <a:pt x="36144" y="54205"/>
                    <a:pt x="38072" y="56822"/>
                    <a:pt x="39036" y="57943"/>
                  </a:cubicBezTo>
                  <a:cubicBezTo>
                    <a:pt x="40000" y="59065"/>
                    <a:pt x="38554" y="59813"/>
                    <a:pt x="37590" y="60560"/>
                  </a:cubicBezTo>
                  <a:cubicBezTo>
                    <a:pt x="36144" y="61308"/>
                    <a:pt x="35662" y="62803"/>
                    <a:pt x="34698" y="65420"/>
                  </a:cubicBezTo>
                  <a:cubicBezTo>
                    <a:pt x="34216" y="67663"/>
                    <a:pt x="37108" y="68411"/>
                    <a:pt x="39036" y="69532"/>
                  </a:cubicBezTo>
                  <a:cubicBezTo>
                    <a:pt x="40963" y="70654"/>
                    <a:pt x="41927" y="76261"/>
                    <a:pt x="41927" y="78130"/>
                  </a:cubicBezTo>
                  <a:cubicBezTo>
                    <a:pt x="41927" y="80000"/>
                    <a:pt x="44337" y="81869"/>
                    <a:pt x="45783" y="82990"/>
                  </a:cubicBezTo>
                  <a:cubicBezTo>
                    <a:pt x="47228" y="84112"/>
                    <a:pt x="48674" y="91214"/>
                    <a:pt x="50120" y="93457"/>
                  </a:cubicBezTo>
                  <a:cubicBezTo>
                    <a:pt x="51566" y="96074"/>
                    <a:pt x="55421" y="98691"/>
                    <a:pt x="57349" y="99813"/>
                  </a:cubicBezTo>
                  <a:cubicBezTo>
                    <a:pt x="59277" y="101308"/>
                    <a:pt x="58313" y="105420"/>
                    <a:pt x="58795" y="107289"/>
                  </a:cubicBezTo>
                  <a:cubicBezTo>
                    <a:pt x="59277" y="109532"/>
                    <a:pt x="62168" y="111028"/>
                    <a:pt x="64096" y="112897"/>
                  </a:cubicBezTo>
                  <a:cubicBezTo>
                    <a:pt x="66024" y="114766"/>
                    <a:pt x="81927" y="120000"/>
                    <a:pt x="83855" y="120000"/>
                  </a:cubicBezTo>
                  <a:cubicBezTo>
                    <a:pt x="86265" y="120000"/>
                    <a:pt x="92048" y="118878"/>
                    <a:pt x="93975" y="118130"/>
                  </a:cubicBezTo>
                  <a:cubicBezTo>
                    <a:pt x="95903" y="117757"/>
                    <a:pt x="98795" y="118130"/>
                    <a:pt x="102650" y="117757"/>
                  </a:cubicBezTo>
                  <a:cubicBezTo>
                    <a:pt x="106024" y="117757"/>
                    <a:pt x="111807" y="111028"/>
                    <a:pt x="112771" y="110280"/>
                  </a:cubicBezTo>
                  <a:cubicBezTo>
                    <a:pt x="113253" y="109532"/>
                    <a:pt x="116144" y="106168"/>
                    <a:pt x="118072" y="103177"/>
                  </a:cubicBezTo>
                  <a:cubicBezTo>
                    <a:pt x="119518" y="100186"/>
                    <a:pt x="120000" y="89719"/>
                    <a:pt x="120000" y="88224"/>
                  </a:cubicBezTo>
                  <a:cubicBezTo>
                    <a:pt x="120000" y="86355"/>
                    <a:pt x="116144" y="84485"/>
                    <a:pt x="114698" y="83364"/>
                  </a:cubicBezTo>
                  <a:cubicBezTo>
                    <a:pt x="113253" y="81869"/>
                    <a:pt x="114216" y="77009"/>
                    <a:pt x="114216" y="75887"/>
                  </a:cubicBezTo>
                  <a:cubicBezTo>
                    <a:pt x="114216" y="74766"/>
                    <a:pt x="112771" y="72523"/>
                    <a:pt x="112289" y="71401"/>
                  </a:cubicBezTo>
                  <a:cubicBezTo>
                    <a:pt x="111325" y="70280"/>
                    <a:pt x="113253" y="65794"/>
                    <a:pt x="113734" y="64299"/>
                  </a:cubicBezTo>
                  <a:cubicBezTo>
                    <a:pt x="114216" y="62803"/>
                    <a:pt x="113734" y="54205"/>
                    <a:pt x="112771" y="52710"/>
                  </a:cubicBezTo>
                  <a:cubicBezTo>
                    <a:pt x="111325" y="51214"/>
                    <a:pt x="108915" y="47850"/>
                    <a:pt x="106987" y="46355"/>
                  </a:cubicBezTo>
                  <a:cubicBezTo>
                    <a:pt x="105060" y="44859"/>
                    <a:pt x="105542" y="41869"/>
                    <a:pt x="105542" y="40373"/>
                  </a:cubicBezTo>
                  <a:cubicBezTo>
                    <a:pt x="105542" y="38504"/>
                    <a:pt x="102650" y="38130"/>
                    <a:pt x="101204" y="37009"/>
                  </a:cubicBezTo>
                  <a:cubicBezTo>
                    <a:pt x="100240" y="36261"/>
                    <a:pt x="100240" y="34392"/>
                    <a:pt x="100240" y="32149"/>
                  </a:cubicBezTo>
                  <a:cubicBezTo>
                    <a:pt x="100240" y="29906"/>
                    <a:pt x="92530" y="26915"/>
                    <a:pt x="90602" y="26168"/>
                  </a:cubicBezTo>
                  <a:cubicBezTo>
                    <a:pt x="88674" y="25420"/>
                    <a:pt x="90120" y="22803"/>
                    <a:pt x="90602" y="21308"/>
                  </a:cubicBezTo>
                  <a:cubicBezTo>
                    <a:pt x="90602" y="20186"/>
                    <a:pt x="89156" y="18691"/>
                    <a:pt x="88674" y="16822"/>
                  </a:cubicBezTo>
                  <a:cubicBezTo>
                    <a:pt x="88674" y="14953"/>
                    <a:pt x="90602" y="14953"/>
                    <a:pt x="92048" y="13831"/>
                  </a:cubicBezTo>
                  <a:cubicBezTo>
                    <a:pt x="93493" y="13084"/>
                    <a:pt x="96867" y="17196"/>
                    <a:pt x="99277" y="18691"/>
                  </a:cubicBezTo>
                  <a:cubicBezTo>
                    <a:pt x="101686" y="19813"/>
                    <a:pt x="100722" y="17943"/>
                    <a:pt x="100240" y="16448"/>
                  </a:cubicBezTo>
                  <a:cubicBezTo>
                    <a:pt x="99277" y="14953"/>
                    <a:pt x="98313" y="11962"/>
                    <a:pt x="98313" y="10093"/>
                  </a:cubicBezTo>
                  <a:cubicBezTo>
                    <a:pt x="97831" y="8224"/>
                    <a:pt x="88192" y="8598"/>
                    <a:pt x="88192" y="8598"/>
                  </a:cubicBezTo>
                  <a:cubicBezTo>
                    <a:pt x="86746" y="8598"/>
                    <a:pt x="84819" y="10093"/>
                    <a:pt x="85301" y="8224"/>
                  </a:cubicBezTo>
                  <a:cubicBezTo>
                    <a:pt x="85301" y="5981"/>
                    <a:pt x="87228" y="3364"/>
                    <a:pt x="85301" y="4112"/>
                  </a:cubicBezTo>
                  <a:cubicBezTo>
                    <a:pt x="82891" y="5233"/>
                    <a:pt x="81445" y="6728"/>
                    <a:pt x="80000" y="5981"/>
                  </a:cubicBezTo>
                  <a:cubicBezTo>
                    <a:pt x="78072" y="5233"/>
                    <a:pt x="76144" y="3364"/>
                    <a:pt x="73734" y="3364"/>
                  </a:cubicBezTo>
                  <a:cubicBezTo>
                    <a:pt x="71325" y="3364"/>
                    <a:pt x="69397" y="4112"/>
                    <a:pt x="67951" y="3364"/>
                  </a:cubicBezTo>
                  <a:cubicBezTo>
                    <a:pt x="66987" y="2616"/>
                    <a:pt x="60722" y="0"/>
                    <a:pt x="58313" y="747"/>
                  </a:cubicBezTo>
                  <a:cubicBezTo>
                    <a:pt x="55421" y="1495"/>
                    <a:pt x="33253" y="9719"/>
                    <a:pt x="33734" y="11214"/>
                  </a:cubicBezTo>
                  <a:cubicBezTo>
                    <a:pt x="34216" y="12336"/>
                    <a:pt x="34216" y="23177"/>
                    <a:pt x="33734" y="24299"/>
                  </a:cubicBezTo>
                  <a:cubicBezTo>
                    <a:pt x="33253" y="25794"/>
                    <a:pt x="31325" y="31028"/>
                    <a:pt x="27951" y="31401"/>
                  </a:cubicBezTo>
                  <a:cubicBezTo>
                    <a:pt x="24578" y="31775"/>
                    <a:pt x="11566" y="31775"/>
                    <a:pt x="10120" y="32523"/>
                  </a:cubicBezTo>
                  <a:cubicBezTo>
                    <a:pt x="8674" y="32897"/>
                    <a:pt x="963" y="38878"/>
                    <a:pt x="963" y="40373"/>
                  </a:cubicBezTo>
                  <a:cubicBezTo>
                    <a:pt x="963" y="41495"/>
                    <a:pt x="481" y="43364"/>
                    <a:pt x="0" y="44485"/>
                  </a:cubicBezTo>
                  <a:cubicBezTo>
                    <a:pt x="0" y="44485"/>
                    <a:pt x="0" y="44485"/>
                    <a:pt x="0" y="44485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5" name="Shape 6979">
              <a:extLst>
                <a:ext uri="{FF2B5EF4-FFF2-40B4-BE49-F238E27FC236}">
                  <a16:creationId xmlns:a16="http://schemas.microsoft.com/office/drawing/2014/main" id="{D5EDE0BE-3409-46C9-9918-BBBBF8878565}"/>
                </a:ext>
              </a:extLst>
            </p:cNvPr>
            <p:cNvSpPr/>
            <p:nvPr/>
          </p:nvSpPr>
          <p:spPr>
            <a:xfrm>
              <a:off x="975519" y="2818576"/>
              <a:ext cx="274945" cy="41525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3521" y="84324"/>
                  </a:moveTo>
                  <a:cubicBezTo>
                    <a:pt x="13521" y="85945"/>
                    <a:pt x="5915" y="95135"/>
                    <a:pt x="10140" y="95675"/>
                  </a:cubicBezTo>
                  <a:cubicBezTo>
                    <a:pt x="15211" y="96216"/>
                    <a:pt x="18591" y="97297"/>
                    <a:pt x="19436" y="97837"/>
                  </a:cubicBezTo>
                  <a:cubicBezTo>
                    <a:pt x="21126" y="98918"/>
                    <a:pt x="29577" y="102702"/>
                    <a:pt x="29577" y="104324"/>
                  </a:cubicBezTo>
                  <a:cubicBezTo>
                    <a:pt x="29577" y="105405"/>
                    <a:pt x="30422" y="110810"/>
                    <a:pt x="28732" y="114594"/>
                  </a:cubicBezTo>
                  <a:cubicBezTo>
                    <a:pt x="32112" y="114054"/>
                    <a:pt x="36338" y="113513"/>
                    <a:pt x="38028" y="114594"/>
                  </a:cubicBezTo>
                  <a:cubicBezTo>
                    <a:pt x="38028" y="115135"/>
                    <a:pt x="38873" y="115675"/>
                    <a:pt x="39718" y="116216"/>
                  </a:cubicBezTo>
                  <a:cubicBezTo>
                    <a:pt x="41408" y="117297"/>
                    <a:pt x="43943" y="120000"/>
                    <a:pt x="44788" y="120000"/>
                  </a:cubicBezTo>
                  <a:cubicBezTo>
                    <a:pt x="45633" y="120000"/>
                    <a:pt x="46478" y="118918"/>
                    <a:pt x="46478" y="118378"/>
                  </a:cubicBezTo>
                  <a:cubicBezTo>
                    <a:pt x="47323" y="116756"/>
                    <a:pt x="48169" y="115135"/>
                    <a:pt x="50704" y="115135"/>
                  </a:cubicBezTo>
                  <a:cubicBezTo>
                    <a:pt x="52394" y="115135"/>
                    <a:pt x="53239" y="115135"/>
                    <a:pt x="53239" y="115135"/>
                  </a:cubicBezTo>
                  <a:cubicBezTo>
                    <a:pt x="54929" y="115135"/>
                    <a:pt x="55774" y="115135"/>
                    <a:pt x="56619" y="114054"/>
                  </a:cubicBezTo>
                  <a:cubicBezTo>
                    <a:pt x="60000" y="112972"/>
                    <a:pt x="63380" y="109729"/>
                    <a:pt x="63380" y="108648"/>
                  </a:cubicBezTo>
                  <a:cubicBezTo>
                    <a:pt x="63380" y="108648"/>
                    <a:pt x="63380" y="108648"/>
                    <a:pt x="63380" y="108108"/>
                  </a:cubicBezTo>
                  <a:cubicBezTo>
                    <a:pt x="63380" y="100540"/>
                    <a:pt x="64225" y="97297"/>
                    <a:pt x="66760" y="96756"/>
                  </a:cubicBezTo>
                  <a:cubicBezTo>
                    <a:pt x="70985" y="95675"/>
                    <a:pt x="71830" y="94594"/>
                    <a:pt x="71830" y="94594"/>
                  </a:cubicBezTo>
                  <a:cubicBezTo>
                    <a:pt x="71830" y="94594"/>
                    <a:pt x="71830" y="94594"/>
                    <a:pt x="70985" y="94054"/>
                  </a:cubicBezTo>
                  <a:cubicBezTo>
                    <a:pt x="70985" y="92972"/>
                    <a:pt x="70140" y="90270"/>
                    <a:pt x="73521" y="89189"/>
                  </a:cubicBezTo>
                  <a:cubicBezTo>
                    <a:pt x="75211" y="88648"/>
                    <a:pt x="78591" y="87567"/>
                    <a:pt x="80281" y="86486"/>
                  </a:cubicBezTo>
                  <a:cubicBezTo>
                    <a:pt x="79436" y="85945"/>
                    <a:pt x="78591" y="84864"/>
                    <a:pt x="77746" y="84324"/>
                  </a:cubicBezTo>
                  <a:cubicBezTo>
                    <a:pt x="76901" y="83783"/>
                    <a:pt x="76901" y="83243"/>
                    <a:pt x="76056" y="83243"/>
                  </a:cubicBezTo>
                  <a:cubicBezTo>
                    <a:pt x="76056" y="82702"/>
                    <a:pt x="76056" y="82162"/>
                    <a:pt x="76056" y="81621"/>
                  </a:cubicBezTo>
                  <a:cubicBezTo>
                    <a:pt x="76901" y="80000"/>
                    <a:pt x="83661" y="77297"/>
                    <a:pt x="85352" y="76756"/>
                  </a:cubicBezTo>
                  <a:cubicBezTo>
                    <a:pt x="86197" y="76756"/>
                    <a:pt x="87042" y="75675"/>
                    <a:pt x="87042" y="74594"/>
                  </a:cubicBezTo>
                  <a:cubicBezTo>
                    <a:pt x="87042" y="74054"/>
                    <a:pt x="87042" y="73513"/>
                    <a:pt x="87042" y="72972"/>
                  </a:cubicBezTo>
                  <a:cubicBezTo>
                    <a:pt x="87887" y="71891"/>
                    <a:pt x="89577" y="70810"/>
                    <a:pt x="92112" y="70270"/>
                  </a:cubicBezTo>
                  <a:cubicBezTo>
                    <a:pt x="92112" y="70270"/>
                    <a:pt x="92957" y="69729"/>
                    <a:pt x="93802" y="69189"/>
                  </a:cubicBezTo>
                  <a:cubicBezTo>
                    <a:pt x="94647" y="68648"/>
                    <a:pt x="95492" y="67567"/>
                    <a:pt x="96338" y="67027"/>
                  </a:cubicBezTo>
                  <a:cubicBezTo>
                    <a:pt x="97183" y="66486"/>
                    <a:pt x="97183" y="66486"/>
                    <a:pt x="97183" y="66486"/>
                  </a:cubicBezTo>
                  <a:cubicBezTo>
                    <a:pt x="99718" y="65405"/>
                    <a:pt x="102253" y="64324"/>
                    <a:pt x="104788" y="63243"/>
                  </a:cubicBezTo>
                  <a:cubicBezTo>
                    <a:pt x="107323" y="62702"/>
                    <a:pt x="107323" y="60000"/>
                    <a:pt x="107323" y="58918"/>
                  </a:cubicBezTo>
                  <a:cubicBezTo>
                    <a:pt x="107323" y="58378"/>
                    <a:pt x="105633" y="57297"/>
                    <a:pt x="103943" y="56756"/>
                  </a:cubicBezTo>
                  <a:cubicBezTo>
                    <a:pt x="101408" y="55135"/>
                    <a:pt x="98873" y="54054"/>
                    <a:pt x="98873" y="52972"/>
                  </a:cubicBezTo>
                  <a:cubicBezTo>
                    <a:pt x="98873" y="51351"/>
                    <a:pt x="100563" y="50810"/>
                    <a:pt x="102253" y="50270"/>
                  </a:cubicBezTo>
                  <a:cubicBezTo>
                    <a:pt x="103098" y="50270"/>
                    <a:pt x="103943" y="49729"/>
                    <a:pt x="104788" y="49189"/>
                  </a:cubicBezTo>
                  <a:cubicBezTo>
                    <a:pt x="105633" y="49189"/>
                    <a:pt x="105633" y="48648"/>
                    <a:pt x="104788" y="48108"/>
                  </a:cubicBezTo>
                  <a:cubicBezTo>
                    <a:pt x="104788" y="47567"/>
                    <a:pt x="103943" y="46486"/>
                    <a:pt x="103943" y="45945"/>
                  </a:cubicBezTo>
                  <a:cubicBezTo>
                    <a:pt x="103943" y="43243"/>
                    <a:pt x="107323" y="42702"/>
                    <a:pt x="109859" y="41621"/>
                  </a:cubicBezTo>
                  <a:cubicBezTo>
                    <a:pt x="109859" y="41621"/>
                    <a:pt x="109859" y="41621"/>
                    <a:pt x="109859" y="41621"/>
                  </a:cubicBezTo>
                  <a:cubicBezTo>
                    <a:pt x="111549" y="41081"/>
                    <a:pt x="114084" y="41081"/>
                    <a:pt x="117464" y="41081"/>
                  </a:cubicBezTo>
                  <a:cubicBezTo>
                    <a:pt x="117464" y="40000"/>
                    <a:pt x="117464" y="38378"/>
                    <a:pt x="115774" y="34054"/>
                  </a:cubicBezTo>
                  <a:cubicBezTo>
                    <a:pt x="114929" y="32432"/>
                    <a:pt x="116619" y="31351"/>
                    <a:pt x="117464" y="30270"/>
                  </a:cubicBezTo>
                  <a:cubicBezTo>
                    <a:pt x="118309" y="29729"/>
                    <a:pt x="119154" y="28648"/>
                    <a:pt x="119154" y="28108"/>
                  </a:cubicBezTo>
                  <a:cubicBezTo>
                    <a:pt x="120000" y="26486"/>
                    <a:pt x="119154" y="25945"/>
                    <a:pt x="117464" y="24324"/>
                  </a:cubicBezTo>
                  <a:cubicBezTo>
                    <a:pt x="117464" y="24324"/>
                    <a:pt x="116619" y="23783"/>
                    <a:pt x="116619" y="23243"/>
                  </a:cubicBezTo>
                  <a:cubicBezTo>
                    <a:pt x="114929" y="21621"/>
                    <a:pt x="114929" y="20540"/>
                    <a:pt x="114929" y="19459"/>
                  </a:cubicBezTo>
                  <a:cubicBezTo>
                    <a:pt x="114929" y="18918"/>
                    <a:pt x="114929" y="18378"/>
                    <a:pt x="114084" y="17297"/>
                  </a:cubicBezTo>
                  <a:cubicBezTo>
                    <a:pt x="114084" y="16216"/>
                    <a:pt x="110704" y="14054"/>
                    <a:pt x="109014" y="12972"/>
                  </a:cubicBezTo>
                  <a:cubicBezTo>
                    <a:pt x="108169" y="12432"/>
                    <a:pt x="108169" y="12432"/>
                    <a:pt x="108169" y="12432"/>
                  </a:cubicBezTo>
                  <a:cubicBezTo>
                    <a:pt x="106478" y="10810"/>
                    <a:pt x="107323" y="9189"/>
                    <a:pt x="109014" y="7567"/>
                  </a:cubicBezTo>
                  <a:cubicBezTo>
                    <a:pt x="109014" y="7027"/>
                    <a:pt x="109859" y="6486"/>
                    <a:pt x="109859" y="6486"/>
                  </a:cubicBezTo>
                  <a:cubicBezTo>
                    <a:pt x="109859" y="5945"/>
                    <a:pt x="106478" y="3783"/>
                    <a:pt x="103943" y="2162"/>
                  </a:cubicBezTo>
                  <a:cubicBezTo>
                    <a:pt x="103098" y="2162"/>
                    <a:pt x="103098" y="1621"/>
                    <a:pt x="103098" y="1081"/>
                  </a:cubicBezTo>
                  <a:cubicBezTo>
                    <a:pt x="98873" y="540"/>
                    <a:pt x="91267" y="0"/>
                    <a:pt x="90422" y="2162"/>
                  </a:cubicBezTo>
                  <a:cubicBezTo>
                    <a:pt x="88732" y="4864"/>
                    <a:pt x="82816" y="9189"/>
                    <a:pt x="81126" y="9729"/>
                  </a:cubicBezTo>
                  <a:cubicBezTo>
                    <a:pt x="79436" y="10270"/>
                    <a:pt x="68450" y="11351"/>
                    <a:pt x="68450" y="13513"/>
                  </a:cubicBezTo>
                  <a:cubicBezTo>
                    <a:pt x="68450" y="16216"/>
                    <a:pt x="68450" y="18378"/>
                    <a:pt x="66760" y="19459"/>
                  </a:cubicBezTo>
                  <a:cubicBezTo>
                    <a:pt x="65070" y="21081"/>
                    <a:pt x="65070" y="23243"/>
                    <a:pt x="60000" y="23243"/>
                  </a:cubicBezTo>
                  <a:cubicBezTo>
                    <a:pt x="54929" y="23783"/>
                    <a:pt x="49014" y="23243"/>
                    <a:pt x="47323" y="24324"/>
                  </a:cubicBezTo>
                  <a:cubicBezTo>
                    <a:pt x="45633" y="25405"/>
                    <a:pt x="41408" y="26486"/>
                    <a:pt x="41408" y="28648"/>
                  </a:cubicBezTo>
                  <a:cubicBezTo>
                    <a:pt x="40563" y="30810"/>
                    <a:pt x="41408" y="35135"/>
                    <a:pt x="39718" y="36756"/>
                  </a:cubicBezTo>
                  <a:cubicBezTo>
                    <a:pt x="37183" y="38378"/>
                    <a:pt x="28732" y="40540"/>
                    <a:pt x="27042" y="42162"/>
                  </a:cubicBezTo>
                  <a:cubicBezTo>
                    <a:pt x="24507" y="43243"/>
                    <a:pt x="17746" y="43243"/>
                    <a:pt x="18591" y="45405"/>
                  </a:cubicBezTo>
                  <a:cubicBezTo>
                    <a:pt x="18591" y="47027"/>
                    <a:pt x="21126" y="49729"/>
                    <a:pt x="19436" y="51351"/>
                  </a:cubicBezTo>
                  <a:cubicBezTo>
                    <a:pt x="16901" y="52972"/>
                    <a:pt x="15211" y="58918"/>
                    <a:pt x="11830" y="60000"/>
                  </a:cubicBezTo>
                  <a:cubicBezTo>
                    <a:pt x="7605" y="61621"/>
                    <a:pt x="1690" y="64864"/>
                    <a:pt x="1690" y="65945"/>
                  </a:cubicBezTo>
                  <a:cubicBezTo>
                    <a:pt x="845" y="66486"/>
                    <a:pt x="0" y="71891"/>
                    <a:pt x="2535" y="75135"/>
                  </a:cubicBezTo>
                  <a:cubicBezTo>
                    <a:pt x="5915" y="77837"/>
                    <a:pt x="13521" y="83243"/>
                    <a:pt x="13521" y="84324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6" name="Shape 6980">
              <a:extLst>
                <a:ext uri="{FF2B5EF4-FFF2-40B4-BE49-F238E27FC236}">
                  <a16:creationId xmlns:a16="http://schemas.microsoft.com/office/drawing/2014/main" id="{133C38B6-28AC-4E95-A86F-EE0161723DD5}"/>
                </a:ext>
              </a:extLst>
            </p:cNvPr>
            <p:cNvSpPr/>
            <p:nvPr/>
          </p:nvSpPr>
          <p:spPr>
            <a:xfrm>
              <a:off x="2479520" y="2596948"/>
              <a:ext cx="990767" cy="56829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233" y="48157"/>
                  </a:moveTo>
                  <a:cubicBezTo>
                    <a:pt x="233" y="48552"/>
                    <a:pt x="0" y="49342"/>
                    <a:pt x="233" y="49736"/>
                  </a:cubicBezTo>
                  <a:cubicBezTo>
                    <a:pt x="467" y="49736"/>
                    <a:pt x="467" y="50131"/>
                    <a:pt x="701" y="50526"/>
                  </a:cubicBezTo>
                  <a:cubicBezTo>
                    <a:pt x="1169" y="50921"/>
                    <a:pt x="1403" y="51315"/>
                    <a:pt x="1637" y="52105"/>
                  </a:cubicBezTo>
                  <a:cubicBezTo>
                    <a:pt x="1871" y="52894"/>
                    <a:pt x="2105" y="53684"/>
                    <a:pt x="2339" y="54868"/>
                  </a:cubicBezTo>
                  <a:cubicBezTo>
                    <a:pt x="2339" y="55263"/>
                    <a:pt x="2339" y="55657"/>
                    <a:pt x="2339" y="56052"/>
                  </a:cubicBezTo>
                  <a:cubicBezTo>
                    <a:pt x="2573" y="56447"/>
                    <a:pt x="2573" y="57236"/>
                    <a:pt x="2573" y="58026"/>
                  </a:cubicBezTo>
                  <a:cubicBezTo>
                    <a:pt x="2807" y="59210"/>
                    <a:pt x="2807" y="60394"/>
                    <a:pt x="3040" y="60789"/>
                  </a:cubicBezTo>
                  <a:cubicBezTo>
                    <a:pt x="3508" y="61578"/>
                    <a:pt x="5146" y="64736"/>
                    <a:pt x="5847" y="65526"/>
                  </a:cubicBezTo>
                  <a:cubicBezTo>
                    <a:pt x="6081" y="65526"/>
                    <a:pt x="6081" y="65526"/>
                    <a:pt x="6315" y="65921"/>
                  </a:cubicBezTo>
                  <a:cubicBezTo>
                    <a:pt x="6783" y="65921"/>
                    <a:pt x="7251" y="66315"/>
                    <a:pt x="7251" y="67500"/>
                  </a:cubicBezTo>
                  <a:cubicBezTo>
                    <a:pt x="7251" y="68684"/>
                    <a:pt x="7485" y="71447"/>
                    <a:pt x="7719" y="72236"/>
                  </a:cubicBezTo>
                  <a:cubicBezTo>
                    <a:pt x="7953" y="73026"/>
                    <a:pt x="9590" y="76578"/>
                    <a:pt x="10058" y="77368"/>
                  </a:cubicBezTo>
                  <a:cubicBezTo>
                    <a:pt x="10760" y="78157"/>
                    <a:pt x="12397" y="79342"/>
                    <a:pt x="12865" y="78947"/>
                  </a:cubicBezTo>
                  <a:cubicBezTo>
                    <a:pt x="13099" y="78947"/>
                    <a:pt x="13333" y="78552"/>
                    <a:pt x="13567" y="78157"/>
                  </a:cubicBezTo>
                  <a:cubicBezTo>
                    <a:pt x="13801" y="77368"/>
                    <a:pt x="14269" y="76578"/>
                    <a:pt x="15204" y="76578"/>
                  </a:cubicBezTo>
                  <a:cubicBezTo>
                    <a:pt x="16140" y="76578"/>
                    <a:pt x="17543" y="77368"/>
                    <a:pt x="18011" y="77763"/>
                  </a:cubicBezTo>
                  <a:cubicBezTo>
                    <a:pt x="18479" y="78157"/>
                    <a:pt x="19181" y="78947"/>
                    <a:pt x="19883" y="80921"/>
                  </a:cubicBezTo>
                  <a:cubicBezTo>
                    <a:pt x="21052" y="80526"/>
                    <a:pt x="23391" y="80526"/>
                    <a:pt x="24795" y="80526"/>
                  </a:cubicBezTo>
                  <a:cubicBezTo>
                    <a:pt x="29005" y="80921"/>
                    <a:pt x="35555" y="81315"/>
                    <a:pt x="36257" y="81315"/>
                  </a:cubicBezTo>
                  <a:cubicBezTo>
                    <a:pt x="36491" y="80921"/>
                    <a:pt x="36959" y="80526"/>
                    <a:pt x="37192" y="79736"/>
                  </a:cubicBezTo>
                  <a:cubicBezTo>
                    <a:pt x="37894" y="78947"/>
                    <a:pt x="38596" y="78157"/>
                    <a:pt x="39298" y="78157"/>
                  </a:cubicBezTo>
                  <a:cubicBezTo>
                    <a:pt x="42807" y="76578"/>
                    <a:pt x="43508" y="77368"/>
                    <a:pt x="43508" y="77763"/>
                  </a:cubicBezTo>
                  <a:cubicBezTo>
                    <a:pt x="43976" y="78552"/>
                    <a:pt x="47017" y="82500"/>
                    <a:pt x="47953" y="83289"/>
                  </a:cubicBezTo>
                  <a:cubicBezTo>
                    <a:pt x="48187" y="83289"/>
                    <a:pt x="48421" y="83289"/>
                    <a:pt x="48654" y="83684"/>
                  </a:cubicBezTo>
                  <a:cubicBezTo>
                    <a:pt x="49590" y="84078"/>
                    <a:pt x="50526" y="84473"/>
                    <a:pt x="50994" y="85657"/>
                  </a:cubicBezTo>
                  <a:cubicBezTo>
                    <a:pt x="51461" y="86052"/>
                    <a:pt x="51695" y="86842"/>
                    <a:pt x="52163" y="87631"/>
                  </a:cubicBezTo>
                  <a:cubicBezTo>
                    <a:pt x="52631" y="88421"/>
                    <a:pt x="53099" y="89605"/>
                    <a:pt x="53567" y="90000"/>
                  </a:cubicBezTo>
                  <a:cubicBezTo>
                    <a:pt x="54269" y="90789"/>
                    <a:pt x="56374" y="93157"/>
                    <a:pt x="56608" y="93157"/>
                  </a:cubicBezTo>
                  <a:cubicBezTo>
                    <a:pt x="57076" y="93947"/>
                    <a:pt x="58947" y="95526"/>
                    <a:pt x="59415" y="95526"/>
                  </a:cubicBezTo>
                  <a:cubicBezTo>
                    <a:pt x="59649" y="95921"/>
                    <a:pt x="60116" y="95921"/>
                    <a:pt x="60350" y="95921"/>
                  </a:cubicBezTo>
                  <a:cubicBezTo>
                    <a:pt x="61520" y="95921"/>
                    <a:pt x="62690" y="95921"/>
                    <a:pt x="62923" y="96710"/>
                  </a:cubicBezTo>
                  <a:cubicBezTo>
                    <a:pt x="63391" y="97894"/>
                    <a:pt x="65263" y="101052"/>
                    <a:pt x="65964" y="101842"/>
                  </a:cubicBezTo>
                  <a:cubicBezTo>
                    <a:pt x="66900" y="102236"/>
                    <a:pt x="74853" y="108157"/>
                    <a:pt x="75555" y="108947"/>
                  </a:cubicBezTo>
                  <a:cubicBezTo>
                    <a:pt x="76257" y="109342"/>
                    <a:pt x="78596" y="111710"/>
                    <a:pt x="79298" y="112105"/>
                  </a:cubicBezTo>
                  <a:cubicBezTo>
                    <a:pt x="79298" y="112500"/>
                    <a:pt x="79766" y="112500"/>
                    <a:pt x="80233" y="112894"/>
                  </a:cubicBezTo>
                  <a:cubicBezTo>
                    <a:pt x="81637" y="113684"/>
                    <a:pt x="82573" y="114078"/>
                    <a:pt x="83040" y="115263"/>
                  </a:cubicBezTo>
                  <a:cubicBezTo>
                    <a:pt x="83274" y="115263"/>
                    <a:pt x="83274" y="115657"/>
                    <a:pt x="83508" y="116052"/>
                  </a:cubicBezTo>
                  <a:cubicBezTo>
                    <a:pt x="83742" y="116842"/>
                    <a:pt x="84210" y="117631"/>
                    <a:pt x="84444" y="117631"/>
                  </a:cubicBezTo>
                  <a:cubicBezTo>
                    <a:pt x="84678" y="117631"/>
                    <a:pt x="84912" y="117631"/>
                    <a:pt x="85146" y="117631"/>
                  </a:cubicBezTo>
                  <a:cubicBezTo>
                    <a:pt x="86081" y="117236"/>
                    <a:pt x="86783" y="116842"/>
                    <a:pt x="87017" y="117631"/>
                  </a:cubicBezTo>
                  <a:cubicBezTo>
                    <a:pt x="87485" y="118026"/>
                    <a:pt x="90292" y="120000"/>
                    <a:pt x="90760" y="120000"/>
                  </a:cubicBezTo>
                  <a:cubicBezTo>
                    <a:pt x="91228" y="120000"/>
                    <a:pt x="97309" y="116842"/>
                    <a:pt x="98947" y="114473"/>
                  </a:cubicBezTo>
                  <a:cubicBezTo>
                    <a:pt x="99883" y="113289"/>
                    <a:pt x="100350" y="112105"/>
                    <a:pt x="100818" y="110921"/>
                  </a:cubicBezTo>
                  <a:cubicBezTo>
                    <a:pt x="101286" y="109736"/>
                    <a:pt x="101520" y="108947"/>
                    <a:pt x="102222" y="108947"/>
                  </a:cubicBezTo>
                  <a:cubicBezTo>
                    <a:pt x="102456" y="108947"/>
                    <a:pt x="102923" y="108947"/>
                    <a:pt x="103391" y="108947"/>
                  </a:cubicBezTo>
                  <a:cubicBezTo>
                    <a:pt x="103859" y="109342"/>
                    <a:pt x="105497" y="109736"/>
                    <a:pt x="105730" y="109342"/>
                  </a:cubicBezTo>
                  <a:cubicBezTo>
                    <a:pt x="105730" y="108947"/>
                    <a:pt x="105964" y="108157"/>
                    <a:pt x="106198" y="107763"/>
                  </a:cubicBezTo>
                  <a:cubicBezTo>
                    <a:pt x="106666" y="106184"/>
                    <a:pt x="107134" y="104605"/>
                    <a:pt x="108070" y="104605"/>
                  </a:cubicBezTo>
                  <a:cubicBezTo>
                    <a:pt x="108771" y="104605"/>
                    <a:pt x="109941" y="104605"/>
                    <a:pt x="110409" y="103815"/>
                  </a:cubicBezTo>
                  <a:cubicBezTo>
                    <a:pt x="110877" y="103421"/>
                    <a:pt x="110877" y="103421"/>
                    <a:pt x="110877" y="103421"/>
                  </a:cubicBezTo>
                  <a:cubicBezTo>
                    <a:pt x="112982" y="100657"/>
                    <a:pt x="113918" y="99473"/>
                    <a:pt x="114385" y="99473"/>
                  </a:cubicBezTo>
                  <a:cubicBezTo>
                    <a:pt x="114853" y="99473"/>
                    <a:pt x="116023" y="99473"/>
                    <a:pt x="116959" y="100657"/>
                  </a:cubicBezTo>
                  <a:cubicBezTo>
                    <a:pt x="117660" y="101052"/>
                    <a:pt x="118362" y="101447"/>
                    <a:pt x="118830" y="101447"/>
                  </a:cubicBezTo>
                  <a:cubicBezTo>
                    <a:pt x="119064" y="99868"/>
                    <a:pt x="119298" y="94342"/>
                    <a:pt x="119064" y="93157"/>
                  </a:cubicBezTo>
                  <a:cubicBezTo>
                    <a:pt x="118596" y="92763"/>
                    <a:pt x="118362" y="92368"/>
                    <a:pt x="118128" y="91578"/>
                  </a:cubicBezTo>
                  <a:cubicBezTo>
                    <a:pt x="117894" y="91578"/>
                    <a:pt x="117894" y="91578"/>
                    <a:pt x="117894" y="91184"/>
                  </a:cubicBezTo>
                  <a:cubicBezTo>
                    <a:pt x="117660" y="91184"/>
                    <a:pt x="117660" y="91184"/>
                    <a:pt x="117426" y="90789"/>
                  </a:cubicBezTo>
                  <a:cubicBezTo>
                    <a:pt x="116725" y="90000"/>
                    <a:pt x="115555" y="88421"/>
                    <a:pt x="116023" y="86842"/>
                  </a:cubicBezTo>
                  <a:cubicBezTo>
                    <a:pt x="116023" y="86447"/>
                    <a:pt x="116491" y="85657"/>
                    <a:pt x="116959" y="84868"/>
                  </a:cubicBezTo>
                  <a:cubicBezTo>
                    <a:pt x="117894" y="83289"/>
                    <a:pt x="119064" y="81710"/>
                    <a:pt x="119532" y="79736"/>
                  </a:cubicBezTo>
                  <a:cubicBezTo>
                    <a:pt x="119532" y="79342"/>
                    <a:pt x="119766" y="79342"/>
                    <a:pt x="120000" y="78947"/>
                  </a:cubicBezTo>
                  <a:cubicBezTo>
                    <a:pt x="119766" y="78552"/>
                    <a:pt x="119532" y="78157"/>
                    <a:pt x="119532" y="77763"/>
                  </a:cubicBezTo>
                  <a:cubicBezTo>
                    <a:pt x="118830" y="75789"/>
                    <a:pt x="114152" y="67500"/>
                    <a:pt x="113450" y="67105"/>
                  </a:cubicBezTo>
                  <a:cubicBezTo>
                    <a:pt x="112982" y="66710"/>
                    <a:pt x="109941" y="60394"/>
                    <a:pt x="109239" y="59210"/>
                  </a:cubicBezTo>
                  <a:cubicBezTo>
                    <a:pt x="108771" y="57631"/>
                    <a:pt x="108070" y="59210"/>
                    <a:pt x="107134" y="59605"/>
                  </a:cubicBezTo>
                  <a:cubicBezTo>
                    <a:pt x="106198" y="60000"/>
                    <a:pt x="105497" y="57236"/>
                    <a:pt x="104327" y="56052"/>
                  </a:cubicBezTo>
                  <a:cubicBezTo>
                    <a:pt x="103391" y="54868"/>
                    <a:pt x="100818" y="57631"/>
                    <a:pt x="99883" y="58421"/>
                  </a:cubicBezTo>
                  <a:cubicBezTo>
                    <a:pt x="98947" y="59605"/>
                    <a:pt x="99181" y="63157"/>
                    <a:pt x="99181" y="65131"/>
                  </a:cubicBezTo>
                  <a:cubicBezTo>
                    <a:pt x="99181" y="67105"/>
                    <a:pt x="98947" y="71052"/>
                    <a:pt x="98479" y="72631"/>
                  </a:cubicBezTo>
                  <a:cubicBezTo>
                    <a:pt x="98011" y="74210"/>
                    <a:pt x="97777" y="73815"/>
                    <a:pt x="96140" y="74210"/>
                  </a:cubicBezTo>
                  <a:cubicBezTo>
                    <a:pt x="94502" y="75000"/>
                    <a:pt x="95672" y="77763"/>
                    <a:pt x="95204" y="78157"/>
                  </a:cubicBezTo>
                  <a:cubicBezTo>
                    <a:pt x="94970" y="78947"/>
                    <a:pt x="93801" y="78157"/>
                    <a:pt x="92397" y="77763"/>
                  </a:cubicBezTo>
                  <a:cubicBezTo>
                    <a:pt x="91228" y="77763"/>
                    <a:pt x="90760" y="82894"/>
                    <a:pt x="90526" y="84078"/>
                  </a:cubicBezTo>
                  <a:cubicBezTo>
                    <a:pt x="90292" y="84868"/>
                    <a:pt x="88888" y="82500"/>
                    <a:pt x="88187" y="81315"/>
                  </a:cubicBezTo>
                  <a:cubicBezTo>
                    <a:pt x="87485" y="80131"/>
                    <a:pt x="87719" y="77763"/>
                    <a:pt x="87953" y="76578"/>
                  </a:cubicBezTo>
                  <a:cubicBezTo>
                    <a:pt x="87953" y="75394"/>
                    <a:pt x="88654" y="75000"/>
                    <a:pt x="89356" y="74210"/>
                  </a:cubicBezTo>
                  <a:cubicBezTo>
                    <a:pt x="90058" y="73421"/>
                    <a:pt x="90292" y="71447"/>
                    <a:pt x="90526" y="69868"/>
                  </a:cubicBezTo>
                  <a:cubicBezTo>
                    <a:pt x="90526" y="68684"/>
                    <a:pt x="90058" y="67894"/>
                    <a:pt x="89122" y="66710"/>
                  </a:cubicBezTo>
                  <a:cubicBezTo>
                    <a:pt x="88187" y="65526"/>
                    <a:pt x="86549" y="66710"/>
                    <a:pt x="85380" y="67500"/>
                  </a:cubicBezTo>
                  <a:cubicBezTo>
                    <a:pt x="84210" y="68289"/>
                    <a:pt x="82573" y="68684"/>
                    <a:pt x="81403" y="68684"/>
                  </a:cubicBezTo>
                  <a:cubicBezTo>
                    <a:pt x="80233" y="68684"/>
                    <a:pt x="80233" y="70263"/>
                    <a:pt x="79532" y="71052"/>
                  </a:cubicBezTo>
                  <a:cubicBezTo>
                    <a:pt x="78830" y="71447"/>
                    <a:pt x="75321" y="64342"/>
                    <a:pt x="74385" y="62763"/>
                  </a:cubicBezTo>
                  <a:cubicBezTo>
                    <a:pt x="73450" y="61184"/>
                    <a:pt x="71345" y="62368"/>
                    <a:pt x="70175" y="61184"/>
                  </a:cubicBezTo>
                  <a:cubicBezTo>
                    <a:pt x="68771" y="60394"/>
                    <a:pt x="66666" y="62763"/>
                    <a:pt x="65029" y="63947"/>
                  </a:cubicBezTo>
                  <a:cubicBezTo>
                    <a:pt x="63391" y="65131"/>
                    <a:pt x="62923" y="64736"/>
                    <a:pt x="61988" y="64342"/>
                  </a:cubicBezTo>
                  <a:cubicBezTo>
                    <a:pt x="61052" y="63947"/>
                    <a:pt x="59181" y="61184"/>
                    <a:pt x="58713" y="59605"/>
                  </a:cubicBezTo>
                  <a:cubicBezTo>
                    <a:pt x="58479" y="57631"/>
                    <a:pt x="60116" y="57631"/>
                    <a:pt x="60584" y="57236"/>
                  </a:cubicBezTo>
                  <a:cubicBezTo>
                    <a:pt x="61052" y="56842"/>
                    <a:pt x="61286" y="54868"/>
                    <a:pt x="61286" y="52894"/>
                  </a:cubicBezTo>
                  <a:cubicBezTo>
                    <a:pt x="61520" y="51315"/>
                    <a:pt x="63859" y="52105"/>
                    <a:pt x="64561" y="52105"/>
                  </a:cubicBezTo>
                  <a:cubicBezTo>
                    <a:pt x="65263" y="52105"/>
                    <a:pt x="64093" y="46973"/>
                    <a:pt x="63625" y="45394"/>
                  </a:cubicBezTo>
                  <a:cubicBezTo>
                    <a:pt x="62923" y="44210"/>
                    <a:pt x="61754" y="45000"/>
                    <a:pt x="61052" y="45000"/>
                  </a:cubicBezTo>
                  <a:cubicBezTo>
                    <a:pt x="60116" y="45000"/>
                    <a:pt x="57076" y="47763"/>
                    <a:pt x="57076" y="47763"/>
                  </a:cubicBezTo>
                  <a:cubicBezTo>
                    <a:pt x="56140" y="48157"/>
                    <a:pt x="55672" y="49736"/>
                    <a:pt x="55672" y="51315"/>
                  </a:cubicBezTo>
                  <a:cubicBezTo>
                    <a:pt x="55438" y="52894"/>
                    <a:pt x="54502" y="52500"/>
                    <a:pt x="54035" y="52105"/>
                  </a:cubicBezTo>
                  <a:cubicBezTo>
                    <a:pt x="53333" y="52105"/>
                    <a:pt x="52631" y="49342"/>
                    <a:pt x="52397" y="47763"/>
                  </a:cubicBezTo>
                  <a:cubicBezTo>
                    <a:pt x="51929" y="46184"/>
                    <a:pt x="49590" y="47763"/>
                    <a:pt x="48654" y="47763"/>
                  </a:cubicBezTo>
                  <a:cubicBezTo>
                    <a:pt x="47719" y="47763"/>
                    <a:pt x="44912" y="46578"/>
                    <a:pt x="43274" y="45789"/>
                  </a:cubicBezTo>
                  <a:cubicBezTo>
                    <a:pt x="41871" y="45394"/>
                    <a:pt x="39064" y="46578"/>
                    <a:pt x="38128" y="46973"/>
                  </a:cubicBezTo>
                  <a:cubicBezTo>
                    <a:pt x="36959" y="47368"/>
                    <a:pt x="34152" y="45394"/>
                    <a:pt x="32982" y="45394"/>
                  </a:cubicBezTo>
                  <a:cubicBezTo>
                    <a:pt x="31812" y="45000"/>
                    <a:pt x="32748" y="47763"/>
                    <a:pt x="32748" y="49342"/>
                  </a:cubicBezTo>
                  <a:cubicBezTo>
                    <a:pt x="32748" y="51315"/>
                    <a:pt x="29707" y="47368"/>
                    <a:pt x="29005" y="46578"/>
                  </a:cubicBezTo>
                  <a:cubicBezTo>
                    <a:pt x="28070" y="45789"/>
                    <a:pt x="25263" y="46578"/>
                    <a:pt x="24795" y="47368"/>
                  </a:cubicBezTo>
                  <a:cubicBezTo>
                    <a:pt x="24327" y="48157"/>
                    <a:pt x="24327" y="52105"/>
                    <a:pt x="24093" y="53289"/>
                  </a:cubicBezTo>
                  <a:cubicBezTo>
                    <a:pt x="23859" y="54868"/>
                    <a:pt x="22690" y="55263"/>
                    <a:pt x="21754" y="56052"/>
                  </a:cubicBezTo>
                  <a:cubicBezTo>
                    <a:pt x="20818" y="56842"/>
                    <a:pt x="20584" y="56842"/>
                    <a:pt x="19415" y="55263"/>
                  </a:cubicBezTo>
                  <a:cubicBezTo>
                    <a:pt x="18479" y="54078"/>
                    <a:pt x="14269" y="52894"/>
                    <a:pt x="13567" y="52105"/>
                  </a:cubicBezTo>
                  <a:cubicBezTo>
                    <a:pt x="13099" y="51315"/>
                    <a:pt x="13099" y="49342"/>
                    <a:pt x="13099" y="47763"/>
                  </a:cubicBezTo>
                  <a:cubicBezTo>
                    <a:pt x="13099" y="46578"/>
                    <a:pt x="12397" y="43421"/>
                    <a:pt x="11929" y="41447"/>
                  </a:cubicBezTo>
                  <a:cubicBezTo>
                    <a:pt x="11695" y="39868"/>
                    <a:pt x="11695" y="34736"/>
                    <a:pt x="11695" y="33552"/>
                  </a:cubicBezTo>
                  <a:cubicBezTo>
                    <a:pt x="11695" y="31973"/>
                    <a:pt x="16140" y="29605"/>
                    <a:pt x="16842" y="29605"/>
                  </a:cubicBezTo>
                  <a:cubicBezTo>
                    <a:pt x="17309" y="29210"/>
                    <a:pt x="20116" y="30394"/>
                    <a:pt x="20584" y="31184"/>
                  </a:cubicBezTo>
                  <a:cubicBezTo>
                    <a:pt x="21286" y="31973"/>
                    <a:pt x="22690" y="34342"/>
                    <a:pt x="23157" y="34342"/>
                  </a:cubicBezTo>
                  <a:cubicBezTo>
                    <a:pt x="23625" y="34736"/>
                    <a:pt x="24795" y="30789"/>
                    <a:pt x="25263" y="29210"/>
                  </a:cubicBezTo>
                  <a:cubicBezTo>
                    <a:pt x="25497" y="27236"/>
                    <a:pt x="25497" y="19342"/>
                    <a:pt x="25263" y="18157"/>
                  </a:cubicBezTo>
                  <a:cubicBezTo>
                    <a:pt x="24795" y="16578"/>
                    <a:pt x="24561" y="15000"/>
                    <a:pt x="23859" y="13815"/>
                  </a:cubicBezTo>
                  <a:cubicBezTo>
                    <a:pt x="23157" y="13026"/>
                    <a:pt x="20818" y="7105"/>
                    <a:pt x="20116" y="5131"/>
                  </a:cubicBezTo>
                  <a:cubicBezTo>
                    <a:pt x="19181" y="3157"/>
                    <a:pt x="18947" y="3947"/>
                    <a:pt x="18479" y="1973"/>
                  </a:cubicBezTo>
                  <a:cubicBezTo>
                    <a:pt x="17777" y="0"/>
                    <a:pt x="17777" y="0"/>
                    <a:pt x="15906" y="394"/>
                  </a:cubicBezTo>
                  <a:cubicBezTo>
                    <a:pt x="13801" y="789"/>
                    <a:pt x="15906" y="5526"/>
                    <a:pt x="15906" y="6710"/>
                  </a:cubicBezTo>
                  <a:cubicBezTo>
                    <a:pt x="15906" y="8289"/>
                    <a:pt x="15672" y="12631"/>
                    <a:pt x="15438" y="13815"/>
                  </a:cubicBezTo>
                  <a:cubicBezTo>
                    <a:pt x="15438" y="15000"/>
                    <a:pt x="13567" y="16973"/>
                    <a:pt x="12397" y="17763"/>
                  </a:cubicBezTo>
                  <a:cubicBezTo>
                    <a:pt x="11228" y="18157"/>
                    <a:pt x="11695" y="21710"/>
                    <a:pt x="11228" y="23289"/>
                  </a:cubicBezTo>
                  <a:cubicBezTo>
                    <a:pt x="10994" y="24868"/>
                    <a:pt x="9122" y="25263"/>
                    <a:pt x="8187" y="25657"/>
                  </a:cubicBezTo>
                  <a:cubicBezTo>
                    <a:pt x="7251" y="26447"/>
                    <a:pt x="7017" y="27236"/>
                    <a:pt x="6549" y="29210"/>
                  </a:cubicBezTo>
                  <a:cubicBezTo>
                    <a:pt x="6081" y="30789"/>
                    <a:pt x="5847" y="37105"/>
                    <a:pt x="5614" y="38684"/>
                  </a:cubicBezTo>
                  <a:cubicBezTo>
                    <a:pt x="5380" y="40657"/>
                    <a:pt x="3742" y="44605"/>
                    <a:pt x="2573" y="46578"/>
                  </a:cubicBezTo>
                  <a:cubicBezTo>
                    <a:pt x="1637" y="47763"/>
                    <a:pt x="935" y="47763"/>
                    <a:pt x="233" y="47763"/>
                  </a:cubicBezTo>
                  <a:cubicBezTo>
                    <a:pt x="233" y="47763"/>
                    <a:pt x="233" y="48157"/>
                    <a:pt x="233" y="48157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7" name="Shape 6981">
              <a:extLst>
                <a:ext uri="{FF2B5EF4-FFF2-40B4-BE49-F238E27FC236}">
                  <a16:creationId xmlns:a16="http://schemas.microsoft.com/office/drawing/2014/main" id="{28063516-80C0-49CC-AAB8-0679843B4238}"/>
                </a:ext>
              </a:extLst>
            </p:cNvPr>
            <p:cNvSpPr/>
            <p:nvPr/>
          </p:nvSpPr>
          <p:spPr>
            <a:xfrm>
              <a:off x="2128362" y="3804934"/>
              <a:ext cx="250828" cy="30514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48923" y="111165"/>
                  </a:moveTo>
                  <a:cubicBezTo>
                    <a:pt x="48000" y="111901"/>
                    <a:pt x="45230" y="113374"/>
                    <a:pt x="45230" y="114846"/>
                  </a:cubicBezTo>
                  <a:cubicBezTo>
                    <a:pt x="45230" y="117055"/>
                    <a:pt x="45230" y="117055"/>
                    <a:pt x="47076" y="117791"/>
                  </a:cubicBezTo>
                  <a:cubicBezTo>
                    <a:pt x="48000" y="118527"/>
                    <a:pt x="48923" y="118527"/>
                    <a:pt x="49846" y="118527"/>
                  </a:cubicBezTo>
                  <a:cubicBezTo>
                    <a:pt x="50769" y="119263"/>
                    <a:pt x="52615" y="119263"/>
                    <a:pt x="53538" y="120000"/>
                  </a:cubicBezTo>
                  <a:cubicBezTo>
                    <a:pt x="56307" y="116319"/>
                    <a:pt x="56307" y="116319"/>
                    <a:pt x="56307" y="116319"/>
                  </a:cubicBezTo>
                  <a:cubicBezTo>
                    <a:pt x="57230" y="116319"/>
                    <a:pt x="57230" y="116319"/>
                    <a:pt x="57230" y="116319"/>
                  </a:cubicBezTo>
                  <a:cubicBezTo>
                    <a:pt x="60000" y="115582"/>
                    <a:pt x="78461" y="111165"/>
                    <a:pt x="81230" y="110429"/>
                  </a:cubicBezTo>
                  <a:cubicBezTo>
                    <a:pt x="83076" y="110429"/>
                    <a:pt x="84000" y="108957"/>
                    <a:pt x="84923" y="107484"/>
                  </a:cubicBezTo>
                  <a:cubicBezTo>
                    <a:pt x="85846" y="107484"/>
                    <a:pt x="85846" y="107484"/>
                    <a:pt x="85846" y="106748"/>
                  </a:cubicBezTo>
                  <a:cubicBezTo>
                    <a:pt x="84923" y="104539"/>
                    <a:pt x="84000" y="102331"/>
                    <a:pt x="82153" y="100858"/>
                  </a:cubicBezTo>
                  <a:cubicBezTo>
                    <a:pt x="81230" y="100122"/>
                    <a:pt x="80307" y="98650"/>
                    <a:pt x="80307" y="97914"/>
                  </a:cubicBezTo>
                  <a:cubicBezTo>
                    <a:pt x="78461" y="95705"/>
                    <a:pt x="79384" y="94233"/>
                    <a:pt x="79384" y="92760"/>
                  </a:cubicBezTo>
                  <a:cubicBezTo>
                    <a:pt x="79384" y="92024"/>
                    <a:pt x="79384" y="92024"/>
                    <a:pt x="79384" y="91288"/>
                  </a:cubicBezTo>
                  <a:cubicBezTo>
                    <a:pt x="79384" y="89815"/>
                    <a:pt x="82153" y="88343"/>
                    <a:pt x="95076" y="83190"/>
                  </a:cubicBezTo>
                  <a:cubicBezTo>
                    <a:pt x="97846" y="82453"/>
                    <a:pt x="100615" y="80981"/>
                    <a:pt x="100615" y="80981"/>
                  </a:cubicBezTo>
                  <a:cubicBezTo>
                    <a:pt x="102461" y="80245"/>
                    <a:pt x="107076" y="72147"/>
                    <a:pt x="107076" y="69202"/>
                  </a:cubicBezTo>
                  <a:cubicBezTo>
                    <a:pt x="107076" y="67730"/>
                    <a:pt x="108000" y="65521"/>
                    <a:pt x="108000" y="63312"/>
                  </a:cubicBezTo>
                  <a:cubicBezTo>
                    <a:pt x="108923" y="61840"/>
                    <a:pt x="109846" y="59631"/>
                    <a:pt x="109846" y="58895"/>
                  </a:cubicBezTo>
                  <a:cubicBezTo>
                    <a:pt x="109846" y="56687"/>
                    <a:pt x="111692" y="53006"/>
                    <a:pt x="112615" y="51533"/>
                  </a:cubicBezTo>
                  <a:cubicBezTo>
                    <a:pt x="113538" y="50797"/>
                    <a:pt x="118153" y="44171"/>
                    <a:pt x="118153" y="41226"/>
                  </a:cubicBezTo>
                  <a:cubicBezTo>
                    <a:pt x="118153" y="39754"/>
                    <a:pt x="119076" y="33128"/>
                    <a:pt x="119076" y="27975"/>
                  </a:cubicBezTo>
                  <a:cubicBezTo>
                    <a:pt x="120000" y="25766"/>
                    <a:pt x="120000" y="23558"/>
                    <a:pt x="120000" y="22822"/>
                  </a:cubicBezTo>
                  <a:cubicBezTo>
                    <a:pt x="117230" y="22822"/>
                    <a:pt x="113538" y="22822"/>
                    <a:pt x="111692" y="21349"/>
                  </a:cubicBezTo>
                  <a:cubicBezTo>
                    <a:pt x="110769" y="20613"/>
                    <a:pt x="109846" y="19141"/>
                    <a:pt x="109846" y="18404"/>
                  </a:cubicBezTo>
                  <a:cubicBezTo>
                    <a:pt x="109846" y="17668"/>
                    <a:pt x="109846" y="16932"/>
                    <a:pt x="109846" y="15460"/>
                  </a:cubicBezTo>
                  <a:cubicBezTo>
                    <a:pt x="109846" y="13987"/>
                    <a:pt x="109846" y="11042"/>
                    <a:pt x="109846" y="10306"/>
                  </a:cubicBezTo>
                  <a:cubicBezTo>
                    <a:pt x="108000" y="10306"/>
                    <a:pt x="107076" y="11042"/>
                    <a:pt x="106153" y="11042"/>
                  </a:cubicBezTo>
                  <a:cubicBezTo>
                    <a:pt x="102461" y="11042"/>
                    <a:pt x="97846" y="11779"/>
                    <a:pt x="95076" y="9570"/>
                  </a:cubicBezTo>
                  <a:cubicBezTo>
                    <a:pt x="94153" y="9570"/>
                    <a:pt x="93230" y="8098"/>
                    <a:pt x="91384" y="7361"/>
                  </a:cubicBezTo>
                  <a:cubicBezTo>
                    <a:pt x="89538" y="5153"/>
                    <a:pt x="84000" y="736"/>
                    <a:pt x="82153" y="0"/>
                  </a:cubicBezTo>
                  <a:cubicBezTo>
                    <a:pt x="81230" y="736"/>
                    <a:pt x="80307" y="736"/>
                    <a:pt x="79384" y="1472"/>
                  </a:cubicBezTo>
                  <a:cubicBezTo>
                    <a:pt x="77538" y="2208"/>
                    <a:pt x="73846" y="3680"/>
                    <a:pt x="72923" y="4417"/>
                  </a:cubicBezTo>
                  <a:cubicBezTo>
                    <a:pt x="72000" y="5889"/>
                    <a:pt x="71076" y="7361"/>
                    <a:pt x="69230" y="9570"/>
                  </a:cubicBezTo>
                  <a:cubicBezTo>
                    <a:pt x="67384" y="11042"/>
                    <a:pt x="65538" y="13251"/>
                    <a:pt x="64615" y="13987"/>
                  </a:cubicBezTo>
                  <a:cubicBezTo>
                    <a:pt x="64615" y="14723"/>
                    <a:pt x="63692" y="16932"/>
                    <a:pt x="62769" y="18404"/>
                  </a:cubicBezTo>
                  <a:cubicBezTo>
                    <a:pt x="61846" y="21349"/>
                    <a:pt x="61846" y="23558"/>
                    <a:pt x="60923" y="24294"/>
                  </a:cubicBezTo>
                  <a:cubicBezTo>
                    <a:pt x="54461" y="30920"/>
                    <a:pt x="52615" y="31656"/>
                    <a:pt x="51692" y="31656"/>
                  </a:cubicBezTo>
                  <a:cubicBezTo>
                    <a:pt x="51692" y="31656"/>
                    <a:pt x="50769" y="31656"/>
                    <a:pt x="49846" y="31656"/>
                  </a:cubicBezTo>
                  <a:cubicBezTo>
                    <a:pt x="48000" y="32392"/>
                    <a:pt x="44307" y="33865"/>
                    <a:pt x="40615" y="32392"/>
                  </a:cubicBezTo>
                  <a:cubicBezTo>
                    <a:pt x="38769" y="31656"/>
                    <a:pt x="37846" y="30920"/>
                    <a:pt x="36000" y="29447"/>
                  </a:cubicBezTo>
                  <a:cubicBezTo>
                    <a:pt x="36000" y="28711"/>
                    <a:pt x="35076" y="27975"/>
                    <a:pt x="34153" y="27975"/>
                  </a:cubicBezTo>
                  <a:cubicBezTo>
                    <a:pt x="33230" y="27975"/>
                    <a:pt x="33230" y="27975"/>
                    <a:pt x="33230" y="27975"/>
                  </a:cubicBezTo>
                  <a:cubicBezTo>
                    <a:pt x="26769" y="33865"/>
                    <a:pt x="24923" y="35337"/>
                    <a:pt x="24923" y="36073"/>
                  </a:cubicBezTo>
                  <a:cubicBezTo>
                    <a:pt x="24923" y="36073"/>
                    <a:pt x="24923" y="38282"/>
                    <a:pt x="24923" y="39754"/>
                  </a:cubicBezTo>
                  <a:cubicBezTo>
                    <a:pt x="24000" y="49325"/>
                    <a:pt x="23076" y="51533"/>
                    <a:pt x="22153" y="53006"/>
                  </a:cubicBezTo>
                  <a:cubicBezTo>
                    <a:pt x="20307" y="53742"/>
                    <a:pt x="10153" y="61840"/>
                    <a:pt x="3692" y="66993"/>
                  </a:cubicBezTo>
                  <a:cubicBezTo>
                    <a:pt x="0" y="75092"/>
                    <a:pt x="0" y="75092"/>
                    <a:pt x="0" y="75092"/>
                  </a:cubicBezTo>
                  <a:cubicBezTo>
                    <a:pt x="923" y="75092"/>
                    <a:pt x="1846" y="75092"/>
                    <a:pt x="2769" y="75092"/>
                  </a:cubicBezTo>
                  <a:cubicBezTo>
                    <a:pt x="8307" y="75828"/>
                    <a:pt x="12000" y="75828"/>
                    <a:pt x="12923" y="78036"/>
                  </a:cubicBezTo>
                  <a:cubicBezTo>
                    <a:pt x="13846" y="79509"/>
                    <a:pt x="18461" y="83190"/>
                    <a:pt x="19384" y="83926"/>
                  </a:cubicBezTo>
                  <a:cubicBezTo>
                    <a:pt x="21230" y="83926"/>
                    <a:pt x="28615" y="86871"/>
                    <a:pt x="30461" y="88343"/>
                  </a:cubicBezTo>
                  <a:cubicBezTo>
                    <a:pt x="31384" y="89079"/>
                    <a:pt x="31384" y="89079"/>
                    <a:pt x="31384" y="89815"/>
                  </a:cubicBezTo>
                  <a:cubicBezTo>
                    <a:pt x="32307" y="91288"/>
                    <a:pt x="33230" y="92024"/>
                    <a:pt x="35076" y="92024"/>
                  </a:cubicBezTo>
                  <a:cubicBezTo>
                    <a:pt x="35076" y="92760"/>
                    <a:pt x="36000" y="92760"/>
                    <a:pt x="36923" y="92760"/>
                  </a:cubicBezTo>
                  <a:cubicBezTo>
                    <a:pt x="38769" y="92760"/>
                    <a:pt x="43384" y="92760"/>
                    <a:pt x="43384" y="96441"/>
                  </a:cubicBezTo>
                  <a:cubicBezTo>
                    <a:pt x="43384" y="97177"/>
                    <a:pt x="43384" y="98650"/>
                    <a:pt x="42461" y="99386"/>
                  </a:cubicBezTo>
                  <a:cubicBezTo>
                    <a:pt x="42461" y="100858"/>
                    <a:pt x="42461" y="101595"/>
                    <a:pt x="43384" y="102331"/>
                  </a:cubicBezTo>
                  <a:cubicBezTo>
                    <a:pt x="44307" y="103067"/>
                    <a:pt x="45230" y="103067"/>
                    <a:pt x="46153" y="103803"/>
                  </a:cubicBezTo>
                  <a:cubicBezTo>
                    <a:pt x="48923" y="106012"/>
                    <a:pt x="51692" y="107484"/>
                    <a:pt x="51692" y="108957"/>
                  </a:cubicBezTo>
                  <a:cubicBezTo>
                    <a:pt x="51692" y="109693"/>
                    <a:pt x="50769" y="109693"/>
                    <a:pt x="50769" y="110429"/>
                  </a:cubicBezTo>
                  <a:cubicBezTo>
                    <a:pt x="49846" y="110429"/>
                    <a:pt x="49846" y="111165"/>
                    <a:pt x="48923" y="111165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8" name="Shape 6982">
              <a:extLst>
                <a:ext uri="{FF2B5EF4-FFF2-40B4-BE49-F238E27FC236}">
                  <a16:creationId xmlns:a16="http://schemas.microsoft.com/office/drawing/2014/main" id="{AE5AF5CD-EEAA-4404-908A-3E556F5C8B5F}"/>
                </a:ext>
              </a:extLst>
            </p:cNvPr>
            <p:cNvSpPr/>
            <p:nvPr/>
          </p:nvSpPr>
          <p:spPr>
            <a:xfrm>
              <a:off x="1754050" y="3838528"/>
              <a:ext cx="175578" cy="16050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80439" y="89302"/>
                  </a:moveTo>
                  <a:cubicBezTo>
                    <a:pt x="81758" y="87906"/>
                    <a:pt x="84395" y="86511"/>
                    <a:pt x="87032" y="85116"/>
                  </a:cubicBezTo>
                  <a:cubicBezTo>
                    <a:pt x="94945" y="79534"/>
                    <a:pt x="101538" y="75348"/>
                    <a:pt x="105494" y="73953"/>
                  </a:cubicBezTo>
                  <a:cubicBezTo>
                    <a:pt x="106813" y="73953"/>
                    <a:pt x="113406" y="72558"/>
                    <a:pt x="120000" y="71162"/>
                  </a:cubicBezTo>
                  <a:cubicBezTo>
                    <a:pt x="117362" y="65581"/>
                    <a:pt x="110769" y="53023"/>
                    <a:pt x="110769" y="50232"/>
                  </a:cubicBezTo>
                  <a:cubicBezTo>
                    <a:pt x="109450" y="46046"/>
                    <a:pt x="112087" y="41860"/>
                    <a:pt x="113406" y="39069"/>
                  </a:cubicBezTo>
                  <a:cubicBezTo>
                    <a:pt x="114725" y="37674"/>
                    <a:pt x="114725" y="37674"/>
                    <a:pt x="114725" y="36279"/>
                  </a:cubicBezTo>
                  <a:cubicBezTo>
                    <a:pt x="116043" y="34883"/>
                    <a:pt x="112087" y="33488"/>
                    <a:pt x="110769" y="32093"/>
                  </a:cubicBezTo>
                  <a:cubicBezTo>
                    <a:pt x="109450" y="30697"/>
                    <a:pt x="108131" y="29302"/>
                    <a:pt x="106813" y="27906"/>
                  </a:cubicBezTo>
                  <a:cubicBezTo>
                    <a:pt x="104175" y="25116"/>
                    <a:pt x="102857" y="19534"/>
                    <a:pt x="102857" y="15348"/>
                  </a:cubicBezTo>
                  <a:cubicBezTo>
                    <a:pt x="102857" y="12558"/>
                    <a:pt x="101538" y="11162"/>
                    <a:pt x="101538" y="9767"/>
                  </a:cubicBezTo>
                  <a:cubicBezTo>
                    <a:pt x="100219" y="8372"/>
                    <a:pt x="92307" y="8372"/>
                    <a:pt x="77802" y="8372"/>
                  </a:cubicBezTo>
                  <a:cubicBezTo>
                    <a:pt x="75164" y="8372"/>
                    <a:pt x="73846" y="8372"/>
                    <a:pt x="73846" y="8372"/>
                  </a:cubicBezTo>
                  <a:cubicBezTo>
                    <a:pt x="68571" y="8372"/>
                    <a:pt x="59340" y="2790"/>
                    <a:pt x="54065" y="0"/>
                  </a:cubicBezTo>
                  <a:cubicBezTo>
                    <a:pt x="54065" y="1395"/>
                    <a:pt x="52747" y="1395"/>
                    <a:pt x="52747" y="1395"/>
                  </a:cubicBezTo>
                  <a:cubicBezTo>
                    <a:pt x="36923" y="8372"/>
                    <a:pt x="30329" y="12558"/>
                    <a:pt x="30329" y="13953"/>
                  </a:cubicBezTo>
                  <a:cubicBezTo>
                    <a:pt x="30329" y="13953"/>
                    <a:pt x="29010" y="37674"/>
                    <a:pt x="25054" y="40465"/>
                  </a:cubicBezTo>
                  <a:cubicBezTo>
                    <a:pt x="13186" y="50232"/>
                    <a:pt x="10549" y="54418"/>
                    <a:pt x="10549" y="57209"/>
                  </a:cubicBezTo>
                  <a:cubicBezTo>
                    <a:pt x="10549" y="58604"/>
                    <a:pt x="9230" y="60000"/>
                    <a:pt x="9230" y="60000"/>
                  </a:cubicBezTo>
                  <a:cubicBezTo>
                    <a:pt x="9230" y="62790"/>
                    <a:pt x="9230" y="65581"/>
                    <a:pt x="7912" y="68372"/>
                  </a:cubicBezTo>
                  <a:cubicBezTo>
                    <a:pt x="7912" y="69767"/>
                    <a:pt x="9230" y="78139"/>
                    <a:pt x="9230" y="82325"/>
                  </a:cubicBezTo>
                  <a:cubicBezTo>
                    <a:pt x="9230" y="87906"/>
                    <a:pt x="3956" y="93488"/>
                    <a:pt x="0" y="96279"/>
                  </a:cubicBezTo>
                  <a:cubicBezTo>
                    <a:pt x="0" y="96279"/>
                    <a:pt x="0" y="97674"/>
                    <a:pt x="3956" y="104651"/>
                  </a:cubicBezTo>
                  <a:cubicBezTo>
                    <a:pt x="13186" y="111627"/>
                    <a:pt x="23736" y="120000"/>
                    <a:pt x="26373" y="120000"/>
                  </a:cubicBezTo>
                  <a:cubicBezTo>
                    <a:pt x="27692" y="120000"/>
                    <a:pt x="29010" y="120000"/>
                    <a:pt x="30329" y="118604"/>
                  </a:cubicBezTo>
                  <a:cubicBezTo>
                    <a:pt x="36923" y="115813"/>
                    <a:pt x="43516" y="113023"/>
                    <a:pt x="47472" y="114418"/>
                  </a:cubicBezTo>
                  <a:cubicBezTo>
                    <a:pt x="56703" y="118604"/>
                    <a:pt x="60659" y="120000"/>
                    <a:pt x="63296" y="120000"/>
                  </a:cubicBezTo>
                  <a:cubicBezTo>
                    <a:pt x="73846" y="117209"/>
                    <a:pt x="76483" y="114418"/>
                    <a:pt x="76483" y="113023"/>
                  </a:cubicBezTo>
                  <a:cubicBezTo>
                    <a:pt x="76483" y="113023"/>
                    <a:pt x="76483" y="111627"/>
                    <a:pt x="76483" y="110232"/>
                  </a:cubicBezTo>
                  <a:cubicBezTo>
                    <a:pt x="76483" y="100465"/>
                    <a:pt x="76483" y="90697"/>
                    <a:pt x="80439" y="89302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9" name="Shape 6983">
              <a:extLst>
                <a:ext uri="{FF2B5EF4-FFF2-40B4-BE49-F238E27FC236}">
                  <a16:creationId xmlns:a16="http://schemas.microsoft.com/office/drawing/2014/main" id="{D3A3B20D-0A00-431D-9051-3DDC24DF83FF}"/>
                </a:ext>
              </a:extLst>
            </p:cNvPr>
            <p:cNvSpPr/>
            <p:nvPr/>
          </p:nvSpPr>
          <p:spPr>
            <a:xfrm>
              <a:off x="1466564" y="3816132"/>
              <a:ext cx="293275" cy="19596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6052" y="88000"/>
                  </a:moveTo>
                  <a:cubicBezTo>
                    <a:pt x="117631" y="86857"/>
                    <a:pt x="120000" y="83428"/>
                    <a:pt x="120000" y="81142"/>
                  </a:cubicBezTo>
                  <a:cubicBezTo>
                    <a:pt x="120000" y="78857"/>
                    <a:pt x="119210" y="74285"/>
                    <a:pt x="119210" y="70857"/>
                  </a:cubicBezTo>
                  <a:cubicBezTo>
                    <a:pt x="119210" y="72000"/>
                    <a:pt x="118421" y="72000"/>
                    <a:pt x="118421" y="72000"/>
                  </a:cubicBezTo>
                  <a:cubicBezTo>
                    <a:pt x="115263" y="72000"/>
                    <a:pt x="110526" y="69714"/>
                    <a:pt x="110526" y="69714"/>
                  </a:cubicBezTo>
                  <a:cubicBezTo>
                    <a:pt x="108947" y="69714"/>
                    <a:pt x="108947" y="68571"/>
                    <a:pt x="108947" y="67428"/>
                  </a:cubicBezTo>
                  <a:cubicBezTo>
                    <a:pt x="109736" y="62857"/>
                    <a:pt x="109736" y="58285"/>
                    <a:pt x="108947" y="57142"/>
                  </a:cubicBezTo>
                  <a:cubicBezTo>
                    <a:pt x="108157" y="57142"/>
                    <a:pt x="107368" y="57142"/>
                    <a:pt x="107368" y="57142"/>
                  </a:cubicBezTo>
                  <a:cubicBezTo>
                    <a:pt x="105000" y="57142"/>
                    <a:pt x="104210" y="57142"/>
                    <a:pt x="102631" y="58285"/>
                  </a:cubicBezTo>
                  <a:cubicBezTo>
                    <a:pt x="99473" y="61714"/>
                    <a:pt x="97894" y="61714"/>
                    <a:pt x="94736" y="61714"/>
                  </a:cubicBezTo>
                  <a:cubicBezTo>
                    <a:pt x="93947" y="61714"/>
                    <a:pt x="92368" y="61714"/>
                    <a:pt x="91578" y="61714"/>
                  </a:cubicBezTo>
                  <a:cubicBezTo>
                    <a:pt x="89210" y="60571"/>
                    <a:pt x="86842" y="60571"/>
                    <a:pt x="86052" y="61714"/>
                  </a:cubicBezTo>
                  <a:cubicBezTo>
                    <a:pt x="86052" y="62857"/>
                    <a:pt x="85263" y="64000"/>
                    <a:pt x="84473" y="65142"/>
                  </a:cubicBezTo>
                  <a:cubicBezTo>
                    <a:pt x="83684" y="67428"/>
                    <a:pt x="82105" y="70857"/>
                    <a:pt x="78157" y="70857"/>
                  </a:cubicBezTo>
                  <a:cubicBezTo>
                    <a:pt x="75000" y="70857"/>
                    <a:pt x="69473" y="70857"/>
                    <a:pt x="69473" y="64000"/>
                  </a:cubicBezTo>
                  <a:cubicBezTo>
                    <a:pt x="69473" y="60571"/>
                    <a:pt x="68684" y="57142"/>
                    <a:pt x="67105" y="54857"/>
                  </a:cubicBezTo>
                  <a:cubicBezTo>
                    <a:pt x="64736" y="52571"/>
                    <a:pt x="59210" y="43428"/>
                    <a:pt x="59210" y="38857"/>
                  </a:cubicBezTo>
                  <a:cubicBezTo>
                    <a:pt x="59210" y="37714"/>
                    <a:pt x="60000" y="36571"/>
                    <a:pt x="60000" y="35428"/>
                  </a:cubicBezTo>
                  <a:cubicBezTo>
                    <a:pt x="60000" y="33142"/>
                    <a:pt x="60789" y="30857"/>
                    <a:pt x="60000" y="29714"/>
                  </a:cubicBezTo>
                  <a:cubicBezTo>
                    <a:pt x="58421" y="27428"/>
                    <a:pt x="56842" y="22857"/>
                    <a:pt x="55263" y="19428"/>
                  </a:cubicBezTo>
                  <a:cubicBezTo>
                    <a:pt x="54473" y="16000"/>
                    <a:pt x="53684" y="12571"/>
                    <a:pt x="52894" y="11428"/>
                  </a:cubicBezTo>
                  <a:cubicBezTo>
                    <a:pt x="52105" y="11428"/>
                    <a:pt x="51315" y="11428"/>
                    <a:pt x="50526" y="11428"/>
                  </a:cubicBezTo>
                  <a:cubicBezTo>
                    <a:pt x="48157" y="11428"/>
                    <a:pt x="45789" y="11428"/>
                    <a:pt x="44210" y="10285"/>
                  </a:cubicBezTo>
                  <a:cubicBezTo>
                    <a:pt x="41842" y="9142"/>
                    <a:pt x="39473" y="3428"/>
                    <a:pt x="37105" y="0"/>
                  </a:cubicBezTo>
                  <a:cubicBezTo>
                    <a:pt x="37105" y="1142"/>
                    <a:pt x="36315" y="2285"/>
                    <a:pt x="35526" y="3428"/>
                  </a:cubicBezTo>
                  <a:cubicBezTo>
                    <a:pt x="34736" y="5714"/>
                    <a:pt x="32368" y="6857"/>
                    <a:pt x="30789" y="8000"/>
                  </a:cubicBezTo>
                  <a:cubicBezTo>
                    <a:pt x="28421" y="9142"/>
                    <a:pt x="26842" y="10285"/>
                    <a:pt x="25263" y="12571"/>
                  </a:cubicBezTo>
                  <a:cubicBezTo>
                    <a:pt x="24473" y="13714"/>
                    <a:pt x="23684" y="14857"/>
                    <a:pt x="23684" y="16000"/>
                  </a:cubicBezTo>
                  <a:cubicBezTo>
                    <a:pt x="22105" y="18285"/>
                    <a:pt x="21315" y="20571"/>
                    <a:pt x="18947" y="20571"/>
                  </a:cubicBezTo>
                  <a:cubicBezTo>
                    <a:pt x="18157" y="21714"/>
                    <a:pt x="16578" y="21714"/>
                    <a:pt x="15789" y="21714"/>
                  </a:cubicBezTo>
                  <a:cubicBezTo>
                    <a:pt x="14210" y="20571"/>
                    <a:pt x="11842" y="20571"/>
                    <a:pt x="11052" y="21714"/>
                  </a:cubicBezTo>
                  <a:cubicBezTo>
                    <a:pt x="11842" y="25142"/>
                    <a:pt x="7894" y="32000"/>
                    <a:pt x="7894" y="34285"/>
                  </a:cubicBezTo>
                  <a:cubicBezTo>
                    <a:pt x="7894" y="34285"/>
                    <a:pt x="7105" y="34285"/>
                    <a:pt x="7105" y="34285"/>
                  </a:cubicBezTo>
                  <a:cubicBezTo>
                    <a:pt x="5526" y="36571"/>
                    <a:pt x="2368" y="40000"/>
                    <a:pt x="0" y="41142"/>
                  </a:cubicBezTo>
                  <a:cubicBezTo>
                    <a:pt x="0" y="44571"/>
                    <a:pt x="0" y="48000"/>
                    <a:pt x="789" y="49142"/>
                  </a:cubicBezTo>
                  <a:cubicBezTo>
                    <a:pt x="789" y="49142"/>
                    <a:pt x="1578" y="49142"/>
                    <a:pt x="1578" y="48000"/>
                  </a:cubicBezTo>
                  <a:cubicBezTo>
                    <a:pt x="3157" y="48000"/>
                    <a:pt x="3947" y="46857"/>
                    <a:pt x="6315" y="48000"/>
                  </a:cubicBezTo>
                  <a:cubicBezTo>
                    <a:pt x="7105" y="49142"/>
                    <a:pt x="9473" y="50285"/>
                    <a:pt x="11052" y="52571"/>
                  </a:cubicBezTo>
                  <a:cubicBezTo>
                    <a:pt x="12631" y="53714"/>
                    <a:pt x="14210" y="56000"/>
                    <a:pt x="15000" y="57142"/>
                  </a:cubicBezTo>
                  <a:cubicBezTo>
                    <a:pt x="16578" y="57142"/>
                    <a:pt x="18947" y="58285"/>
                    <a:pt x="20526" y="58285"/>
                  </a:cubicBezTo>
                  <a:cubicBezTo>
                    <a:pt x="22105" y="59428"/>
                    <a:pt x="22105" y="59428"/>
                    <a:pt x="22105" y="59428"/>
                  </a:cubicBezTo>
                  <a:cubicBezTo>
                    <a:pt x="28421" y="60571"/>
                    <a:pt x="31578" y="61714"/>
                    <a:pt x="33157" y="64000"/>
                  </a:cubicBezTo>
                  <a:cubicBezTo>
                    <a:pt x="33157" y="65142"/>
                    <a:pt x="33947" y="65142"/>
                    <a:pt x="33947" y="66285"/>
                  </a:cubicBezTo>
                  <a:cubicBezTo>
                    <a:pt x="36315" y="68571"/>
                    <a:pt x="37894" y="72000"/>
                    <a:pt x="37894" y="74285"/>
                  </a:cubicBezTo>
                  <a:cubicBezTo>
                    <a:pt x="37894" y="75428"/>
                    <a:pt x="37894" y="76571"/>
                    <a:pt x="37894" y="77714"/>
                  </a:cubicBezTo>
                  <a:cubicBezTo>
                    <a:pt x="37894" y="80000"/>
                    <a:pt x="37105" y="86857"/>
                    <a:pt x="37894" y="89142"/>
                  </a:cubicBezTo>
                  <a:cubicBezTo>
                    <a:pt x="38684" y="89142"/>
                    <a:pt x="38684" y="90285"/>
                    <a:pt x="40263" y="93714"/>
                  </a:cubicBezTo>
                  <a:cubicBezTo>
                    <a:pt x="41842" y="96000"/>
                    <a:pt x="44210" y="100571"/>
                    <a:pt x="45789" y="101714"/>
                  </a:cubicBezTo>
                  <a:cubicBezTo>
                    <a:pt x="45789" y="101714"/>
                    <a:pt x="45789" y="101714"/>
                    <a:pt x="46578" y="101714"/>
                  </a:cubicBezTo>
                  <a:cubicBezTo>
                    <a:pt x="47368" y="99428"/>
                    <a:pt x="48157" y="97142"/>
                    <a:pt x="51315" y="97142"/>
                  </a:cubicBezTo>
                  <a:cubicBezTo>
                    <a:pt x="52894" y="97142"/>
                    <a:pt x="52894" y="97142"/>
                    <a:pt x="52894" y="97142"/>
                  </a:cubicBezTo>
                  <a:cubicBezTo>
                    <a:pt x="56842" y="97142"/>
                    <a:pt x="61578" y="97142"/>
                    <a:pt x="63157" y="101714"/>
                  </a:cubicBezTo>
                  <a:cubicBezTo>
                    <a:pt x="63947" y="104000"/>
                    <a:pt x="75789" y="118857"/>
                    <a:pt x="78947" y="118857"/>
                  </a:cubicBezTo>
                  <a:cubicBezTo>
                    <a:pt x="81315" y="120000"/>
                    <a:pt x="83684" y="120000"/>
                    <a:pt x="86052" y="117714"/>
                  </a:cubicBezTo>
                  <a:cubicBezTo>
                    <a:pt x="86052" y="117714"/>
                    <a:pt x="86052" y="116571"/>
                    <a:pt x="86842" y="116571"/>
                  </a:cubicBezTo>
                  <a:cubicBezTo>
                    <a:pt x="89210" y="114285"/>
                    <a:pt x="93157" y="109714"/>
                    <a:pt x="95526" y="113142"/>
                  </a:cubicBezTo>
                  <a:cubicBezTo>
                    <a:pt x="96315" y="115428"/>
                    <a:pt x="98684" y="117714"/>
                    <a:pt x="100263" y="117714"/>
                  </a:cubicBezTo>
                  <a:cubicBezTo>
                    <a:pt x="101052" y="117714"/>
                    <a:pt x="101842" y="118857"/>
                    <a:pt x="102631" y="118857"/>
                  </a:cubicBezTo>
                  <a:cubicBezTo>
                    <a:pt x="104210" y="118857"/>
                    <a:pt x="108947" y="118857"/>
                    <a:pt x="109736" y="117714"/>
                  </a:cubicBezTo>
                  <a:cubicBezTo>
                    <a:pt x="110526" y="116571"/>
                    <a:pt x="110526" y="115428"/>
                    <a:pt x="110526" y="113142"/>
                  </a:cubicBezTo>
                  <a:cubicBezTo>
                    <a:pt x="110526" y="110857"/>
                    <a:pt x="110526" y="107428"/>
                    <a:pt x="112894" y="105142"/>
                  </a:cubicBezTo>
                  <a:cubicBezTo>
                    <a:pt x="114473" y="104000"/>
                    <a:pt x="115263" y="102857"/>
                    <a:pt x="116052" y="102857"/>
                  </a:cubicBezTo>
                  <a:cubicBezTo>
                    <a:pt x="116842" y="101714"/>
                    <a:pt x="116842" y="101714"/>
                    <a:pt x="117631" y="101714"/>
                  </a:cubicBezTo>
                  <a:cubicBezTo>
                    <a:pt x="115263" y="97142"/>
                    <a:pt x="114473" y="93714"/>
                    <a:pt x="114473" y="91428"/>
                  </a:cubicBezTo>
                  <a:cubicBezTo>
                    <a:pt x="114473" y="90285"/>
                    <a:pt x="115263" y="89142"/>
                    <a:pt x="116052" y="88000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0" name="Shape 6984">
              <a:extLst>
                <a:ext uri="{FF2B5EF4-FFF2-40B4-BE49-F238E27FC236}">
                  <a16:creationId xmlns:a16="http://schemas.microsoft.com/office/drawing/2014/main" id="{A08A19F3-B385-4D72-B5B7-E48B3DA30BE7}"/>
                </a:ext>
              </a:extLst>
            </p:cNvPr>
            <p:cNvSpPr/>
            <p:nvPr/>
          </p:nvSpPr>
          <p:spPr>
            <a:xfrm>
              <a:off x="1918053" y="3408337"/>
              <a:ext cx="559538" cy="58322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71586" y="8461"/>
                  </a:moveTo>
                  <a:cubicBezTo>
                    <a:pt x="71586" y="7307"/>
                    <a:pt x="71586" y="6923"/>
                    <a:pt x="71172" y="6538"/>
                  </a:cubicBezTo>
                  <a:cubicBezTo>
                    <a:pt x="71172" y="6153"/>
                    <a:pt x="71172" y="6153"/>
                    <a:pt x="71172" y="6153"/>
                  </a:cubicBezTo>
                  <a:cubicBezTo>
                    <a:pt x="67034" y="1153"/>
                    <a:pt x="65793" y="0"/>
                    <a:pt x="65379" y="0"/>
                  </a:cubicBezTo>
                  <a:cubicBezTo>
                    <a:pt x="64551" y="384"/>
                    <a:pt x="64137" y="769"/>
                    <a:pt x="63724" y="769"/>
                  </a:cubicBezTo>
                  <a:cubicBezTo>
                    <a:pt x="62896" y="1153"/>
                    <a:pt x="62068" y="1538"/>
                    <a:pt x="61655" y="2307"/>
                  </a:cubicBezTo>
                  <a:cubicBezTo>
                    <a:pt x="60827" y="3846"/>
                    <a:pt x="56689" y="7692"/>
                    <a:pt x="55862" y="8461"/>
                  </a:cubicBezTo>
                  <a:cubicBezTo>
                    <a:pt x="55448" y="8846"/>
                    <a:pt x="55034" y="9230"/>
                    <a:pt x="54620" y="10000"/>
                  </a:cubicBezTo>
                  <a:cubicBezTo>
                    <a:pt x="53379" y="11153"/>
                    <a:pt x="52965" y="11923"/>
                    <a:pt x="52137" y="11923"/>
                  </a:cubicBezTo>
                  <a:cubicBezTo>
                    <a:pt x="51724" y="11923"/>
                    <a:pt x="51310" y="11923"/>
                    <a:pt x="50896" y="11923"/>
                  </a:cubicBezTo>
                  <a:cubicBezTo>
                    <a:pt x="50068" y="11153"/>
                    <a:pt x="46344" y="9615"/>
                    <a:pt x="45931" y="10000"/>
                  </a:cubicBezTo>
                  <a:cubicBezTo>
                    <a:pt x="45517" y="10000"/>
                    <a:pt x="45517" y="10384"/>
                    <a:pt x="45103" y="10384"/>
                  </a:cubicBezTo>
                  <a:cubicBezTo>
                    <a:pt x="44275" y="11153"/>
                    <a:pt x="43862" y="11153"/>
                    <a:pt x="44275" y="11923"/>
                  </a:cubicBezTo>
                  <a:cubicBezTo>
                    <a:pt x="44689" y="12307"/>
                    <a:pt x="45517" y="13461"/>
                    <a:pt x="46758" y="14230"/>
                  </a:cubicBezTo>
                  <a:cubicBezTo>
                    <a:pt x="48827" y="16538"/>
                    <a:pt x="49655" y="17307"/>
                    <a:pt x="49655" y="18461"/>
                  </a:cubicBezTo>
                  <a:cubicBezTo>
                    <a:pt x="49655" y="18461"/>
                    <a:pt x="49241" y="18846"/>
                    <a:pt x="48827" y="19230"/>
                  </a:cubicBezTo>
                  <a:cubicBezTo>
                    <a:pt x="48413" y="19230"/>
                    <a:pt x="47586" y="19230"/>
                    <a:pt x="46758" y="19230"/>
                  </a:cubicBezTo>
                  <a:cubicBezTo>
                    <a:pt x="46758" y="19230"/>
                    <a:pt x="46344" y="19230"/>
                    <a:pt x="46344" y="19230"/>
                  </a:cubicBezTo>
                  <a:cubicBezTo>
                    <a:pt x="46344" y="20769"/>
                    <a:pt x="44275" y="25769"/>
                    <a:pt x="43862" y="26923"/>
                  </a:cubicBezTo>
                  <a:cubicBezTo>
                    <a:pt x="43862" y="26923"/>
                    <a:pt x="43862" y="26923"/>
                    <a:pt x="43862" y="26923"/>
                  </a:cubicBezTo>
                  <a:cubicBezTo>
                    <a:pt x="43862" y="26923"/>
                    <a:pt x="43862" y="26923"/>
                    <a:pt x="43448" y="27307"/>
                  </a:cubicBezTo>
                  <a:cubicBezTo>
                    <a:pt x="43448" y="27307"/>
                    <a:pt x="43448" y="27307"/>
                    <a:pt x="43448" y="27307"/>
                  </a:cubicBezTo>
                  <a:cubicBezTo>
                    <a:pt x="43448" y="27307"/>
                    <a:pt x="43448" y="27307"/>
                    <a:pt x="43448" y="27307"/>
                  </a:cubicBezTo>
                  <a:cubicBezTo>
                    <a:pt x="41793" y="28461"/>
                    <a:pt x="40137" y="30384"/>
                    <a:pt x="40137" y="30769"/>
                  </a:cubicBezTo>
                  <a:cubicBezTo>
                    <a:pt x="40137" y="31538"/>
                    <a:pt x="40137" y="44230"/>
                    <a:pt x="38068" y="44230"/>
                  </a:cubicBezTo>
                  <a:cubicBezTo>
                    <a:pt x="37655" y="44230"/>
                    <a:pt x="37241" y="44230"/>
                    <a:pt x="36413" y="44230"/>
                  </a:cubicBezTo>
                  <a:cubicBezTo>
                    <a:pt x="35172" y="43846"/>
                    <a:pt x="31448" y="43461"/>
                    <a:pt x="31034" y="43846"/>
                  </a:cubicBezTo>
                  <a:cubicBezTo>
                    <a:pt x="30620" y="43846"/>
                    <a:pt x="30620" y="44230"/>
                    <a:pt x="30206" y="44615"/>
                  </a:cubicBezTo>
                  <a:cubicBezTo>
                    <a:pt x="29379" y="45769"/>
                    <a:pt x="28137" y="47307"/>
                    <a:pt x="26482" y="46538"/>
                  </a:cubicBezTo>
                  <a:cubicBezTo>
                    <a:pt x="26068" y="46153"/>
                    <a:pt x="26068" y="46153"/>
                    <a:pt x="26068" y="46153"/>
                  </a:cubicBezTo>
                  <a:cubicBezTo>
                    <a:pt x="24827" y="45384"/>
                    <a:pt x="24000" y="45000"/>
                    <a:pt x="22758" y="45000"/>
                  </a:cubicBezTo>
                  <a:cubicBezTo>
                    <a:pt x="21517" y="45000"/>
                    <a:pt x="17793" y="46153"/>
                    <a:pt x="16965" y="46923"/>
                  </a:cubicBezTo>
                  <a:cubicBezTo>
                    <a:pt x="16965" y="46923"/>
                    <a:pt x="16551" y="47692"/>
                    <a:pt x="16137" y="48076"/>
                  </a:cubicBezTo>
                  <a:cubicBezTo>
                    <a:pt x="15310" y="49230"/>
                    <a:pt x="14482" y="50000"/>
                    <a:pt x="14068" y="50384"/>
                  </a:cubicBezTo>
                  <a:cubicBezTo>
                    <a:pt x="15724" y="51538"/>
                    <a:pt x="18620" y="53461"/>
                    <a:pt x="20275" y="54615"/>
                  </a:cubicBezTo>
                  <a:cubicBezTo>
                    <a:pt x="20275" y="55000"/>
                    <a:pt x="21103" y="55384"/>
                    <a:pt x="21517" y="55769"/>
                  </a:cubicBezTo>
                  <a:cubicBezTo>
                    <a:pt x="24827" y="58076"/>
                    <a:pt x="26896" y="60000"/>
                    <a:pt x="26896" y="61153"/>
                  </a:cubicBezTo>
                  <a:cubicBezTo>
                    <a:pt x="26896" y="61538"/>
                    <a:pt x="26896" y="61923"/>
                    <a:pt x="26482" y="62307"/>
                  </a:cubicBezTo>
                  <a:cubicBezTo>
                    <a:pt x="25241" y="63461"/>
                    <a:pt x="21517" y="66923"/>
                    <a:pt x="20689" y="67692"/>
                  </a:cubicBezTo>
                  <a:cubicBezTo>
                    <a:pt x="20275" y="68076"/>
                    <a:pt x="20275" y="68076"/>
                    <a:pt x="20275" y="68076"/>
                  </a:cubicBezTo>
                  <a:cubicBezTo>
                    <a:pt x="19862" y="68846"/>
                    <a:pt x="19034" y="69615"/>
                    <a:pt x="17793" y="70000"/>
                  </a:cubicBezTo>
                  <a:cubicBezTo>
                    <a:pt x="17379" y="70000"/>
                    <a:pt x="16551" y="69615"/>
                    <a:pt x="16137" y="69230"/>
                  </a:cubicBezTo>
                  <a:cubicBezTo>
                    <a:pt x="14482" y="68076"/>
                    <a:pt x="13241" y="66923"/>
                    <a:pt x="12000" y="66923"/>
                  </a:cubicBezTo>
                  <a:cubicBezTo>
                    <a:pt x="10758" y="66923"/>
                    <a:pt x="6620" y="68076"/>
                    <a:pt x="5793" y="68846"/>
                  </a:cubicBezTo>
                  <a:cubicBezTo>
                    <a:pt x="5793" y="69230"/>
                    <a:pt x="4965" y="70000"/>
                    <a:pt x="4551" y="70769"/>
                  </a:cubicBezTo>
                  <a:cubicBezTo>
                    <a:pt x="2482" y="73461"/>
                    <a:pt x="1241" y="75384"/>
                    <a:pt x="0" y="76153"/>
                  </a:cubicBezTo>
                  <a:cubicBezTo>
                    <a:pt x="1655" y="78076"/>
                    <a:pt x="2896" y="80000"/>
                    <a:pt x="3724" y="80000"/>
                  </a:cubicBezTo>
                  <a:cubicBezTo>
                    <a:pt x="3724" y="80384"/>
                    <a:pt x="4137" y="80769"/>
                    <a:pt x="4551" y="80769"/>
                  </a:cubicBezTo>
                  <a:cubicBezTo>
                    <a:pt x="5379" y="81538"/>
                    <a:pt x="6620" y="82307"/>
                    <a:pt x="7034" y="82307"/>
                  </a:cubicBezTo>
                  <a:cubicBezTo>
                    <a:pt x="7862" y="81923"/>
                    <a:pt x="8275" y="81538"/>
                    <a:pt x="9103" y="81153"/>
                  </a:cubicBezTo>
                  <a:cubicBezTo>
                    <a:pt x="10758" y="80384"/>
                    <a:pt x="12000" y="79615"/>
                    <a:pt x="12827" y="80384"/>
                  </a:cubicBezTo>
                  <a:cubicBezTo>
                    <a:pt x="13241" y="80384"/>
                    <a:pt x="13655" y="80769"/>
                    <a:pt x="14068" y="81153"/>
                  </a:cubicBezTo>
                  <a:cubicBezTo>
                    <a:pt x="14068" y="81538"/>
                    <a:pt x="14896" y="82307"/>
                    <a:pt x="15310" y="82307"/>
                  </a:cubicBezTo>
                  <a:cubicBezTo>
                    <a:pt x="15310" y="82307"/>
                    <a:pt x="15724" y="81923"/>
                    <a:pt x="15724" y="81538"/>
                  </a:cubicBezTo>
                  <a:cubicBezTo>
                    <a:pt x="16137" y="80769"/>
                    <a:pt x="16965" y="79230"/>
                    <a:pt x="18206" y="80000"/>
                  </a:cubicBezTo>
                  <a:cubicBezTo>
                    <a:pt x="18620" y="80000"/>
                    <a:pt x="19034" y="80000"/>
                    <a:pt x="19448" y="80384"/>
                  </a:cubicBezTo>
                  <a:cubicBezTo>
                    <a:pt x="20689" y="80769"/>
                    <a:pt x="22758" y="81538"/>
                    <a:pt x="23586" y="81538"/>
                  </a:cubicBezTo>
                  <a:cubicBezTo>
                    <a:pt x="24000" y="81923"/>
                    <a:pt x="24000" y="81923"/>
                    <a:pt x="24000" y="81923"/>
                  </a:cubicBezTo>
                  <a:cubicBezTo>
                    <a:pt x="26482" y="82307"/>
                    <a:pt x="29379" y="82692"/>
                    <a:pt x="29793" y="83846"/>
                  </a:cubicBezTo>
                  <a:cubicBezTo>
                    <a:pt x="30206" y="84615"/>
                    <a:pt x="30206" y="85384"/>
                    <a:pt x="30620" y="86538"/>
                  </a:cubicBezTo>
                  <a:cubicBezTo>
                    <a:pt x="30620" y="87307"/>
                    <a:pt x="31034" y="88846"/>
                    <a:pt x="31448" y="89230"/>
                  </a:cubicBezTo>
                  <a:cubicBezTo>
                    <a:pt x="31448" y="89230"/>
                    <a:pt x="31862" y="89230"/>
                    <a:pt x="32275" y="89615"/>
                  </a:cubicBezTo>
                  <a:cubicBezTo>
                    <a:pt x="34344" y="90384"/>
                    <a:pt x="36827" y="91153"/>
                    <a:pt x="36827" y="93076"/>
                  </a:cubicBezTo>
                  <a:cubicBezTo>
                    <a:pt x="36827" y="93461"/>
                    <a:pt x="36827" y="94230"/>
                    <a:pt x="36827" y="95384"/>
                  </a:cubicBezTo>
                  <a:cubicBezTo>
                    <a:pt x="36413" y="96923"/>
                    <a:pt x="36413" y="101153"/>
                    <a:pt x="36827" y="101538"/>
                  </a:cubicBezTo>
                  <a:cubicBezTo>
                    <a:pt x="36827" y="101923"/>
                    <a:pt x="37241" y="102307"/>
                    <a:pt x="37241" y="102307"/>
                  </a:cubicBezTo>
                  <a:cubicBezTo>
                    <a:pt x="37655" y="103076"/>
                    <a:pt x="38482" y="103846"/>
                    <a:pt x="38482" y="105384"/>
                  </a:cubicBezTo>
                  <a:cubicBezTo>
                    <a:pt x="38482" y="106923"/>
                    <a:pt x="38482" y="110384"/>
                    <a:pt x="38896" y="111923"/>
                  </a:cubicBezTo>
                  <a:cubicBezTo>
                    <a:pt x="38896" y="113076"/>
                    <a:pt x="40137" y="115000"/>
                    <a:pt x="40551" y="116153"/>
                  </a:cubicBezTo>
                  <a:cubicBezTo>
                    <a:pt x="40965" y="116538"/>
                    <a:pt x="40965" y="116538"/>
                    <a:pt x="40965" y="116538"/>
                  </a:cubicBezTo>
                  <a:cubicBezTo>
                    <a:pt x="41379" y="117307"/>
                    <a:pt x="42620" y="119230"/>
                    <a:pt x="43862" y="120000"/>
                  </a:cubicBezTo>
                  <a:cubicBezTo>
                    <a:pt x="45517" y="115769"/>
                    <a:pt x="45517" y="115769"/>
                    <a:pt x="45517" y="115769"/>
                  </a:cubicBezTo>
                  <a:cubicBezTo>
                    <a:pt x="45517" y="115769"/>
                    <a:pt x="45517" y="115769"/>
                    <a:pt x="45517" y="115769"/>
                  </a:cubicBezTo>
                  <a:cubicBezTo>
                    <a:pt x="46344" y="115000"/>
                    <a:pt x="52965" y="108461"/>
                    <a:pt x="53793" y="107692"/>
                  </a:cubicBezTo>
                  <a:cubicBezTo>
                    <a:pt x="54206" y="107307"/>
                    <a:pt x="54206" y="103846"/>
                    <a:pt x="54620" y="102307"/>
                  </a:cubicBezTo>
                  <a:cubicBezTo>
                    <a:pt x="54620" y="101153"/>
                    <a:pt x="54620" y="100384"/>
                    <a:pt x="54620" y="100000"/>
                  </a:cubicBezTo>
                  <a:cubicBezTo>
                    <a:pt x="54620" y="99230"/>
                    <a:pt x="55862" y="98076"/>
                    <a:pt x="59172" y="95384"/>
                  </a:cubicBezTo>
                  <a:cubicBezTo>
                    <a:pt x="59586" y="95000"/>
                    <a:pt x="59586" y="95000"/>
                    <a:pt x="59586" y="95000"/>
                  </a:cubicBezTo>
                  <a:cubicBezTo>
                    <a:pt x="59586" y="94615"/>
                    <a:pt x="60000" y="94615"/>
                    <a:pt x="60413" y="94615"/>
                  </a:cubicBezTo>
                  <a:cubicBezTo>
                    <a:pt x="61241" y="94615"/>
                    <a:pt x="62068" y="95000"/>
                    <a:pt x="62482" y="95769"/>
                  </a:cubicBezTo>
                  <a:cubicBezTo>
                    <a:pt x="63310" y="96538"/>
                    <a:pt x="63724" y="96923"/>
                    <a:pt x="64137" y="97307"/>
                  </a:cubicBezTo>
                  <a:cubicBezTo>
                    <a:pt x="64965" y="97692"/>
                    <a:pt x="66206" y="97307"/>
                    <a:pt x="67034" y="96923"/>
                  </a:cubicBezTo>
                  <a:cubicBezTo>
                    <a:pt x="67448" y="96538"/>
                    <a:pt x="67448" y="96538"/>
                    <a:pt x="67862" y="96538"/>
                  </a:cubicBezTo>
                  <a:cubicBezTo>
                    <a:pt x="68275" y="96538"/>
                    <a:pt x="69103" y="95384"/>
                    <a:pt x="70758" y="93461"/>
                  </a:cubicBezTo>
                  <a:cubicBezTo>
                    <a:pt x="71172" y="93076"/>
                    <a:pt x="71586" y="91538"/>
                    <a:pt x="71586" y="90769"/>
                  </a:cubicBezTo>
                  <a:cubicBezTo>
                    <a:pt x="72000" y="89615"/>
                    <a:pt x="72413" y="88846"/>
                    <a:pt x="72827" y="88076"/>
                  </a:cubicBezTo>
                  <a:cubicBezTo>
                    <a:pt x="73241" y="87307"/>
                    <a:pt x="73655" y="86538"/>
                    <a:pt x="74482" y="85384"/>
                  </a:cubicBezTo>
                  <a:cubicBezTo>
                    <a:pt x="75310" y="84615"/>
                    <a:pt x="76137" y="83846"/>
                    <a:pt x="76551" y="83461"/>
                  </a:cubicBezTo>
                  <a:cubicBezTo>
                    <a:pt x="76965" y="82307"/>
                    <a:pt x="78620" y="81538"/>
                    <a:pt x="80275" y="80769"/>
                  </a:cubicBezTo>
                  <a:cubicBezTo>
                    <a:pt x="80689" y="80384"/>
                    <a:pt x="80689" y="80384"/>
                    <a:pt x="81103" y="80384"/>
                  </a:cubicBezTo>
                  <a:cubicBezTo>
                    <a:pt x="82344" y="79615"/>
                    <a:pt x="84000" y="81153"/>
                    <a:pt x="87310" y="84230"/>
                  </a:cubicBezTo>
                  <a:cubicBezTo>
                    <a:pt x="88137" y="84615"/>
                    <a:pt x="88551" y="85384"/>
                    <a:pt x="88965" y="85384"/>
                  </a:cubicBezTo>
                  <a:cubicBezTo>
                    <a:pt x="89379" y="86153"/>
                    <a:pt x="91034" y="85769"/>
                    <a:pt x="92275" y="85769"/>
                  </a:cubicBezTo>
                  <a:cubicBezTo>
                    <a:pt x="93517" y="85384"/>
                    <a:pt x="94758" y="85384"/>
                    <a:pt x="95586" y="86153"/>
                  </a:cubicBezTo>
                  <a:cubicBezTo>
                    <a:pt x="96413" y="86923"/>
                    <a:pt x="96000" y="88461"/>
                    <a:pt x="96000" y="90000"/>
                  </a:cubicBezTo>
                  <a:cubicBezTo>
                    <a:pt x="96000" y="90384"/>
                    <a:pt x="96000" y="90769"/>
                    <a:pt x="96000" y="91153"/>
                  </a:cubicBezTo>
                  <a:cubicBezTo>
                    <a:pt x="96000" y="91153"/>
                    <a:pt x="96000" y="91153"/>
                    <a:pt x="96000" y="91538"/>
                  </a:cubicBezTo>
                  <a:cubicBezTo>
                    <a:pt x="96827" y="91923"/>
                    <a:pt x="98068" y="91923"/>
                    <a:pt x="99310" y="91923"/>
                  </a:cubicBezTo>
                  <a:cubicBezTo>
                    <a:pt x="99724" y="91153"/>
                    <a:pt x="100965" y="90384"/>
                    <a:pt x="103034" y="88846"/>
                  </a:cubicBezTo>
                  <a:cubicBezTo>
                    <a:pt x="104275" y="88461"/>
                    <a:pt x="105517" y="87692"/>
                    <a:pt x="105517" y="87307"/>
                  </a:cubicBezTo>
                  <a:cubicBezTo>
                    <a:pt x="105931" y="86923"/>
                    <a:pt x="105931" y="85769"/>
                    <a:pt x="105931" y="83461"/>
                  </a:cubicBezTo>
                  <a:cubicBezTo>
                    <a:pt x="105931" y="82692"/>
                    <a:pt x="105931" y="82692"/>
                    <a:pt x="105931" y="82692"/>
                  </a:cubicBezTo>
                  <a:cubicBezTo>
                    <a:pt x="105931" y="81923"/>
                    <a:pt x="106344" y="81153"/>
                    <a:pt x="106758" y="80384"/>
                  </a:cubicBezTo>
                  <a:cubicBezTo>
                    <a:pt x="106758" y="80000"/>
                    <a:pt x="107172" y="80000"/>
                    <a:pt x="107172" y="79615"/>
                  </a:cubicBezTo>
                  <a:cubicBezTo>
                    <a:pt x="107172" y="79230"/>
                    <a:pt x="106344" y="78076"/>
                    <a:pt x="105517" y="77692"/>
                  </a:cubicBezTo>
                  <a:cubicBezTo>
                    <a:pt x="103034" y="76538"/>
                    <a:pt x="104275" y="73076"/>
                    <a:pt x="104689" y="72692"/>
                  </a:cubicBezTo>
                  <a:cubicBezTo>
                    <a:pt x="105103" y="71153"/>
                    <a:pt x="109241" y="67307"/>
                    <a:pt x="110068" y="66923"/>
                  </a:cubicBezTo>
                  <a:cubicBezTo>
                    <a:pt x="110482" y="66538"/>
                    <a:pt x="110896" y="66538"/>
                    <a:pt x="112137" y="66153"/>
                  </a:cubicBezTo>
                  <a:cubicBezTo>
                    <a:pt x="112965" y="65769"/>
                    <a:pt x="113793" y="65384"/>
                    <a:pt x="114206" y="65384"/>
                  </a:cubicBezTo>
                  <a:cubicBezTo>
                    <a:pt x="115034" y="64615"/>
                    <a:pt x="118758" y="61923"/>
                    <a:pt x="119172" y="61153"/>
                  </a:cubicBezTo>
                  <a:cubicBezTo>
                    <a:pt x="119586" y="60769"/>
                    <a:pt x="120000" y="58461"/>
                    <a:pt x="120000" y="56923"/>
                  </a:cubicBezTo>
                  <a:cubicBezTo>
                    <a:pt x="119586" y="56153"/>
                    <a:pt x="116275" y="53846"/>
                    <a:pt x="115034" y="53076"/>
                  </a:cubicBezTo>
                  <a:cubicBezTo>
                    <a:pt x="113793" y="52307"/>
                    <a:pt x="113379" y="51923"/>
                    <a:pt x="112965" y="51538"/>
                  </a:cubicBezTo>
                  <a:cubicBezTo>
                    <a:pt x="112551" y="51153"/>
                    <a:pt x="110068" y="50000"/>
                    <a:pt x="108413" y="49230"/>
                  </a:cubicBezTo>
                  <a:cubicBezTo>
                    <a:pt x="107172" y="48846"/>
                    <a:pt x="105931" y="47307"/>
                    <a:pt x="105517" y="46538"/>
                  </a:cubicBezTo>
                  <a:cubicBezTo>
                    <a:pt x="103862" y="46923"/>
                    <a:pt x="102206" y="46923"/>
                    <a:pt x="101379" y="46538"/>
                  </a:cubicBezTo>
                  <a:cubicBezTo>
                    <a:pt x="100137" y="46538"/>
                    <a:pt x="98896" y="47692"/>
                    <a:pt x="98068" y="48461"/>
                  </a:cubicBezTo>
                  <a:cubicBezTo>
                    <a:pt x="97241" y="49230"/>
                    <a:pt x="96827" y="49615"/>
                    <a:pt x="96413" y="49615"/>
                  </a:cubicBezTo>
                  <a:cubicBezTo>
                    <a:pt x="95172" y="49615"/>
                    <a:pt x="93103" y="49230"/>
                    <a:pt x="92275" y="47307"/>
                  </a:cubicBezTo>
                  <a:cubicBezTo>
                    <a:pt x="91862" y="46923"/>
                    <a:pt x="91448" y="46153"/>
                    <a:pt x="91034" y="45769"/>
                  </a:cubicBezTo>
                  <a:cubicBezTo>
                    <a:pt x="90620" y="45384"/>
                    <a:pt x="90206" y="45384"/>
                    <a:pt x="90206" y="45000"/>
                  </a:cubicBezTo>
                  <a:cubicBezTo>
                    <a:pt x="89793" y="45000"/>
                    <a:pt x="88551" y="45384"/>
                    <a:pt x="86068" y="47692"/>
                  </a:cubicBezTo>
                  <a:cubicBezTo>
                    <a:pt x="85655" y="48461"/>
                    <a:pt x="85241" y="48461"/>
                    <a:pt x="84827" y="48461"/>
                  </a:cubicBezTo>
                  <a:cubicBezTo>
                    <a:pt x="84000" y="48076"/>
                    <a:pt x="83172" y="46923"/>
                    <a:pt x="82758" y="46153"/>
                  </a:cubicBezTo>
                  <a:cubicBezTo>
                    <a:pt x="82758" y="45769"/>
                    <a:pt x="82758" y="45769"/>
                    <a:pt x="82344" y="45384"/>
                  </a:cubicBezTo>
                  <a:cubicBezTo>
                    <a:pt x="81931" y="45000"/>
                    <a:pt x="79862" y="44230"/>
                    <a:pt x="78620" y="43846"/>
                  </a:cubicBezTo>
                  <a:cubicBezTo>
                    <a:pt x="77793" y="43461"/>
                    <a:pt x="76965" y="43461"/>
                    <a:pt x="76551" y="43076"/>
                  </a:cubicBezTo>
                  <a:cubicBezTo>
                    <a:pt x="76137" y="43076"/>
                    <a:pt x="74896" y="43076"/>
                    <a:pt x="74068" y="43461"/>
                  </a:cubicBezTo>
                  <a:cubicBezTo>
                    <a:pt x="73241" y="43461"/>
                    <a:pt x="72827" y="43461"/>
                    <a:pt x="72413" y="43461"/>
                  </a:cubicBezTo>
                  <a:cubicBezTo>
                    <a:pt x="72000" y="43846"/>
                    <a:pt x="71172" y="44615"/>
                    <a:pt x="70344" y="48076"/>
                  </a:cubicBezTo>
                  <a:cubicBezTo>
                    <a:pt x="70344" y="48461"/>
                    <a:pt x="70344" y="48846"/>
                    <a:pt x="69931" y="48846"/>
                  </a:cubicBezTo>
                  <a:cubicBezTo>
                    <a:pt x="69931" y="50000"/>
                    <a:pt x="68689" y="51153"/>
                    <a:pt x="68275" y="51923"/>
                  </a:cubicBezTo>
                  <a:cubicBezTo>
                    <a:pt x="67862" y="52307"/>
                    <a:pt x="67448" y="52692"/>
                    <a:pt x="67034" y="52692"/>
                  </a:cubicBezTo>
                  <a:cubicBezTo>
                    <a:pt x="67034" y="53076"/>
                    <a:pt x="66620" y="53461"/>
                    <a:pt x="66206" y="53461"/>
                  </a:cubicBezTo>
                  <a:cubicBezTo>
                    <a:pt x="64551" y="53461"/>
                    <a:pt x="63310" y="50769"/>
                    <a:pt x="62896" y="50384"/>
                  </a:cubicBezTo>
                  <a:cubicBezTo>
                    <a:pt x="62482" y="49615"/>
                    <a:pt x="63310" y="48461"/>
                    <a:pt x="64551" y="46923"/>
                  </a:cubicBezTo>
                  <a:cubicBezTo>
                    <a:pt x="64551" y="46538"/>
                    <a:pt x="64551" y="46153"/>
                    <a:pt x="64965" y="46153"/>
                  </a:cubicBezTo>
                  <a:cubicBezTo>
                    <a:pt x="64965" y="45769"/>
                    <a:pt x="64551" y="45000"/>
                    <a:pt x="64137" y="44615"/>
                  </a:cubicBezTo>
                  <a:cubicBezTo>
                    <a:pt x="64137" y="44230"/>
                    <a:pt x="63724" y="43846"/>
                    <a:pt x="63724" y="43076"/>
                  </a:cubicBezTo>
                  <a:cubicBezTo>
                    <a:pt x="63310" y="41923"/>
                    <a:pt x="63310" y="40769"/>
                    <a:pt x="63310" y="39615"/>
                  </a:cubicBezTo>
                  <a:cubicBezTo>
                    <a:pt x="63310" y="39230"/>
                    <a:pt x="63724" y="38846"/>
                    <a:pt x="63724" y="38461"/>
                  </a:cubicBezTo>
                  <a:cubicBezTo>
                    <a:pt x="63724" y="38076"/>
                    <a:pt x="62896" y="37307"/>
                    <a:pt x="61241" y="36153"/>
                  </a:cubicBezTo>
                  <a:cubicBezTo>
                    <a:pt x="60413" y="35384"/>
                    <a:pt x="60413" y="33846"/>
                    <a:pt x="60827" y="32307"/>
                  </a:cubicBezTo>
                  <a:cubicBezTo>
                    <a:pt x="60827" y="32307"/>
                    <a:pt x="61241" y="31538"/>
                    <a:pt x="61241" y="31538"/>
                  </a:cubicBezTo>
                  <a:cubicBezTo>
                    <a:pt x="61241" y="30384"/>
                    <a:pt x="62068" y="29230"/>
                    <a:pt x="64551" y="27692"/>
                  </a:cubicBezTo>
                  <a:cubicBezTo>
                    <a:pt x="64965" y="27307"/>
                    <a:pt x="64965" y="27307"/>
                    <a:pt x="64965" y="27307"/>
                  </a:cubicBezTo>
                  <a:cubicBezTo>
                    <a:pt x="64965" y="27307"/>
                    <a:pt x="64965" y="27307"/>
                    <a:pt x="64965" y="26538"/>
                  </a:cubicBezTo>
                  <a:cubicBezTo>
                    <a:pt x="64551" y="25769"/>
                    <a:pt x="64551" y="25384"/>
                    <a:pt x="64551" y="25000"/>
                  </a:cubicBezTo>
                  <a:cubicBezTo>
                    <a:pt x="64551" y="23461"/>
                    <a:pt x="67034" y="23076"/>
                    <a:pt x="69103" y="22307"/>
                  </a:cubicBezTo>
                  <a:cubicBezTo>
                    <a:pt x="69931" y="22307"/>
                    <a:pt x="70344" y="22307"/>
                    <a:pt x="70344" y="22307"/>
                  </a:cubicBezTo>
                  <a:cubicBezTo>
                    <a:pt x="70344" y="21923"/>
                    <a:pt x="70758" y="21153"/>
                    <a:pt x="70758" y="18461"/>
                  </a:cubicBezTo>
                  <a:cubicBezTo>
                    <a:pt x="70758" y="18076"/>
                    <a:pt x="70758" y="18076"/>
                    <a:pt x="70758" y="17692"/>
                  </a:cubicBezTo>
                  <a:cubicBezTo>
                    <a:pt x="70758" y="16538"/>
                    <a:pt x="72827" y="14615"/>
                    <a:pt x="73241" y="14230"/>
                  </a:cubicBezTo>
                  <a:cubicBezTo>
                    <a:pt x="73655" y="13846"/>
                    <a:pt x="73655" y="12692"/>
                    <a:pt x="73241" y="11538"/>
                  </a:cubicBezTo>
                  <a:cubicBezTo>
                    <a:pt x="72827" y="11538"/>
                    <a:pt x="72413" y="11538"/>
                    <a:pt x="72000" y="11153"/>
                  </a:cubicBezTo>
                  <a:cubicBezTo>
                    <a:pt x="71586" y="10769"/>
                    <a:pt x="71172" y="10384"/>
                    <a:pt x="71172" y="9615"/>
                  </a:cubicBezTo>
                  <a:cubicBezTo>
                    <a:pt x="71172" y="9230"/>
                    <a:pt x="71172" y="8461"/>
                    <a:pt x="71586" y="8461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1" name="Shape 6985">
              <a:extLst>
                <a:ext uri="{FF2B5EF4-FFF2-40B4-BE49-F238E27FC236}">
                  <a16:creationId xmlns:a16="http://schemas.microsoft.com/office/drawing/2014/main" id="{6D8999F6-B226-4DE2-A517-F9E5E711F6B9}"/>
                </a:ext>
              </a:extLst>
            </p:cNvPr>
            <p:cNvSpPr/>
            <p:nvPr/>
          </p:nvSpPr>
          <p:spPr>
            <a:xfrm>
              <a:off x="2300082" y="3574443"/>
              <a:ext cx="556644" cy="61029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85833" y="58895"/>
                  </a:moveTo>
                  <a:cubicBezTo>
                    <a:pt x="85833" y="57055"/>
                    <a:pt x="90833" y="53742"/>
                    <a:pt x="90833" y="53742"/>
                  </a:cubicBezTo>
                  <a:cubicBezTo>
                    <a:pt x="91666" y="53374"/>
                    <a:pt x="92500" y="53374"/>
                    <a:pt x="94583" y="53374"/>
                  </a:cubicBezTo>
                  <a:cubicBezTo>
                    <a:pt x="95416" y="53374"/>
                    <a:pt x="96250" y="53374"/>
                    <a:pt x="96666" y="53006"/>
                  </a:cubicBezTo>
                  <a:cubicBezTo>
                    <a:pt x="97916" y="52638"/>
                    <a:pt x="102916" y="47116"/>
                    <a:pt x="103750" y="45644"/>
                  </a:cubicBezTo>
                  <a:cubicBezTo>
                    <a:pt x="104583" y="43803"/>
                    <a:pt x="108750" y="40490"/>
                    <a:pt x="110416" y="40122"/>
                  </a:cubicBezTo>
                  <a:cubicBezTo>
                    <a:pt x="110833" y="39754"/>
                    <a:pt x="111666" y="37546"/>
                    <a:pt x="111666" y="36441"/>
                  </a:cubicBezTo>
                  <a:cubicBezTo>
                    <a:pt x="112083" y="35337"/>
                    <a:pt x="112500" y="34233"/>
                    <a:pt x="112916" y="33865"/>
                  </a:cubicBezTo>
                  <a:cubicBezTo>
                    <a:pt x="113333" y="33496"/>
                    <a:pt x="113750" y="31656"/>
                    <a:pt x="113750" y="28711"/>
                  </a:cubicBezTo>
                  <a:cubicBezTo>
                    <a:pt x="113750" y="26503"/>
                    <a:pt x="118750" y="24662"/>
                    <a:pt x="119583" y="24294"/>
                  </a:cubicBezTo>
                  <a:cubicBezTo>
                    <a:pt x="119583" y="23926"/>
                    <a:pt x="120000" y="22822"/>
                    <a:pt x="120000" y="21717"/>
                  </a:cubicBezTo>
                  <a:cubicBezTo>
                    <a:pt x="111666" y="21349"/>
                    <a:pt x="101666" y="18036"/>
                    <a:pt x="89583" y="11411"/>
                  </a:cubicBezTo>
                  <a:cubicBezTo>
                    <a:pt x="89166" y="11042"/>
                    <a:pt x="89166" y="11042"/>
                    <a:pt x="89166" y="11042"/>
                  </a:cubicBezTo>
                  <a:cubicBezTo>
                    <a:pt x="88333" y="10674"/>
                    <a:pt x="87916" y="10674"/>
                    <a:pt x="87083" y="11042"/>
                  </a:cubicBezTo>
                  <a:cubicBezTo>
                    <a:pt x="86666" y="11042"/>
                    <a:pt x="86666" y="11042"/>
                    <a:pt x="86250" y="11042"/>
                  </a:cubicBezTo>
                  <a:cubicBezTo>
                    <a:pt x="85833" y="11411"/>
                    <a:pt x="85833" y="12147"/>
                    <a:pt x="85416" y="12515"/>
                  </a:cubicBezTo>
                  <a:cubicBezTo>
                    <a:pt x="85416" y="12883"/>
                    <a:pt x="85000" y="13251"/>
                    <a:pt x="85000" y="13619"/>
                  </a:cubicBezTo>
                  <a:cubicBezTo>
                    <a:pt x="84166" y="15092"/>
                    <a:pt x="82500" y="14723"/>
                    <a:pt x="81666" y="14355"/>
                  </a:cubicBezTo>
                  <a:cubicBezTo>
                    <a:pt x="81250" y="14355"/>
                    <a:pt x="81250" y="14355"/>
                    <a:pt x="81250" y="14355"/>
                  </a:cubicBezTo>
                  <a:cubicBezTo>
                    <a:pt x="80416" y="14355"/>
                    <a:pt x="79583" y="13987"/>
                    <a:pt x="78750" y="13251"/>
                  </a:cubicBezTo>
                  <a:cubicBezTo>
                    <a:pt x="78333" y="12883"/>
                    <a:pt x="77916" y="12515"/>
                    <a:pt x="77500" y="12515"/>
                  </a:cubicBezTo>
                  <a:cubicBezTo>
                    <a:pt x="77083" y="12147"/>
                    <a:pt x="76666" y="12147"/>
                    <a:pt x="75833" y="13251"/>
                  </a:cubicBezTo>
                  <a:cubicBezTo>
                    <a:pt x="75416" y="13619"/>
                    <a:pt x="75000" y="13987"/>
                    <a:pt x="74583" y="14355"/>
                  </a:cubicBezTo>
                  <a:cubicBezTo>
                    <a:pt x="73333" y="15092"/>
                    <a:pt x="71250" y="15092"/>
                    <a:pt x="69166" y="13987"/>
                  </a:cubicBezTo>
                  <a:cubicBezTo>
                    <a:pt x="68333" y="13251"/>
                    <a:pt x="66250" y="13987"/>
                    <a:pt x="65000" y="14355"/>
                  </a:cubicBezTo>
                  <a:cubicBezTo>
                    <a:pt x="64166" y="14355"/>
                    <a:pt x="63333" y="14723"/>
                    <a:pt x="62916" y="14723"/>
                  </a:cubicBezTo>
                  <a:cubicBezTo>
                    <a:pt x="60833" y="14723"/>
                    <a:pt x="58750" y="11779"/>
                    <a:pt x="58750" y="11411"/>
                  </a:cubicBezTo>
                  <a:cubicBezTo>
                    <a:pt x="58333" y="11042"/>
                    <a:pt x="54583" y="9202"/>
                    <a:pt x="53750" y="9202"/>
                  </a:cubicBezTo>
                  <a:cubicBezTo>
                    <a:pt x="53333" y="9202"/>
                    <a:pt x="52083" y="9202"/>
                    <a:pt x="51250" y="9570"/>
                  </a:cubicBezTo>
                  <a:cubicBezTo>
                    <a:pt x="50416" y="9570"/>
                    <a:pt x="49583" y="9570"/>
                    <a:pt x="49166" y="9570"/>
                  </a:cubicBezTo>
                  <a:cubicBezTo>
                    <a:pt x="47916" y="9570"/>
                    <a:pt x="46666" y="8466"/>
                    <a:pt x="45416" y="6257"/>
                  </a:cubicBezTo>
                  <a:cubicBezTo>
                    <a:pt x="45000" y="5521"/>
                    <a:pt x="45000" y="4417"/>
                    <a:pt x="45416" y="3680"/>
                  </a:cubicBezTo>
                  <a:cubicBezTo>
                    <a:pt x="45416" y="2944"/>
                    <a:pt x="45416" y="2576"/>
                    <a:pt x="45416" y="1840"/>
                  </a:cubicBezTo>
                  <a:cubicBezTo>
                    <a:pt x="45416" y="736"/>
                    <a:pt x="42500" y="0"/>
                    <a:pt x="41250" y="0"/>
                  </a:cubicBezTo>
                  <a:cubicBezTo>
                    <a:pt x="40833" y="0"/>
                    <a:pt x="40416" y="368"/>
                    <a:pt x="40416" y="736"/>
                  </a:cubicBezTo>
                  <a:cubicBezTo>
                    <a:pt x="40000" y="1104"/>
                    <a:pt x="39583" y="1472"/>
                    <a:pt x="38750" y="1840"/>
                  </a:cubicBezTo>
                  <a:cubicBezTo>
                    <a:pt x="37500" y="2576"/>
                    <a:pt x="36250" y="1840"/>
                    <a:pt x="35833" y="1472"/>
                  </a:cubicBezTo>
                  <a:cubicBezTo>
                    <a:pt x="35833" y="1104"/>
                    <a:pt x="35416" y="1104"/>
                    <a:pt x="35000" y="736"/>
                  </a:cubicBezTo>
                  <a:cubicBezTo>
                    <a:pt x="35416" y="736"/>
                    <a:pt x="35000" y="1104"/>
                    <a:pt x="35000" y="1104"/>
                  </a:cubicBezTo>
                  <a:cubicBezTo>
                    <a:pt x="34583" y="1472"/>
                    <a:pt x="34166" y="1840"/>
                    <a:pt x="33750" y="2208"/>
                  </a:cubicBezTo>
                  <a:cubicBezTo>
                    <a:pt x="32500" y="2576"/>
                    <a:pt x="31250" y="1840"/>
                    <a:pt x="30000" y="1104"/>
                  </a:cubicBezTo>
                  <a:cubicBezTo>
                    <a:pt x="29583" y="368"/>
                    <a:pt x="28750" y="0"/>
                    <a:pt x="28333" y="0"/>
                  </a:cubicBezTo>
                  <a:cubicBezTo>
                    <a:pt x="27916" y="0"/>
                    <a:pt x="27500" y="1472"/>
                    <a:pt x="27083" y="2208"/>
                  </a:cubicBezTo>
                  <a:cubicBezTo>
                    <a:pt x="26666" y="2576"/>
                    <a:pt x="26250" y="3312"/>
                    <a:pt x="26250" y="3680"/>
                  </a:cubicBezTo>
                  <a:cubicBezTo>
                    <a:pt x="26250" y="3680"/>
                    <a:pt x="26250" y="4417"/>
                    <a:pt x="28750" y="6257"/>
                  </a:cubicBezTo>
                  <a:cubicBezTo>
                    <a:pt x="28750" y="6625"/>
                    <a:pt x="28750" y="6625"/>
                    <a:pt x="28750" y="6625"/>
                  </a:cubicBezTo>
                  <a:cubicBezTo>
                    <a:pt x="30416" y="7730"/>
                    <a:pt x="28333" y="10306"/>
                    <a:pt x="27916" y="10674"/>
                  </a:cubicBezTo>
                  <a:cubicBezTo>
                    <a:pt x="27500" y="11042"/>
                    <a:pt x="26666" y="11411"/>
                    <a:pt x="25416" y="11411"/>
                  </a:cubicBezTo>
                  <a:cubicBezTo>
                    <a:pt x="26250" y="12147"/>
                    <a:pt x="26666" y="12883"/>
                    <a:pt x="27500" y="13251"/>
                  </a:cubicBezTo>
                  <a:cubicBezTo>
                    <a:pt x="28750" y="13619"/>
                    <a:pt x="31666" y="14723"/>
                    <a:pt x="32500" y="15828"/>
                  </a:cubicBezTo>
                  <a:cubicBezTo>
                    <a:pt x="32500" y="15828"/>
                    <a:pt x="33333" y="16196"/>
                    <a:pt x="34166" y="16932"/>
                  </a:cubicBezTo>
                  <a:cubicBezTo>
                    <a:pt x="37916" y="19141"/>
                    <a:pt x="39583" y="20613"/>
                    <a:pt x="39583" y="21717"/>
                  </a:cubicBezTo>
                  <a:cubicBezTo>
                    <a:pt x="40000" y="22822"/>
                    <a:pt x="39583" y="26134"/>
                    <a:pt x="38750" y="26871"/>
                  </a:cubicBezTo>
                  <a:cubicBezTo>
                    <a:pt x="37916" y="27239"/>
                    <a:pt x="34583" y="30184"/>
                    <a:pt x="33750" y="30920"/>
                  </a:cubicBezTo>
                  <a:cubicBezTo>
                    <a:pt x="32916" y="31288"/>
                    <a:pt x="32083" y="31656"/>
                    <a:pt x="30833" y="32024"/>
                  </a:cubicBezTo>
                  <a:cubicBezTo>
                    <a:pt x="30000" y="32024"/>
                    <a:pt x="29583" y="32392"/>
                    <a:pt x="29166" y="32392"/>
                  </a:cubicBezTo>
                  <a:cubicBezTo>
                    <a:pt x="28750" y="32760"/>
                    <a:pt x="24583" y="36441"/>
                    <a:pt x="24166" y="37177"/>
                  </a:cubicBezTo>
                  <a:cubicBezTo>
                    <a:pt x="23750" y="38650"/>
                    <a:pt x="23750" y="40122"/>
                    <a:pt x="24166" y="40122"/>
                  </a:cubicBezTo>
                  <a:cubicBezTo>
                    <a:pt x="25833" y="40858"/>
                    <a:pt x="27500" y="42699"/>
                    <a:pt x="27083" y="43803"/>
                  </a:cubicBezTo>
                  <a:cubicBezTo>
                    <a:pt x="27083" y="44171"/>
                    <a:pt x="26666" y="44539"/>
                    <a:pt x="26666" y="44907"/>
                  </a:cubicBezTo>
                  <a:cubicBezTo>
                    <a:pt x="26250" y="45644"/>
                    <a:pt x="25833" y="46012"/>
                    <a:pt x="25833" y="46380"/>
                  </a:cubicBezTo>
                  <a:cubicBezTo>
                    <a:pt x="25833" y="47116"/>
                    <a:pt x="25833" y="47116"/>
                    <a:pt x="25833" y="47116"/>
                  </a:cubicBezTo>
                  <a:cubicBezTo>
                    <a:pt x="25833" y="49693"/>
                    <a:pt x="25833" y="51165"/>
                    <a:pt x="25416" y="51901"/>
                  </a:cubicBezTo>
                  <a:cubicBezTo>
                    <a:pt x="25000" y="52269"/>
                    <a:pt x="24166" y="52638"/>
                    <a:pt x="22500" y="53742"/>
                  </a:cubicBezTo>
                  <a:cubicBezTo>
                    <a:pt x="21250" y="54478"/>
                    <a:pt x="19166" y="55582"/>
                    <a:pt x="18750" y="55950"/>
                  </a:cubicBezTo>
                  <a:cubicBezTo>
                    <a:pt x="18750" y="56319"/>
                    <a:pt x="18750" y="57423"/>
                    <a:pt x="18333" y="59263"/>
                  </a:cubicBezTo>
                  <a:cubicBezTo>
                    <a:pt x="18333" y="61840"/>
                    <a:pt x="17916" y="65153"/>
                    <a:pt x="17916" y="65889"/>
                  </a:cubicBezTo>
                  <a:cubicBezTo>
                    <a:pt x="17916" y="68098"/>
                    <a:pt x="15416" y="71411"/>
                    <a:pt x="15000" y="72147"/>
                  </a:cubicBezTo>
                  <a:cubicBezTo>
                    <a:pt x="14583" y="72515"/>
                    <a:pt x="14166" y="74355"/>
                    <a:pt x="14166" y="74723"/>
                  </a:cubicBezTo>
                  <a:cubicBezTo>
                    <a:pt x="14166" y="75092"/>
                    <a:pt x="13750" y="75828"/>
                    <a:pt x="13333" y="77300"/>
                  </a:cubicBezTo>
                  <a:cubicBezTo>
                    <a:pt x="13333" y="78404"/>
                    <a:pt x="12916" y="79141"/>
                    <a:pt x="12916" y="79877"/>
                  </a:cubicBezTo>
                  <a:cubicBezTo>
                    <a:pt x="12500" y="81349"/>
                    <a:pt x="10416" y="86134"/>
                    <a:pt x="9583" y="86871"/>
                  </a:cubicBezTo>
                  <a:cubicBezTo>
                    <a:pt x="9166" y="87239"/>
                    <a:pt x="8333" y="87607"/>
                    <a:pt x="6666" y="87975"/>
                  </a:cubicBezTo>
                  <a:cubicBezTo>
                    <a:pt x="5000" y="88711"/>
                    <a:pt x="1250" y="90552"/>
                    <a:pt x="416" y="90920"/>
                  </a:cubicBezTo>
                  <a:cubicBezTo>
                    <a:pt x="416" y="91288"/>
                    <a:pt x="416" y="91656"/>
                    <a:pt x="416" y="91656"/>
                  </a:cubicBezTo>
                  <a:cubicBezTo>
                    <a:pt x="416" y="92392"/>
                    <a:pt x="0" y="92760"/>
                    <a:pt x="416" y="93496"/>
                  </a:cubicBezTo>
                  <a:cubicBezTo>
                    <a:pt x="833" y="93865"/>
                    <a:pt x="1250" y="94601"/>
                    <a:pt x="1666" y="94969"/>
                  </a:cubicBezTo>
                  <a:cubicBezTo>
                    <a:pt x="2083" y="95705"/>
                    <a:pt x="2916" y="96809"/>
                    <a:pt x="3333" y="97914"/>
                  </a:cubicBezTo>
                  <a:cubicBezTo>
                    <a:pt x="4583" y="97914"/>
                    <a:pt x="6250" y="99018"/>
                    <a:pt x="6250" y="99018"/>
                  </a:cubicBezTo>
                  <a:cubicBezTo>
                    <a:pt x="6666" y="99386"/>
                    <a:pt x="7916" y="100490"/>
                    <a:pt x="7916" y="101963"/>
                  </a:cubicBezTo>
                  <a:cubicBezTo>
                    <a:pt x="7916" y="103067"/>
                    <a:pt x="7916" y="103067"/>
                    <a:pt x="8333" y="103435"/>
                  </a:cubicBezTo>
                  <a:cubicBezTo>
                    <a:pt x="8333" y="103435"/>
                    <a:pt x="8750" y="103435"/>
                    <a:pt x="8750" y="103803"/>
                  </a:cubicBezTo>
                  <a:cubicBezTo>
                    <a:pt x="9166" y="104171"/>
                    <a:pt x="10833" y="104907"/>
                    <a:pt x="12083" y="105644"/>
                  </a:cubicBezTo>
                  <a:cubicBezTo>
                    <a:pt x="12500" y="105644"/>
                    <a:pt x="12500" y="105644"/>
                    <a:pt x="12500" y="105644"/>
                  </a:cubicBezTo>
                  <a:cubicBezTo>
                    <a:pt x="13750" y="106380"/>
                    <a:pt x="17083" y="106380"/>
                    <a:pt x="18750" y="106380"/>
                  </a:cubicBezTo>
                  <a:cubicBezTo>
                    <a:pt x="20833" y="106380"/>
                    <a:pt x="21666" y="111533"/>
                    <a:pt x="21666" y="111533"/>
                  </a:cubicBezTo>
                  <a:cubicBezTo>
                    <a:pt x="22083" y="111901"/>
                    <a:pt x="24166" y="112269"/>
                    <a:pt x="26250" y="112269"/>
                  </a:cubicBezTo>
                  <a:cubicBezTo>
                    <a:pt x="28750" y="112269"/>
                    <a:pt x="29166" y="118527"/>
                    <a:pt x="29166" y="118527"/>
                  </a:cubicBezTo>
                  <a:cubicBezTo>
                    <a:pt x="29166" y="119263"/>
                    <a:pt x="30833" y="120000"/>
                    <a:pt x="32083" y="120000"/>
                  </a:cubicBezTo>
                  <a:cubicBezTo>
                    <a:pt x="32916" y="120000"/>
                    <a:pt x="34166" y="119263"/>
                    <a:pt x="35000" y="118527"/>
                  </a:cubicBezTo>
                  <a:cubicBezTo>
                    <a:pt x="35416" y="118159"/>
                    <a:pt x="35833" y="118159"/>
                    <a:pt x="36250" y="117791"/>
                  </a:cubicBezTo>
                  <a:cubicBezTo>
                    <a:pt x="37083" y="117423"/>
                    <a:pt x="38333" y="115582"/>
                    <a:pt x="39583" y="114478"/>
                  </a:cubicBezTo>
                  <a:cubicBezTo>
                    <a:pt x="40000" y="114110"/>
                    <a:pt x="40416" y="113742"/>
                    <a:pt x="40833" y="113374"/>
                  </a:cubicBezTo>
                  <a:cubicBezTo>
                    <a:pt x="41666" y="112638"/>
                    <a:pt x="41250" y="110429"/>
                    <a:pt x="41250" y="108957"/>
                  </a:cubicBezTo>
                  <a:cubicBezTo>
                    <a:pt x="41250" y="108220"/>
                    <a:pt x="41250" y="107484"/>
                    <a:pt x="41666" y="107116"/>
                  </a:cubicBezTo>
                  <a:cubicBezTo>
                    <a:pt x="41666" y="106380"/>
                    <a:pt x="42083" y="106012"/>
                    <a:pt x="42916" y="105644"/>
                  </a:cubicBezTo>
                  <a:cubicBezTo>
                    <a:pt x="43750" y="105276"/>
                    <a:pt x="45833" y="105644"/>
                    <a:pt x="46666" y="106380"/>
                  </a:cubicBezTo>
                  <a:cubicBezTo>
                    <a:pt x="47500" y="107116"/>
                    <a:pt x="48750" y="107116"/>
                    <a:pt x="50000" y="106748"/>
                  </a:cubicBezTo>
                  <a:cubicBezTo>
                    <a:pt x="50000" y="106748"/>
                    <a:pt x="50000" y="106748"/>
                    <a:pt x="50000" y="106748"/>
                  </a:cubicBezTo>
                  <a:cubicBezTo>
                    <a:pt x="50833" y="106748"/>
                    <a:pt x="52500" y="106012"/>
                    <a:pt x="53750" y="105276"/>
                  </a:cubicBezTo>
                  <a:cubicBezTo>
                    <a:pt x="54166" y="105276"/>
                    <a:pt x="55000" y="104907"/>
                    <a:pt x="55416" y="104907"/>
                  </a:cubicBezTo>
                  <a:cubicBezTo>
                    <a:pt x="55416" y="104539"/>
                    <a:pt x="56250" y="103435"/>
                    <a:pt x="58333" y="97177"/>
                  </a:cubicBezTo>
                  <a:cubicBezTo>
                    <a:pt x="58333" y="96809"/>
                    <a:pt x="58750" y="96441"/>
                    <a:pt x="58750" y="96441"/>
                  </a:cubicBezTo>
                  <a:cubicBezTo>
                    <a:pt x="58750" y="95337"/>
                    <a:pt x="61666" y="94233"/>
                    <a:pt x="62916" y="93865"/>
                  </a:cubicBezTo>
                  <a:cubicBezTo>
                    <a:pt x="64583" y="93496"/>
                    <a:pt x="67916" y="98282"/>
                    <a:pt x="68750" y="99386"/>
                  </a:cubicBezTo>
                  <a:cubicBezTo>
                    <a:pt x="69583" y="99018"/>
                    <a:pt x="70833" y="97546"/>
                    <a:pt x="71250" y="96809"/>
                  </a:cubicBezTo>
                  <a:cubicBezTo>
                    <a:pt x="72083" y="96073"/>
                    <a:pt x="72083" y="95705"/>
                    <a:pt x="72500" y="95337"/>
                  </a:cubicBezTo>
                  <a:cubicBezTo>
                    <a:pt x="72500" y="94969"/>
                    <a:pt x="71666" y="93865"/>
                    <a:pt x="71250" y="93128"/>
                  </a:cubicBezTo>
                  <a:cubicBezTo>
                    <a:pt x="70833" y="92760"/>
                    <a:pt x="70833" y="92392"/>
                    <a:pt x="70416" y="92024"/>
                  </a:cubicBezTo>
                  <a:cubicBezTo>
                    <a:pt x="69583" y="90552"/>
                    <a:pt x="73750" y="88343"/>
                    <a:pt x="75833" y="87607"/>
                  </a:cubicBezTo>
                  <a:cubicBezTo>
                    <a:pt x="76250" y="87239"/>
                    <a:pt x="77500" y="87239"/>
                    <a:pt x="79166" y="87607"/>
                  </a:cubicBezTo>
                  <a:cubicBezTo>
                    <a:pt x="80000" y="87607"/>
                    <a:pt x="80833" y="87975"/>
                    <a:pt x="81666" y="87975"/>
                  </a:cubicBezTo>
                  <a:cubicBezTo>
                    <a:pt x="82083" y="87975"/>
                    <a:pt x="83750" y="86503"/>
                    <a:pt x="86250" y="83926"/>
                  </a:cubicBezTo>
                  <a:cubicBezTo>
                    <a:pt x="86666" y="83558"/>
                    <a:pt x="86666" y="83558"/>
                    <a:pt x="87083" y="83190"/>
                  </a:cubicBezTo>
                  <a:cubicBezTo>
                    <a:pt x="87083" y="82822"/>
                    <a:pt x="86250" y="82085"/>
                    <a:pt x="85833" y="81717"/>
                  </a:cubicBezTo>
                  <a:cubicBezTo>
                    <a:pt x="85000" y="81349"/>
                    <a:pt x="85000" y="80981"/>
                    <a:pt x="84583" y="80613"/>
                  </a:cubicBezTo>
                  <a:cubicBezTo>
                    <a:pt x="83750" y="79141"/>
                    <a:pt x="85000" y="77668"/>
                    <a:pt x="86250" y="76196"/>
                  </a:cubicBezTo>
                  <a:cubicBezTo>
                    <a:pt x="86666" y="75828"/>
                    <a:pt x="87083" y="75460"/>
                    <a:pt x="87083" y="75092"/>
                  </a:cubicBezTo>
                  <a:cubicBezTo>
                    <a:pt x="87500" y="74355"/>
                    <a:pt x="88750" y="72147"/>
                    <a:pt x="89583" y="70674"/>
                  </a:cubicBezTo>
                  <a:cubicBezTo>
                    <a:pt x="89583" y="69938"/>
                    <a:pt x="88750" y="69202"/>
                    <a:pt x="87916" y="68466"/>
                  </a:cubicBezTo>
                  <a:cubicBezTo>
                    <a:pt x="87500" y="67730"/>
                    <a:pt x="87083" y="67361"/>
                    <a:pt x="86666" y="66625"/>
                  </a:cubicBezTo>
                  <a:cubicBezTo>
                    <a:pt x="85416" y="64785"/>
                    <a:pt x="85416" y="61840"/>
                    <a:pt x="85416" y="60000"/>
                  </a:cubicBezTo>
                  <a:cubicBezTo>
                    <a:pt x="85416" y="59631"/>
                    <a:pt x="85833" y="59263"/>
                    <a:pt x="85833" y="58895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2" name="Shape 6986">
              <a:extLst>
                <a:ext uri="{FF2B5EF4-FFF2-40B4-BE49-F238E27FC236}">
                  <a16:creationId xmlns:a16="http://schemas.microsoft.com/office/drawing/2014/main" id="{BBB739AC-2B6D-477A-8E56-C1BEBB16DE7F}"/>
                </a:ext>
              </a:extLst>
            </p:cNvPr>
            <p:cNvSpPr/>
            <p:nvPr/>
          </p:nvSpPr>
          <p:spPr>
            <a:xfrm>
              <a:off x="1825439" y="3762009"/>
              <a:ext cx="264333" cy="169836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67445" y="113406"/>
                  </a:moveTo>
                  <a:cubicBezTo>
                    <a:pt x="68321" y="112087"/>
                    <a:pt x="68321" y="112087"/>
                    <a:pt x="69197" y="110769"/>
                  </a:cubicBezTo>
                  <a:cubicBezTo>
                    <a:pt x="77956" y="102857"/>
                    <a:pt x="83211" y="98901"/>
                    <a:pt x="84963" y="100219"/>
                  </a:cubicBezTo>
                  <a:cubicBezTo>
                    <a:pt x="85839" y="100219"/>
                    <a:pt x="86715" y="101538"/>
                    <a:pt x="86715" y="101538"/>
                  </a:cubicBezTo>
                  <a:cubicBezTo>
                    <a:pt x="88467" y="105494"/>
                    <a:pt x="88467" y="105494"/>
                    <a:pt x="91094" y="106813"/>
                  </a:cubicBezTo>
                  <a:cubicBezTo>
                    <a:pt x="91970" y="106813"/>
                    <a:pt x="93722" y="106813"/>
                    <a:pt x="95474" y="106813"/>
                  </a:cubicBezTo>
                  <a:cubicBezTo>
                    <a:pt x="98102" y="106813"/>
                    <a:pt x="101605" y="105494"/>
                    <a:pt x="103357" y="109450"/>
                  </a:cubicBezTo>
                  <a:cubicBezTo>
                    <a:pt x="104233" y="109450"/>
                    <a:pt x="104233" y="110769"/>
                    <a:pt x="105109" y="112087"/>
                  </a:cubicBezTo>
                  <a:cubicBezTo>
                    <a:pt x="105985" y="114725"/>
                    <a:pt x="108613" y="118681"/>
                    <a:pt x="109489" y="118681"/>
                  </a:cubicBezTo>
                  <a:cubicBezTo>
                    <a:pt x="109489" y="118681"/>
                    <a:pt x="109489" y="118681"/>
                    <a:pt x="109489" y="118681"/>
                  </a:cubicBezTo>
                  <a:cubicBezTo>
                    <a:pt x="112116" y="116043"/>
                    <a:pt x="118248" y="113406"/>
                    <a:pt x="120000" y="112087"/>
                  </a:cubicBezTo>
                  <a:cubicBezTo>
                    <a:pt x="120000" y="112087"/>
                    <a:pt x="120000" y="112087"/>
                    <a:pt x="120000" y="112087"/>
                  </a:cubicBezTo>
                  <a:cubicBezTo>
                    <a:pt x="120000" y="109450"/>
                    <a:pt x="119124" y="106813"/>
                    <a:pt x="118248" y="104175"/>
                  </a:cubicBezTo>
                  <a:cubicBezTo>
                    <a:pt x="117372" y="104175"/>
                    <a:pt x="117372" y="102857"/>
                    <a:pt x="116496" y="102857"/>
                  </a:cubicBezTo>
                  <a:cubicBezTo>
                    <a:pt x="115620" y="98901"/>
                    <a:pt x="115620" y="89670"/>
                    <a:pt x="116496" y="77802"/>
                  </a:cubicBezTo>
                  <a:cubicBezTo>
                    <a:pt x="116496" y="73846"/>
                    <a:pt x="116496" y="71208"/>
                    <a:pt x="116496" y="69890"/>
                  </a:cubicBezTo>
                  <a:cubicBezTo>
                    <a:pt x="116496" y="67252"/>
                    <a:pt x="111240" y="64615"/>
                    <a:pt x="109489" y="63296"/>
                  </a:cubicBezTo>
                  <a:cubicBezTo>
                    <a:pt x="107737" y="61978"/>
                    <a:pt x="106861" y="61978"/>
                    <a:pt x="105985" y="60659"/>
                  </a:cubicBezTo>
                  <a:cubicBezTo>
                    <a:pt x="104233" y="59340"/>
                    <a:pt x="104233" y="55384"/>
                    <a:pt x="103357" y="47472"/>
                  </a:cubicBezTo>
                  <a:cubicBezTo>
                    <a:pt x="103357" y="44835"/>
                    <a:pt x="102481" y="42197"/>
                    <a:pt x="102481" y="40879"/>
                  </a:cubicBezTo>
                  <a:cubicBezTo>
                    <a:pt x="101605" y="39560"/>
                    <a:pt x="99854" y="38241"/>
                    <a:pt x="92846" y="36923"/>
                  </a:cubicBezTo>
                  <a:cubicBezTo>
                    <a:pt x="91094" y="35604"/>
                    <a:pt x="91094" y="35604"/>
                    <a:pt x="91094" y="35604"/>
                  </a:cubicBezTo>
                  <a:cubicBezTo>
                    <a:pt x="89343" y="35604"/>
                    <a:pt x="85839" y="32967"/>
                    <a:pt x="81459" y="30329"/>
                  </a:cubicBezTo>
                  <a:cubicBezTo>
                    <a:pt x="80583" y="30329"/>
                    <a:pt x="80583" y="30329"/>
                    <a:pt x="79708" y="29010"/>
                  </a:cubicBezTo>
                  <a:cubicBezTo>
                    <a:pt x="79708" y="30329"/>
                    <a:pt x="78832" y="31648"/>
                    <a:pt x="78832" y="32967"/>
                  </a:cubicBezTo>
                  <a:cubicBezTo>
                    <a:pt x="77956" y="34285"/>
                    <a:pt x="77080" y="35604"/>
                    <a:pt x="76204" y="36923"/>
                  </a:cubicBezTo>
                  <a:cubicBezTo>
                    <a:pt x="76204" y="38241"/>
                    <a:pt x="75328" y="38241"/>
                    <a:pt x="74452" y="38241"/>
                  </a:cubicBezTo>
                  <a:cubicBezTo>
                    <a:pt x="72700" y="38241"/>
                    <a:pt x="70948" y="35604"/>
                    <a:pt x="69197" y="32967"/>
                  </a:cubicBezTo>
                  <a:cubicBezTo>
                    <a:pt x="68321" y="31648"/>
                    <a:pt x="67445" y="30329"/>
                    <a:pt x="67445" y="30329"/>
                  </a:cubicBezTo>
                  <a:cubicBezTo>
                    <a:pt x="66569" y="30329"/>
                    <a:pt x="63941" y="32967"/>
                    <a:pt x="63065" y="34285"/>
                  </a:cubicBezTo>
                  <a:cubicBezTo>
                    <a:pt x="61313" y="35604"/>
                    <a:pt x="59562" y="36923"/>
                    <a:pt x="58686" y="36923"/>
                  </a:cubicBezTo>
                  <a:cubicBezTo>
                    <a:pt x="55182" y="39560"/>
                    <a:pt x="51678" y="35604"/>
                    <a:pt x="49927" y="31648"/>
                  </a:cubicBezTo>
                  <a:cubicBezTo>
                    <a:pt x="49051" y="31648"/>
                    <a:pt x="48175" y="30329"/>
                    <a:pt x="47299" y="30329"/>
                  </a:cubicBezTo>
                  <a:cubicBezTo>
                    <a:pt x="45547" y="27692"/>
                    <a:pt x="40291" y="15824"/>
                    <a:pt x="38540" y="11868"/>
                  </a:cubicBezTo>
                  <a:cubicBezTo>
                    <a:pt x="35036" y="7912"/>
                    <a:pt x="24525" y="0"/>
                    <a:pt x="21897" y="0"/>
                  </a:cubicBezTo>
                  <a:cubicBezTo>
                    <a:pt x="21897" y="1318"/>
                    <a:pt x="21021" y="2637"/>
                    <a:pt x="21021" y="2637"/>
                  </a:cubicBezTo>
                  <a:cubicBezTo>
                    <a:pt x="20145" y="5274"/>
                    <a:pt x="19270" y="7912"/>
                    <a:pt x="15766" y="7912"/>
                  </a:cubicBezTo>
                  <a:cubicBezTo>
                    <a:pt x="14890" y="7912"/>
                    <a:pt x="13138" y="7912"/>
                    <a:pt x="12262" y="7912"/>
                  </a:cubicBezTo>
                  <a:cubicBezTo>
                    <a:pt x="10510" y="6593"/>
                    <a:pt x="7007" y="6593"/>
                    <a:pt x="6131" y="7912"/>
                  </a:cubicBezTo>
                  <a:cubicBezTo>
                    <a:pt x="6131" y="7912"/>
                    <a:pt x="6131" y="7912"/>
                    <a:pt x="6131" y="7912"/>
                  </a:cubicBezTo>
                  <a:cubicBezTo>
                    <a:pt x="6131" y="17142"/>
                    <a:pt x="6131" y="25054"/>
                    <a:pt x="4379" y="29010"/>
                  </a:cubicBezTo>
                  <a:cubicBezTo>
                    <a:pt x="3503" y="29010"/>
                    <a:pt x="2627" y="30329"/>
                    <a:pt x="1751" y="30329"/>
                  </a:cubicBezTo>
                  <a:cubicBezTo>
                    <a:pt x="875" y="31648"/>
                    <a:pt x="0" y="31648"/>
                    <a:pt x="0" y="32967"/>
                  </a:cubicBezTo>
                  <a:cubicBezTo>
                    <a:pt x="0" y="32967"/>
                    <a:pt x="0" y="32967"/>
                    <a:pt x="0" y="32967"/>
                  </a:cubicBezTo>
                  <a:cubicBezTo>
                    <a:pt x="0" y="34285"/>
                    <a:pt x="0" y="35604"/>
                    <a:pt x="875" y="35604"/>
                  </a:cubicBezTo>
                  <a:cubicBezTo>
                    <a:pt x="2627" y="40879"/>
                    <a:pt x="4379" y="46153"/>
                    <a:pt x="4379" y="48791"/>
                  </a:cubicBezTo>
                  <a:cubicBezTo>
                    <a:pt x="8759" y="52747"/>
                    <a:pt x="14890" y="56703"/>
                    <a:pt x="16642" y="56703"/>
                  </a:cubicBezTo>
                  <a:cubicBezTo>
                    <a:pt x="16642" y="56703"/>
                    <a:pt x="17518" y="56703"/>
                    <a:pt x="18394" y="56703"/>
                  </a:cubicBezTo>
                  <a:cubicBezTo>
                    <a:pt x="32408" y="56703"/>
                    <a:pt x="37664" y="58021"/>
                    <a:pt x="38540" y="61978"/>
                  </a:cubicBezTo>
                  <a:cubicBezTo>
                    <a:pt x="38540" y="63296"/>
                    <a:pt x="39416" y="65934"/>
                    <a:pt x="39416" y="67252"/>
                  </a:cubicBezTo>
                  <a:cubicBezTo>
                    <a:pt x="39416" y="71208"/>
                    <a:pt x="40291" y="75164"/>
                    <a:pt x="41167" y="77802"/>
                  </a:cubicBezTo>
                  <a:cubicBezTo>
                    <a:pt x="42043" y="77802"/>
                    <a:pt x="42043" y="79120"/>
                    <a:pt x="42919" y="79120"/>
                  </a:cubicBezTo>
                  <a:cubicBezTo>
                    <a:pt x="45547" y="81758"/>
                    <a:pt x="49051" y="85714"/>
                    <a:pt x="47299" y="90989"/>
                  </a:cubicBezTo>
                  <a:cubicBezTo>
                    <a:pt x="47299" y="90989"/>
                    <a:pt x="46423" y="92307"/>
                    <a:pt x="46423" y="93626"/>
                  </a:cubicBezTo>
                  <a:cubicBezTo>
                    <a:pt x="45547" y="96263"/>
                    <a:pt x="44671" y="98901"/>
                    <a:pt x="44671" y="100219"/>
                  </a:cubicBezTo>
                  <a:cubicBezTo>
                    <a:pt x="44671" y="101538"/>
                    <a:pt x="48175" y="112087"/>
                    <a:pt x="50802" y="120000"/>
                  </a:cubicBezTo>
                  <a:cubicBezTo>
                    <a:pt x="57810" y="117362"/>
                    <a:pt x="65693" y="114725"/>
                    <a:pt x="67445" y="113406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3" name="Shape 6987">
              <a:extLst>
                <a:ext uri="{FF2B5EF4-FFF2-40B4-BE49-F238E27FC236}">
                  <a16:creationId xmlns:a16="http://schemas.microsoft.com/office/drawing/2014/main" id="{2D524015-22AF-490C-B948-6B0C5A8590E6}"/>
                </a:ext>
              </a:extLst>
            </p:cNvPr>
            <p:cNvSpPr/>
            <p:nvPr/>
          </p:nvSpPr>
          <p:spPr>
            <a:xfrm>
              <a:off x="1532163" y="3609902"/>
              <a:ext cx="503585" cy="31634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69885" y="71715"/>
                  </a:moveTo>
                  <a:cubicBezTo>
                    <a:pt x="70344" y="71005"/>
                    <a:pt x="70804" y="71005"/>
                    <a:pt x="70804" y="71005"/>
                  </a:cubicBezTo>
                  <a:cubicBezTo>
                    <a:pt x="71264" y="69585"/>
                    <a:pt x="71264" y="63905"/>
                    <a:pt x="71264" y="61775"/>
                  </a:cubicBezTo>
                  <a:cubicBezTo>
                    <a:pt x="71264" y="60355"/>
                    <a:pt x="71724" y="59644"/>
                    <a:pt x="72183" y="59644"/>
                  </a:cubicBezTo>
                  <a:cubicBezTo>
                    <a:pt x="73103" y="58224"/>
                    <a:pt x="74942" y="58224"/>
                    <a:pt x="76321" y="58934"/>
                  </a:cubicBezTo>
                  <a:cubicBezTo>
                    <a:pt x="76781" y="58934"/>
                    <a:pt x="77701" y="58934"/>
                    <a:pt x="78160" y="58934"/>
                  </a:cubicBezTo>
                  <a:cubicBezTo>
                    <a:pt x="79080" y="58934"/>
                    <a:pt x="79080" y="58934"/>
                    <a:pt x="79080" y="58224"/>
                  </a:cubicBezTo>
                  <a:cubicBezTo>
                    <a:pt x="79540" y="57514"/>
                    <a:pt x="79540" y="56804"/>
                    <a:pt x="80459" y="55384"/>
                  </a:cubicBezTo>
                  <a:cubicBezTo>
                    <a:pt x="82298" y="52544"/>
                    <a:pt x="89655" y="59644"/>
                    <a:pt x="91034" y="61065"/>
                  </a:cubicBezTo>
                  <a:cubicBezTo>
                    <a:pt x="91954" y="60355"/>
                    <a:pt x="94252" y="54674"/>
                    <a:pt x="95632" y="51834"/>
                  </a:cubicBezTo>
                  <a:cubicBezTo>
                    <a:pt x="96091" y="50414"/>
                    <a:pt x="96551" y="48994"/>
                    <a:pt x="97011" y="48994"/>
                  </a:cubicBezTo>
                  <a:cubicBezTo>
                    <a:pt x="98390" y="45443"/>
                    <a:pt x="103908" y="44023"/>
                    <a:pt x="105287" y="44023"/>
                  </a:cubicBezTo>
                  <a:cubicBezTo>
                    <a:pt x="107586" y="44023"/>
                    <a:pt x="108965" y="46863"/>
                    <a:pt x="110804" y="48994"/>
                  </a:cubicBezTo>
                  <a:cubicBezTo>
                    <a:pt x="111264" y="48994"/>
                    <a:pt x="111724" y="49704"/>
                    <a:pt x="111724" y="49704"/>
                  </a:cubicBezTo>
                  <a:cubicBezTo>
                    <a:pt x="112183" y="49704"/>
                    <a:pt x="112643" y="48284"/>
                    <a:pt x="113103" y="47573"/>
                  </a:cubicBezTo>
                  <a:cubicBezTo>
                    <a:pt x="113103" y="46863"/>
                    <a:pt x="113103" y="46863"/>
                    <a:pt x="113103" y="46863"/>
                  </a:cubicBezTo>
                  <a:cubicBezTo>
                    <a:pt x="114022" y="44733"/>
                    <a:pt x="118160" y="38343"/>
                    <a:pt x="120000" y="36213"/>
                  </a:cubicBezTo>
                  <a:cubicBezTo>
                    <a:pt x="119540" y="34792"/>
                    <a:pt x="115862" y="29822"/>
                    <a:pt x="114482" y="28402"/>
                  </a:cubicBezTo>
                  <a:cubicBezTo>
                    <a:pt x="114022" y="27692"/>
                    <a:pt x="113563" y="26982"/>
                    <a:pt x="113103" y="26272"/>
                  </a:cubicBezTo>
                  <a:cubicBezTo>
                    <a:pt x="111264" y="23431"/>
                    <a:pt x="105287" y="17751"/>
                    <a:pt x="105287" y="17751"/>
                  </a:cubicBezTo>
                  <a:cubicBezTo>
                    <a:pt x="105287" y="17751"/>
                    <a:pt x="105287" y="17751"/>
                    <a:pt x="105287" y="17751"/>
                  </a:cubicBezTo>
                  <a:cubicBezTo>
                    <a:pt x="104827" y="17041"/>
                    <a:pt x="104827" y="17041"/>
                    <a:pt x="104367" y="16331"/>
                  </a:cubicBezTo>
                  <a:cubicBezTo>
                    <a:pt x="103908" y="15621"/>
                    <a:pt x="103908" y="14911"/>
                    <a:pt x="102068" y="14911"/>
                  </a:cubicBezTo>
                  <a:cubicBezTo>
                    <a:pt x="101609" y="14911"/>
                    <a:pt x="100689" y="14911"/>
                    <a:pt x="100229" y="14911"/>
                  </a:cubicBezTo>
                  <a:cubicBezTo>
                    <a:pt x="98850" y="14911"/>
                    <a:pt x="97471" y="14911"/>
                    <a:pt x="96091" y="12781"/>
                  </a:cubicBezTo>
                  <a:cubicBezTo>
                    <a:pt x="95172" y="11360"/>
                    <a:pt x="93793" y="7100"/>
                    <a:pt x="92413" y="4970"/>
                  </a:cubicBezTo>
                  <a:cubicBezTo>
                    <a:pt x="92413" y="4260"/>
                    <a:pt x="91954" y="3550"/>
                    <a:pt x="91954" y="2840"/>
                  </a:cubicBezTo>
                  <a:cubicBezTo>
                    <a:pt x="91494" y="2130"/>
                    <a:pt x="90574" y="1420"/>
                    <a:pt x="90114" y="1420"/>
                  </a:cubicBezTo>
                  <a:cubicBezTo>
                    <a:pt x="89655" y="1420"/>
                    <a:pt x="89195" y="1420"/>
                    <a:pt x="88735" y="710"/>
                  </a:cubicBezTo>
                  <a:cubicBezTo>
                    <a:pt x="87816" y="710"/>
                    <a:pt x="86896" y="0"/>
                    <a:pt x="86436" y="710"/>
                  </a:cubicBezTo>
                  <a:cubicBezTo>
                    <a:pt x="85977" y="1420"/>
                    <a:pt x="85977" y="2130"/>
                    <a:pt x="85517" y="2130"/>
                  </a:cubicBezTo>
                  <a:cubicBezTo>
                    <a:pt x="84597" y="4260"/>
                    <a:pt x="83678" y="5680"/>
                    <a:pt x="81839" y="6390"/>
                  </a:cubicBezTo>
                  <a:cubicBezTo>
                    <a:pt x="80459" y="7100"/>
                    <a:pt x="71264" y="8520"/>
                    <a:pt x="70804" y="8520"/>
                  </a:cubicBezTo>
                  <a:cubicBezTo>
                    <a:pt x="70344" y="8520"/>
                    <a:pt x="64827" y="8520"/>
                    <a:pt x="61609" y="7810"/>
                  </a:cubicBezTo>
                  <a:cubicBezTo>
                    <a:pt x="61149" y="7810"/>
                    <a:pt x="60689" y="7810"/>
                    <a:pt x="60229" y="7100"/>
                  </a:cubicBezTo>
                  <a:cubicBezTo>
                    <a:pt x="59770" y="7100"/>
                    <a:pt x="58850" y="7100"/>
                    <a:pt x="58850" y="7100"/>
                  </a:cubicBezTo>
                  <a:cubicBezTo>
                    <a:pt x="58850" y="7100"/>
                    <a:pt x="58850" y="7100"/>
                    <a:pt x="58850" y="7100"/>
                  </a:cubicBezTo>
                  <a:cubicBezTo>
                    <a:pt x="58850" y="7100"/>
                    <a:pt x="58850" y="7100"/>
                    <a:pt x="58390" y="7810"/>
                  </a:cubicBezTo>
                  <a:cubicBezTo>
                    <a:pt x="58390" y="8520"/>
                    <a:pt x="58390" y="9940"/>
                    <a:pt x="57931" y="10650"/>
                  </a:cubicBezTo>
                  <a:cubicBezTo>
                    <a:pt x="57931" y="13491"/>
                    <a:pt x="57471" y="17041"/>
                    <a:pt x="55632" y="17041"/>
                  </a:cubicBezTo>
                  <a:cubicBezTo>
                    <a:pt x="55172" y="17041"/>
                    <a:pt x="54252" y="17751"/>
                    <a:pt x="53793" y="17751"/>
                  </a:cubicBezTo>
                  <a:cubicBezTo>
                    <a:pt x="51954" y="17751"/>
                    <a:pt x="49655" y="18461"/>
                    <a:pt x="48275" y="16331"/>
                  </a:cubicBezTo>
                  <a:cubicBezTo>
                    <a:pt x="48275" y="16331"/>
                    <a:pt x="47816" y="15621"/>
                    <a:pt x="47816" y="14911"/>
                  </a:cubicBezTo>
                  <a:cubicBezTo>
                    <a:pt x="46896" y="14201"/>
                    <a:pt x="45517" y="11360"/>
                    <a:pt x="44597" y="11360"/>
                  </a:cubicBezTo>
                  <a:cubicBezTo>
                    <a:pt x="44597" y="11360"/>
                    <a:pt x="44597" y="12071"/>
                    <a:pt x="44137" y="12071"/>
                  </a:cubicBezTo>
                  <a:cubicBezTo>
                    <a:pt x="43678" y="12781"/>
                    <a:pt x="43218" y="12781"/>
                    <a:pt x="42298" y="14911"/>
                  </a:cubicBezTo>
                  <a:cubicBezTo>
                    <a:pt x="42298" y="15621"/>
                    <a:pt x="41839" y="17751"/>
                    <a:pt x="40919" y="19881"/>
                  </a:cubicBezTo>
                  <a:cubicBezTo>
                    <a:pt x="40459" y="22721"/>
                    <a:pt x="39540" y="25562"/>
                    <a:pt x="38620" y="26982"/>
                  </a:cubicBezTo>
                  <a:cubicBezTo>
                    <a:pt x="37701" y="29822"/>
                    <a:pt x="35862" y="33372"/>
                    <a:pt x="33563" y="34082"/>
                  </a:cubicBezTo>
                  <a:cubicBezTo>
                    <a:pt x="32643" y="34082"/>
                    <a:pt x="31724" y="34082"/>
                    <a:pt x="30804" y="34082"/>
                  </a:cubicBezTo>
                  <a:cubicBezTo>
                    <a:pt x="28965" y="34792"/>
                    <a:pt x="27126" y="34792"/>
                    <a:pt x="26666" y="35502"/>
                  </a:cubicBezTo>
                  <a:cubicBezTo>
                    <a:pt x="25287" y="36213"/>
                    <a:pt x="19770" y="39053"/>
                    <a:pt x="17011" y="39053"/>
                  </a:cubicBezTo>
                  <a:cubicBezTo>
                    <a:pt x="16551" y="39053"/>
                    <a:pt x="15632" y="39053"/>
                    <a:pt x="15172" y="39053"/>
                  </a:cubicBezTo>
                  <a:cubicBezTo>
                    <a:pt x="14252" y="39053"/>
                    <a:pt x="13333" y="38343"/>
                    <a:pt x="12873" y="39053"/>
                  </a:cubicBezTo>
                  <a:cubicBezTo>
                    <a:pt x="12873" y="39053"/>
                    <a:pt x="12873" y="39763"/>
                    <a:pt x="12413" y="39763"/>
                  </a:cubicBezTo>
                  <a:cubicBezTo>
                    <a:pt x="11494" y="43313"/>
                    <a:pt x="10114" y="46153"/>
                    <a:pt x="8735" y="46153"/>
                  </a:cubicBezTo>
                  <a:cubicBezTo>
                    <a:pt x="6896" y="46153"/>
                    <a:pt x="5057" y="46863"/>
                    <a:pt x="4137" y="47573"/>
                  </a:cubicBezTo>
                  <a:cubicBezTo>
                    <a:pt x="2298" y="49704"/>
                    <a:pt x="0" y="53964"/>
                    <a:pt x="459" y="55384"/>
                  </a:cubicBezTo>
                  <a:cubicBezTo>
                    <a:pt x="459" y="58224"/>
                    <a:pt x="1379" y="59644"/>
                    <a:pt x="2298" y="61775"/>
                  </a:cubicBezTo>
                  <a:cubicBezTo>
                    <a:pt x="2758" y="61775"/>
                    <a:pt x="2758" y="62485"/>
                    <a:pt x="3218" y="63195"/>
                  </a:cubicBezTo>
                  <a:cubicBezTo>
                    <a:pt x="4137" y="64615"/>
                    <a:pt x="5517" y="66035"/>
                    <a:pt x="5977" y="68165"/>
                  </a:cubicBezTo>
                  <a:cubicBezTo>
                    <a:pt x="5977" y="69585"/>
                    <a:pt x="6436" y="71715"/>
                    <a:pt x="6436" y="73846"/>
                  </a:cubicBezTo>
                  <a:cubicBezTo>
                    <a:pt x="7816" y="76686"/>
                    <a:pt x="10114" y="80946"/>
                    <a:pt x="11034" y="81656"/>
                  </a:cubicBezTo>
                  <a:cubicBezTo>
                    <a:pt x="11494" y="82366"/>
                    <a:pt x="12873" y="82366"/>
                    <a:pt x="13793" y="82366"/>
                  </a:cubicBezTo>
                  <a:cubicBezTo>
                    <a:pt x="14712" y="82366"/>
                    <a:pt x="15172" y="82366"/>
                    <a:pt x="15632" y="83076"/>
                  </a:cubicBezTo>
                  <a:cubicBezTo>
                    <a:pt x="17011" y="83786"/>
                    <a:pt x="17471" y="85917"/>
                    <a:pt x="18390" y="88757"/>
                  </a:cubicBezTo>
                  <a:cubicBezTo>
                    <a:pt x="18850" y="90887"/>
                    <a:pt x="19770" y="93017"/>
                    <a:pt x="20689" y="94437"/>
                  </a:cubicBezTo>
                  <a:cubicBezTo>
                    <a:pt x="21609" y="95857"/>
                    <a:pt x="21149" y="98698"/>
                    <a:pt x="21149" y="100828"/>
                  </a:cubicBezTo>
                  <a:cubicBezTo>
                    <a:pt x="21149" y="101538"/>
                    <a:pt x="20689" y="102248"/>
                    <a:pt x="20689" y="102248"/>
                  </a:cubicBezTo>
                  <a:cubicBezTo>
                    <a:pt x="20689" y="103668"/>
                    <a:pt x="22988" y="108639"/>
                    <a:pt x="24367" y="110059"/>
                  </a:cubicBezTo>
                  <a:cubicBezTo>
                    <a:pt x="25747" y="111479"/>
                    <a:pt x="26666" y="114319"/>
                    <a:pt x="26666" y="117869"/>
                  </a:cubicBezTo>
                  <a:cubicBezTo>
                    <a:pt x="26666" y="119289"/>
                    <a:pt x="27586" y="119289"/>
                    <a:pt x="29885" y="119289"/>
                  </a:cubicBezTo>
                  <a:cubicBezTo>
                    <a:pt x="30804" y="119289"/>
                    <a:pt x="31264" y="118579"/>
                    <a:pt x="32183" y="116449"/>
                  </a:cubicBezTo>
                  <a:cubicBezTo>
                    <a:pt x="32643" y="115739"/>
                    <a:pt x="33103" y="115029"/>
                    <a:pt x="33563" y="114319"/>
                  </a:cubicBezTo>
                  <a:cubicBezTo>
                    <a:pt x="34482" y="112189"/>
                    <a:pt x="36321" y="112899"/>
                    <a:pt x="38160" y="113609"/>
                  </a:cubicBezTo>
                  <a:cubicBezTo>
                    <a:pt x="38620" y="113609"/>
                    <a:pt x="39080" y="113609"/>
                    <a:pt x="39540" y="113609"/>
                  </a:cubicBezTo>
                  <a:cubicBezTo>
                    <a:pt x="40919" y="113609"/>
                    <a:pt x="41839" y="113609"/>
                    <a:pt x="42758" y="112189"/>
                  </a:cubicBezTo>
                  <a:cubicBezTo>
                    <a:pt x="44597" y="110769"/>
                    <a:pt x="45517" y="110769"/>
                    <a:pt x="46896" y="110769"/>
                  </a:cubicBezTo>
                  <a:cubicBezTo>
                    <a:pt x="46896" y="110769"/>
                    <a:pt x="47356" y="110769"/>
                    <a:pt x="47816" y="110769"/>
                  </a:cubicBezTo>
                  <a:cubicBezTo>
                    <a:pt x="48275" y="110769"/>
                    <a:pt x="49195" y="110769"/>
                    <a:pt x="49195" y="111479"/>
                  </a:cubicBezTo>
                  <a:cubicBezTo>
                    <a:pt x="50114" y="113609"/>
                    <a:pt x="50114" y="117159"/>
                    <a:pt x="49655" y="119289"/>
                  </a:cubicBezTo>
                  <a:cubicBezTo>
                    <a:pt x="51034" y="119289"/>
                    <a:pt x="52873" y="120000"/>
                    <a:pt x="53793" y="119289"/>
                  </a:cubicBezTo>
                  <a:cubicBezTo>
                    <a:pt x="54252" y="119289"/>
                    <a:pt x="54252" y="119289"/>
                    <a:pt x="54252" y="117159"/>
                  </a:cubicBezTo>
                  <a:cubicBezTo>
                    <a:pt x="54252" y="116449"/>
                    <a:pt x="54712" y="115739"/>
                    <a:pt x="54712" y="115029"/>
                  </a:cubicBezTo>
                  <a:cubicBezTo>
                    <a:pt x="54712" y="112189"/>
                    <a:pt x="56551" y="109349"/>
                    <a:pt x="60229" y="105088"/>
                  </a:cubicBezTo>
                  <a:cubicBezTo>
                    <a:pt x="61149" y="104378"/>
                    <a:pt x="61609" y="96568"/>
                    <a:pt x="61609" y="93727"/>
                  </a:cubicBezTo>
                  <a:cubicBezTo>
                    <a:pt x="61609" y="92307"/>
                    <a:pt x="61609" y="90177"/>
                    <a:pt x="70344" y="84497"/>
                  </a:cubicBezTo>
                  <a:cubicBezTo>
                    <a:pt x="70344" y="84497"/>
                    <a:pt x="70344" y="84497"/>
                    <a:pt x="70344" y="84497"/>
                  </a:cubicBezTo>
                  <a:cubicBezTo>
                    <a:pt x="70344" y="83076"/>
                    <a:pt x="68965" y="79526"/>
                    <a:pt x="68505" y="78106"/>
                  </a:cubicBezTo>
                  <a:cubicBezTo>
                    <a:pt x="68505" y="77396"/>
                    <a:pt x="68505" y="77396"/>
                    <a:pt x="68045" y="76686"/>
                  </a:cubicBezTo>
                  <a:cubicBezTo>
                    <a:pt x="68045" y="75976"/>
                    <a:pt x="67586" y="74556"/>
                    <a:pt x="68045" y="73846"/>
                  </a:cubicBezTo>
                  <a:cubicBezTo>
                    <a:pt x="68045" y="72426"/>
                    <a:pt x="68965" y="72426"/>
                    <a:pt x="69885" y="71715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4" name="Shape 6988">
              <a:extLst>
                <a:ext uri="{FF2B5EF4-FFF2-40B4-BE49-F238E27FC236}">
                  <a16:creationId xmlns:a16="http://schemas.microsoft.com/office/drawing/2014/main" id="{C4C00222-F43E-4226-B99A-5EAFFBAC3D95}"/>
                </a:ext>
              </a:extLst>
            </p:cNvPr>
            <p:cNvSpPr/>
            <p:nvPr/>
          </p:nvSpPr>
          <p:spPr>
            <a:xfrm>
              <a:off x="1796495" y="3911315"/>
              <a:ext cx="451489" cy="35927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80000" y="113125"/>
                  </a:moveTo>
                  <a:cubicBezTo>
                    <a:pt x="79487" y="113750"/>
                    <a:pt x="78461" y="115000"/>
                    <a:pt x="77948" y="115625"/>
                  </a:cubicBezTo>
                  <a:cubicBezTo>
                    <a:pt x="78974" y="116250"/>
                    <a:pt x="80512" y="118125"/>
                    <a:pt x="82051" y="120000"/>
                  </a:cubicBezTo>
                  <a:cubicBezTo>
                    <a:pt x="83589" y="119375"/>
                    <a:pt x="85641" y="118125"/>
                    <a:pt x="85641" y="117500"/>
                  </a:cubicBezTo>
                  <a:cubicBezTo>
                    <a:pt x="86153" y="117500"/>
                    <a:pt x="86666" y="115625"/>
                    <a:pt x="87179" y="114375"/>
                  </a:cubicBezTo>
                  <a:cubicBezTo>
                    <a:pt x="87692" y="112500"/>
                    <a:pt x="88205" y="111250"/>
                    <a:pt x="88717" y="110000"/>
                  </a:cubicBezTo>
                  <a:cubicBezTo>
                    <a:pt x="89743" y="108125"/>
                    <a:pt x="91794" y="108750"/>
                    <a:pt x="92820" y="108750"/>
                  </a:cubicBezTo>
                  <a:cubicBezTo>
                    <a:pt x="93333" y="108750"/>
                    <a:pt x="93333" y="108750"/>
                    <a:pt x="93846" y="108750"/>
                  </a:cubicBezTo>
                  <a:cubicBezTo>
                    <a:pt x="94871" y="108750"/>
                    <a:pt x="98974" y="103125"/>
                    <a:pt x="100000" y="101250"/>
                  </a:cubicBezTo>
                  <a:cubicBezTo>
                    <a:pt x="100000" y="100625"/>
                    <a:pt x="99487" y="100000"/>
                    <a:pt x="98461" y="99375"/>
                  </a:cubicBezTo>
                  <a:cubicBezTo>
                    <a:pt x="97435" y="98750"/>
                    <a:pt x="97948" y="97500"/>
                    <a:pt x="97948" y="96250"/>
                  </a:cubicBezTo>
                  <a:cubicBezTo>
                    <a:pt x="97948" y="95625"/>
                    <a:pt x="98461" y="94375"/>
                    <a:pt x="98461" y="93750"/>
                  </a:cubicBezTo>
                  <a:cubicBezTo>
                    <a:pt x="98461" y="91875"/>
                    <a:pt x="97948" y="91250"/>
                    <a:pt x="97435" y="90000"/>
                  </a:cubicBezTo>
                  <a:cubicBezTo>
                    <a:pt x="97435" y="89375"/>
                    <a:pt x="96923" y="88750"/>
                    <a:pt x="96923" y="88750"/>
                  </a:cubicBezTo>
                  <a:cubicBezTo>
                    <a:pt x="96923" y="87500"/>
                    <a:pt x="96923" y="86875"/>
                    <a:pt x="96923" y="86250"/>
                  </a:cubicBezTo>
                  <a:cubicBezTo>
                    <a:pt x="97948" y="85625"/>
                    <a:pt x="98974" y="85000"/>
                    <a:pt x="100000" y="85000"/>
                  </a:cubicBezTo>
                  <a:cubicBezTo>
                    <a:pt x="100512" y="85000"/>
                    <a:pt x="100512" y="85000"/>
                    <a:pt x="101025" y="85000"/>
                  </a:cubicBezTo>
                  <a:cubicBezTo>
                    <a:pt x="102051" y="85000"/>
                    <a:pt x="102564" y="85625"/>
                    <a:pt x="103589" y="86250"/>
                  </a:cubicBezTo>
                  <a:cubicBezTo>
                    <a:pt x="104102" y="86250"/>
                    <a:pt x="104102" y="86250"/>
                    <a:pt x="104615" y="86875"/>
                  </a:cubicBezTo>
                  <a:cubicBezTo>
                    <a:pt x="105128" y="86875"/>
                    <a:pt x="106666" y="85625"/>
                    <a:pt x="107179" y="84375"/>
                  </a:cubicBezTo>
                  <a:cubicBezTo>
                    <a:pt x="107692" y="83750"/>
                    <a:pt x="109230" y="83750"/>
                    <a:pt x="111794" y="83750"/>
                  </a:cubicBezTo>
                  <a:cubicBezTo>
                    <a:pt x="112307" y="83750"/>
                    <a:pt x="113333" y="83750"/>
                    <a:pt x="113333" y="83750"/>
                  </a:cubicBezTo>
                  <a:cubicBezTo>
                    <a:pt x="113846" y="83125"/>
                    <a:pt x="118461" y="79375"/>
                    <a:pt x="118974" y="77500"/>
                  </a:cubicBezTo>
                  <a:cubicBezTo>
                    <a:pt x="120000" y="76875"/>
                    <a:pt x="119487" y="74375"/>
                    <a:pt x="118974" y="73750"/>
                  </a:cubicBezTo>
                  <a:cubicBezTo>
                    <a:pt x="118974" y="73125"/>
                    <a:pt x="118974" y="73125"/>
                    <a:pt x="118974" y="73125"/>
                  </a:cubicBezTo>
                  <a:cubicBezTo>
                    <a:pt x="118974" y="72500"/>
                    <a:pt x="118461" y="70000"/>
                    <a:pt x="117435" y="68750"/>
                  </a:cubicBezTo>
                  <a:cubicBezTo>
                    <a:pt x="116923" y="68125"/>
                    <a:pt x="115897" y="68125"/>
                    <a:pt x="115384" y="67500"/>
                  </a:cubicBezTo>
                  <a:cubicBezTo>
                    <a:pt x="114871" y="67500"/>
                    <a:pt x="113846" y="66875"/>
                    <a:pt x="113333" y="66875"/>
                  </a:cubicBezTo>
                  <a:cubicBezTo>
                    <a:pt x="111282" y="65625"/>
                    <a:pt x="110769" y="63750"/>
                    <a:pt x="111282" y="61250"/>
                  </a:cubicBezTo>
                  <a:cubicBezTo>
                    <a:pt x="111794" y="58750"/>
                    <a:pt x="113333" y="57500"/>
                    <a:pt x="114358" y="56875"/>
                  </a:cubicBezTo>
                  <a:cubicBezTo>
                    <a:pt x="114358" y="56875"/>
                    <a:pt x="114358" y="56875"/>
                    <a:pt x="114358" y="56250"/>
                  </a:cubicBezTo>
                  <a:cubicBezTo>
                    <a:pt x="113846" y="56250"/>
                    <a:pt x="112820" y="55000"/>
                    <a:pt x="112307" y="54375"/>
                  </a:cubicBezTo>
                  <a:cubicBezTo>
                    <a:pt x="111794" y="53750"/>
                    <a:pt x="111282" y="53750"/>
                    <a:pt x="110769" y="53125"/>
                  </a:cubicBezTo>
                  <a:cubicBezTo>
                    <a:pt x="109230" y="51250"/>
                    <a:pt x="109743" y="49375"/>
                    <a:pt x="110256" y="48125"/>
                  </a:cubicBezTo>
                  <a:cubicBezTo>
                    <a:pt x="110256" y="47500"/>
                    <a:pt x="110256" y="46875"/>
                    <a:pt x="110256" y="46250"/>
                  </a:cubicBezTo>
                  <a:cubicBezTo>
                    <a:pt x="110256" y="45625"/>
                    <a:pt x="110256" y="45625"/>
                    <a:pt x="108205" y="45625"/>
                  </a:cubicBezTo>
                  <a:cubicBezTo>
                    <a:pt x="108205" y="45625"/>
                    <a:pt x="107692" y="45625"/>
                    <a:pt x="107179" y="45000"/>
                  </a:cubicBezTo>
                  <a:cubicBezTo>
                    <a:pt x="105641" y="45000"/>
                    <a:pt x="104615" y="43125"/>
                    <a:pt x="104102" y="41875"/>
                  </a:cubicBezTo>
                  <a:cubicBezTo>
                    <a:pt x="104102" y="41875"/>
                    <a:pt x="103589" y="41250"/>
                    <a:pt x="103589" y="41250"/>
                  </a:cubicBezTo>
                  <a:cubicBezTo>
                    <a:pt x="103076" y="40000"/>
                    <a:pt x="99487" y="38125"/>
                    <a:pt x="98461" y="38125"/>
                  </a:cubicBezTo>
                  <a:cubicBezTo>
                    <a:pt x="96923" y="37500"/>
                    <a:pt x="94358" y="33125"/>
                    <a:pt x="93846" y="31250"/>
                  </a:cubicBezTo>
                  <a:cubicBezTo>
                    <a:pt x="93333" y="31250"/>
                    <a:pt x="90769" y="30625"/>
                    <a:pt x="89743" y="30625"/>
                  </a:cubicBezTo>
                  <a:cubicBezTo>
                    <a:pt x="88205" y="30625"/>
                    <a:pt x="87179" y="30625"/>
                    <a:pt x="86666" y="30000"/>
                  </a:cubicBezTo>
                  <a:cubicBezTo>
                    <a:pt x="86666" y="30000"/>
                    <a:pt x="86666" y="30000"/>
                    <a:pt x="86666" y="30000"/>
                  </a:cubicBezTo>
                  <a:cubicBezTo>
                    <a:pt x="86666" y="30000"/>
                    <a:pt x="86666" y="30000"/>
                    <a:pt x="86666" y="30000"/>
                  </a:cubicBezTo>
                  <a:cubicBezTo>
                    <a:pt x="86666" y="30000"/>
                    <a:pt x="86666" y="30000"/>
                    <a:pt x="86666" y="30000"/>
                  </a:cubicBezTo>
                  <a:cubicBezTo>
                    <a:pt x="84615" y="29375"/>
                    <a:pt x="81538" y="23750"/>
                    <a:pt x="81025" y="22500"/>
                  </a:cubicBezTo>
                  <a:cubicBezTo>
                    <a:pt x="81025" y="21875"/>
                    <a:pt x="81025" y="21875"/>
                    <a:pt x="81025" y="21875"/>
                  </a:cubicBezTo>
                  <a:cubicBezTo>
                    <a:pt x="80000" y="19375"/>
                    <a:pt x="78974" y="16875"/>
                    <a:pt x="78461" y="14375"/>
                  </a:cubicBezTo>
                  <a:cubicBezTo>
                    <a:pt x="78461" y="12500"/>
                    <a:pt x="77948" y="8750"/>
                    <a:pt x="77948" y="6250"/>
                  </a:cubicBezTo>
                  <a:cubicBezTo>
                    <a:pt x="76410" y="6875"/>
                    <a:pt x="73846" y="7500"/>
                    <a:pt x="73333" y="8750"/>
                  </a:cubicBezTo>
                  <a:cubicBezTo>
                    <a:pt x="71282" y="10000"/>
                    <a:pt x="69230" y="6875"/>
                    <a:pt x="67692" y="5000"/>
                  </a:cubicBezTo>
                  <a:cubicBezTo>
                    <a:pt x="67179" y="4375"/>
                    <a:pt x="67179" y="3750"/>
                    <a:pt x="66666" y="3125"/>
                  </a:cubicBezTo>
                  <a:cubicBezTo>
                    <a:pt x="66153" y="3125"/>
                    <a:pt x="65128" y="3125"/>
                    <a:pt x="63589" y="3125"/>
                  </a:cubicBezTo>
                  <a:cubicBezTo>
                    <a:pt x="62564" y="3125"/>
                    <a:pt x="61538" y="3125"/>
                    <a:pt x="60512" y="3125"/>
                  </a:cubicBezTo>
                  <a:cubicBezTo>
                    <a:pt x="58461" y="2500"/>
                    <a:pt x="57948" y="1875"/>
                    <a:pt x="56923" y="0"/>
                  </a:cubicBezTo>
                  <a:cubicBezTo>
                    <a:pt x="55384" y="0"/>
                    <a:pt x="51282" y="3750"/>
                    <a:pt x="49743" y="5000"/>
                  </a:cubicBezTo>
                  <a:cubicBezTo>
                    <a:pt x="48717" y="5000"/>
                    <a:pt x="48717" y="5625"/>
                    <a:pt x="48205" y="5625"/>
                  </a:cubicBezTo>
                  <a:cubicBezTo>
                    <a:pt x="46153" y="6875"/>
                    <a:pt x="31282" y="11250"/>
                    <a:pt x="29743" y="11250"/>
                  </a:cubicBezTo>
                  <a:cubicBezTo>
                    <a:pt x="28717" y="11875"/>
                    <a:pt x="25641" y="14375"/>
                    <a:pt x="23589" y="15625"/>
                  </a:cubicBezTo>
                  <a:cubicBezTo>
                    <a:pt x="22564" y="16875"/>
                    <a:pt x="21538" y="17500"/>
                    <a:pt x="21025" y="17500"/>
                  </a:cubicBezTo>
                  <a:cubicBezTo>
                    <a:pt x="20512" y="18125"/>
                    <a:pt x="20512" y="20625"/>
                    <a:pt x="20512" y="25000"/>
                  </a:cubicBezTo>
                  <a:cubicBezTo>
                    <a:pt x="20512" y="25625"/>
                    <a:pt x="20512" y="26250"/>
                    <a:pt x="20512" y="26250"/>
                  </a:cubicBezTo>
                  <a:cubicBezTo>
                    <a:pt x="20512" y="28125"/>
                    <a:pt x="20000" y="30000"/>
                    <a:pt x="13333" y="31875"/>
                  </a:cubicBezTo>
                  <a:cubicBezTo>
                    <a:pt x="12307" y="31875"/>
                    <a:pt x="10256" y="31250"/>
                    <a:pt x="6666" y="29375"/>
                  </a:cubicBezTo>
                  <a:cubicBezTo>
                    <a:pt x="5641" y="28750"/>
                    <a:pt x="2564" y="30625"/>
                    <a:pt x="1025" y="31250"/>
                  </a:cubicBezTo>
                  <a:cubicBezTo>
                    <a:pt x="1025" y="31250"/>
                    <a:pt x="512" y="31875"/>
                    <a:pt x="0" y="31875"/>
                  </a:cubicBezTo>
                  <a:cubicBezTo>
                    <a:pt x="0" y="33750"/>
                    <a:pt x="512" y="35625"/>
                    <a:pt x="512" y="36875"/>
                  </a:cubicBezTo>
                  <a:cubicBezTo>
                    <a:pt x="2564" y="35625"/>
                    <a:pt x="6666" y="34375"/>
                    <a:pt x="9230" y="35625"/>
                  </a:cubicBezTo>
                  <a:cubicBezTo>
                    <a:pt x="11794" y="36875"/>
                    <a:pt x="12820" y="38125"/>
                    <a:pt x="13846" y="39375"/>
                  </a:cubicBezTo>
                  <a:cubicBezTo>
                    <a:pt x="14871" y="40625"/>
                    <a:pt x="14871" y="40625"/>
                    <a:pt x="14871" y="40625"/>
                  </a:cubicBezTo>
                  <a:cubicBezTo>
                    <a:pt x="21025" y="48750"/>
                    <a:pt x="22564" y="50000"/>
                    <a:pt x="23076" y="50000"/>
                  </a:cubicBezTo>
                  <a:cubicBezTo>
                    <a:pt x="23589" y="50000"/>
                    <a:pt x="24102" y="49375"/>
                    <a:pt x="24615" y="48750"/>
                  </a:cubicBezTo>
                  <a:cubicBezTo>
                    <a:pt x="26153" y="48125"/>
                    <a:pt x="27179" y="47500"/>
                    <a:pt x="28205" y="48125"/>
                  </a:cubicBezTo>
                  <a:cubicBezTo>
                    <a:pt x="29230" y="48125"/>
                    <a:pt x="31794" y="49375"/>
                    <a:pt x="31794" y="52500"/>
                  </a:cubicBezTo>
                  <a:cubicBezTo>
                    <a:pt x="32307" y="52500"/>
                    <a:pt x="32307" y="53750"/>
                    <a:pt x="32307" y="54375"/>
                  </a:cubicBezTo>
                  <a:cubicBezTo>
                    <a:pt x="32307" y="56250"/>
                    <a:pt x="32820" y="60625"/>
                    <a:pt x="33333" y="61250"/>
                  </a:cubicBezTo>
                  <a:cubicBezTo>
                    <a:pt x="33846" y="61875"/>
                    <a:pt x="34871" y="63125"/>
                    <a:pt x="35384" y="63750"/>
                  </a:cubicBezTo>
                  <a:cubicBezTo>
                    <a:pt x="37948" y="66250"/>
                    <a:pt x="39487" y="67500"/>
                    <a:pt x="39487" y="68750"/>
                  </a:cubicBezTo>
                  <a:cubicBezTo>
                    <a:pt x="40000" y="70625"/>
                    <a:pt x="40512" y="71875"/>
                    <a:pt x="41538" y="73750"/>
                  </a:cubicBezTo>
                  <a:cubicBezTo>
                    <a:pt x="42051" y="75625"/>
                    <a:pt x="47692" y="83125"/>
                    <a:pt x="49230" y="84375"/>
                  </a:cubicBezTo>
                  <a:cubicBezTo>
                    <a:pt x="49743" y="84375"/>
                    <a:pt x="50256" y="83750"/>
                    <a:pt x="50769" y="83125"/>
                  </a:cubicBezTo>
                  <a:cubicBezTo>
                    <a:pt x="52307" y="81250"/>
                    <a:pt x="53333" y="80000"/>
                    <a:pt x="54358" y="80000"/>
                  </a:cubicBezTo>
                  <a:cubicBezTo>
                    <a:pt x="54871" y="80000"/>
                    <a:pt x="54871" y="80000"/>
                    <a:pt x="54871" y="80000"/>
                  </a:cubicBezTo>
                  <a:cubicBezTo>
                    <a:pt x="56410" y="80000"/>
                    <a:pt x="59487" y="80000"/>
                    <a:pt x="60512" y="81875"/>
                  </a:cubicBezTo>
                  <a:cubicBezTo>
                    <a:pt x="61025" y="82500"/>
                    <a:pt x="62051" y="83750"/>
                    <a:pt x="63589" y="85000"/>
                  </a:cubicBezTo>
                  <a:cubicBezTo>
                    <a:pt x="68717" y="90625"/>
                    <a:pt x="69230" y="91875"/>
                    <a:pt x="69230" y="93125"/>
                  </a:cubicBezTo>
                  <a:cubicBezTo>
                    <a:pt x="69230" y="93750"/>
                    <a:pt x="68717" y="93750"/>
                    <a:pt x="68717" y="94375"/>
                  </a:cubicBezTo>
                  <a:cubicBezTo>
                    <a:pt x="68205" y="95625"/>
                    <a:pt x="68205" y="96250"/>
                    <a:pt x="68205" y="96875"/>
                  </a:cubicBezTo>
                  <a:cubicBezTo>
                    <a:pt x="68717" y="96875"/>
                    <a:pt x="68717" y="97500"/>
                    <a:pt x="68717" y="98125"/>
                  </a:cubicBezTo>
                  <a:cubicBezTo>
                    <a:pt x="69230" y="100625"/>
                    <a:pt x="69743" y="101875"/>
                    <a:pt x="70256" y="101875"/>
                  </a:cubicBezTo>
                  <a:cubicBezTo>
                    <a:pt x="71794" y="102500"/>
                    <a:pt x="74358" y="101875"/>
                    <a:pt x="76410" y="103125"/>
                  </a:cubicBezTo>
                  <a:cubicBezTo>
                    <a:pt x="77948" y="104375"/>
                    <a:pt x="81538" y="107500"/>
                    <a:pt x="82051" y="110000"/>
                  </a:cubicBezTo>
                  <a:cubicBezTo>
                    <a:pt x="82051" y="110625"/>
                    <a:pt x="81538" y="111250"/>
                    <a:pt x="81538" y="111250"/>
                  </a:cubicBezTo>
                  <a:cubicBezTo>
                    <a:pt x="81538" y="111875"/>
                    <a:pt x="81025" y="112500"/>
                    <a:pt x="80000" y="113125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5" name="Shape 6989">
              <a:extLst>
                <a:ext uri="{FF2B5EF4-FFF2-40B4-BE49-F238E27FC236}">
                  <a16:creationId xmlns:a16="http://schemas.microsoft.com/office/drawing/2014/main" id="{110A4ECA-F74C-4F30-9D97-BEAC828D7EFC}"/>
                </a:ext>
              </a:extLst>
            </p:cNvPr>
            <p:cNvSpPr/>
            <p:nvPr/>
          </p:nvSpPr>
          <p:spPr>
            <a:xfrm>
              <a:off x="2109067" y="4080218"/>
              <a:ext cx="462101" cy="59069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70794" y="46329"/>
                  </a:moveTo>
                  <a:cubicBezTo>
                    <a:pt x="70794" y="44430"/>
                    <a:pt x="77322" y="42151"/>
                    <a:pt x="78828" y="41772"/>
                  </a:cubicBezTo>
                  <a:cubicBezTo>
                    <a:pt x="80836" y="41012"/>
                    <a:pt x="86359" y="42531"/>
                    <a:pt x="87364" y="43291"/>
                  </a:cubicBezTo>
                  <a:cubicBezTo>
                    <a:pt x="89372" y="44050"/>
                    <a:pt x="92887" y="45569"/>
                    <a:pt x="93891" y="46708"/>
                  </a:cubicBezTo>
                  <a:cubicBezTo>
                    <a:pt x="95397" y="48227"/>
                    <a:pt x="95899" y="50126"/>
                    <a:pt x="95899" y="51265"/>
                  </a:cubicBezTo>
                  <a:cubicBezTo>
                    <a:pt x="96401" y="51645"/>
                    <a:pt x="101422" y="53164"/>
                    <a:pt x="102426" y="53164"/>
                  </a:cubicBezTo>
                  <a:cubicBezTo>
                    <a:pt x="102426" y="53164"/>
                    <a:pt x="103430" y="52405"/>
                    <a:pt x="103933" y="51645"/>
                  </a:cubicBezTo>
                  <a:cubicBezTo>
                    <a:pt x="104937" y="51265"/>
                    <a:pt x="105439" y="50506"/>
                    <a:pt x="105941" y="50126"/>
                  </a:cubicBezTo>
                  <a:cubicBezTo>
                    <a:pt x="106945" y="49746"/>
                    <a:pt x="109456" y="48987"/>
                    <a:pt x="112970" y="48607"/>
                  </a:cubicBezTo>
                  <a:cubicBezTo>
                    <a:pt x="113974" y="48607"/>
                    <a:pt x="113974" y="48607"/>
                    <a:pt x="113974" y="48607"/>
                  </a:cubicBezTo>
                  <a:cubicBezTo>
                    <a:pt x="113974" y="48227"/>
                    <a:pt x="113974" y="47848"/>
                    <a:pt x="113974" y="45949"/>
                  </a:cubicBezTo>
                  <a:cubicBezTo>
                    <a:pt x="113974" y="44810"/>
                    <a:pt x="114476" y="44050"/>
                    <a:pt x="115481" y="42531"/>
                  </a:cubicBezTo>
                  <a:cubicBezTo>
                    <a:pt x="116485" y="41772"/>
                    <a:pt x="117489" y="40253"/>
                    <a:pt x="117991" y="38734"/>
                  </a:cubicBezTo>
                  <a:cubicBezTo>
                    <a:pt x="118995" y="37594"/>
                    <a:pt x="119497" y="36455"/>
                    <a:pt x="120000" y="35696"/>
                  </a:cubicBezTo>
                  <a:cubicBezTo>
                    <a:pt x="120000" y="35316"/>
                    <a:pt x="119497" y="33797"/>
                    <a:pt x="118493" y="32278"/>
                  </a:cubicBezTo>
                  <a:cubicBezTo>
                    <a:pt x="117991" y="33037"/>
                    <a:pt x="116485" y="33797"/>
                    <a:pt x="114979" y="35316"/>
                  </a:cubicBezTo>
                  <a:cubicBezTo>
                    <a:pt x="114476" y="35696"/>
                    <a:pt x="113974" y="35696"/>
                    <a:pt x="113472" y="35696"/>
                  </a:cubicBezTo>
                  <a:cubicBezTo>
                    <a:pt x="112468" y="35696"/>
                    <a:pt x="111464" y="34556"/>
                    <a:pt x="109958" y="31139"/>
                  </a:cubicBezTo>
                  <a:cubicBezTo>
                    <a:pt x="109958" y="30759"/>
                    <a:pt x="109958" y="30759"/>
                    <a:pt x="109958" y="30759"/>
                  </a:cubicBezTo>
                  <a:cubicBezTo>
                    <a:pt x="109958" y="30379"/>
                    <a:pt x="107949" y="30379"/>
                    <a:pt x="107447" y="30379"/>
                  </a:cubicBezTo>
                  <a:cubicBezTo>
                    <a:pt x="106443" y="30379"/>
                    <a:pt x="105439" y="30379"/>
                    <a:pt x="104937" y="30379"/>
                  </a:cubicBezTo>
                  <a:cubicBezTo>
                    <a:pt x="103430" y="30000"/>
                    <a:pt x="100920" y="28860"/>
                    <a:pt x="99414" y="27341"/>
                  </a:cubicBezTo>
                  <a:cubicBezTo>
                    <a:pt x="97907" y="26582"/>
                    <a:pt x="93891" y="22784"/>
                    <a:pt x="92384" y="21645"/>
                  </a:cubicBezTo>
                  <a:cubicBezTo>
                    <a:pt x="91380" y="22025"/>
                    <a:pt x="89874" y="22784"/>
                    <a:pt x="88368" y="22784"/>
                  </a:cubicBezTo>
                  <a:cubicBezTo>
                    <a:pt x="85857" y="22784"/>
                    <a:pt x="82845" y="21645"/>
                    <a:pt x="82845" y="19746"/>
                  </a:cubicBezTo>
                  <a:cubicBezTo>
                    <a:pt x="82845" y="18227"/>
                    <a:pt x="81841" y="15189"/>
                    <a:pt x="81338" y="14810"/>
                  </a:cubicBezTo>
                  <a:cubicBezTo>
                    <a:pt x="79330" y="14810"/>
                    <a:pt x="74309" y="14430"/>
                    <a:pt x="74309" y="12911"/>
                  </a:cubicBezTo>
                  <a:cubicBezTo>
                    <a:pt x="73807" y="11392"/>
                    <a:pt x="72301" y="9113"/>
                    <a:pt x="71799" y="8734"/>
                  </a:cubicBezTo>
                  <a:cubicBezTo>
                    <a:pt x="71799" y="8734"/>
                    <a:pt x="66276" y="8734"/>
                    <a:pt x="63765" y="7974"/>
                  </a:cubicBezTo>
                  <a:cubicBezTo>
                    <a:pt x="63263" y="7594"/>
                    <a:pt x="63263" y="7594"/>
                    <a:pt x="63263" y="7594"/>
                  </a:cubicBezTo>
                  <a:cubicBezTo>
                    <a:pt x="61255" y="6835"/>
                    <a:pt x="59748" y="6075"/>
                    <a:pt x="58744" y="5316"/>
                  </a:cubicBezTo>
                  <a:cubicBezTo>
                    <a:pt x="58744" y="5316"/>
                    <a:pt x="58744" y="5316"/>
                    <a:pt x="58242" y="5316"/>
                  </a:cubicBezTo>
                  <a:cubicBezTo>
                    <a:pt x="57740" y="4556"/>
                    <a:pt x="57238" y="4177"/>
                    <a:pt x="57238" y="2658"/>
                  </a:cubicBezTo>
                  <a:cubicBezTo>
                    <a:pt x="57238" y="1518"/>
                    <a:pt x="56234" y="759"/>
                    <a:pt x="56234" y="759"/>
                  </a:cubicBezTo>
                  <a:cubicBezTo>
                    <a:pt x="55230" y="379"/>
                    <a:pt x="54225" y="0"/>
                    <a:pt x="53723" y="0"/>
                  </a:cubicBezTo>
                  <a:cubicBezTo>
                    <a:pt x="53723" y="0"/>
                    <a:pt x="53221" y="379"/>
                    <a:pt x="53221" y="759"/>
                  </a:cubicBezTo>
                  <a:cubicBezTo>
                    <a:pt x="52217" y="1518"/>
                    <a:pt x="51213" y="2658"/>
                    <a:pt x="49707" y="2658"/>
                  </a:cubicBezTo>
                  <a:cubicBezTo>
                    <a:pt x="48200" y="3037"/>
                    <a:pt x="40669" y="4556"/>
                    <a:pt x="37154" y="5316"/>
                  </a:cubicBezTo>
                  <a:cubicBezTo>
                    <a:pt x="35648" y="7215"/>
                    <a:pt x="35648" y="7215"/>
                    <a:pt x="35648" y="7215"/>
                  </a:cubicBezTo>
                  <a:cubicBezTo>
                    <a:pt x="36652" y="7974"/>
                    <a:pt x="36652" y="9113"/>
                    <a:pt x="37154" y="9873"/>
                  </a:cubicBezTo>
                  <a:cubicBezTo>
                    <a:pt x="37154" y="10253"/>
                    <a:pt x="37154" y="10253"/>
                    <a:pt x="37154" y="10253"/>
                  </a:cubicBezTo>
                  <a:cubicBezTo>
                    <a:pt x="37656" y="11012"/>
                    <a:pt x="38158" y="12911"/>
                    <a:pt x="37154" y="14050"/>
                  </a:cubicBezTo>
                  <a:cubicBezTo>
                    <a:pt x="36150" y="14810"/>
                    <a:pt x="31129" y="17848"/>
                    <a:pt x="30125" y="18227"/>
                  </a:cubicBezTo>
                  <a:cubicBezTo>
                    <a:pt x="29623" y="18227"/>
                    <a:pt x="29121" y="18227"/>
                    <a:pt x="27615" y="18227"/>
                  </a:cubicBezTo>
                  <a:cubicBezTo>
                    <a:pt x="27112" y="18227"/>
                    <a:pt x="25606" y="18227"/>
                    <a:pt x="25104" y="18227"/>
                  </a:cubicBezTo>
                  <a:cubicBezTo>
                    <a:pt x="24100" y="18987"/>
                    <a:pt x="22092" y="20126"/>
                    <a:pt x="20585" y="19746"/>
                  </a:cubicBezTo>
                  <a:cubicBezTo>
                    <a:pt x="20083" y="19746"/>
                    <a:pt x="19581" y="19746"/>
                    <a:pt x="19079" y="19367"/>
                  </a:cubicBezTo>
                  <a:cubicBezTo>
                    <a:pt x="18577" y="19367"/>
                    <a:pt x="18075" y="18987"/>
                    <a:pt x="17573" y="18987"/>
                  </a:cubicBezTo>
                  <a:cubicBezTo>
                    <a:pt x="17573" y="18987"/>
                    <a:pt x="17071" y="18987"/>
                    <a:pt x="16569" y="18987"/>
                  </a:cubicBezTo>
                  <a:cubicBezTo>
                    <a:pt x="16569" y="18987"/>
                    <a:pt x="16066" y="18987"/>
                    <a:pt x="15564" y="19367"/>
                  </a:cubicBezTo>
                  <a:cubicBezTo>
                    <a:pt x="15564" y="19367"/>
                    <a:pt x="16066" y="19746"/>
                    <a:pt x="16066" y="20126"/>
                  </a:cubicBezTo>
                  <a:cubicBezTo>
                    <a:pt x="16569" y="20886"/>
                    <a:pt x="17071" y="21645"/>
                    <a:pt x="17071" y="22784"/>
                  </a:cubicBezTo>
                  <a:cubicBezTo>
                    <a:pt x="17071" y="23544"/>
                    <a:pt x="16569" y="23924"/>
                    <a:pt x="16569" y="24303"/>
                  </a:cubicBezTo>
                  <a:cubicBezTo>
                    <a:pt x="16569" y="24683"/>
                    <a:pt x="16569" y="25063"/>
                    <a:pt x="16569" y="25063"/>
                  </a:cubicBezTo>
                  <a:cubicBezTo>
                    <a:pt x="17071" y="25443"/>
                    <a:pt x="19581" y="26582"/>
                    <a:pt x="18075" y="28101"/>
                  </a:cubicBezTo>
                  <a:cubicBezTo>
                    <a:pt x="18075" y="28481"/>
                    <a:pt x="13054" y="33417"/>
                    <a:pt x="10543" y="33417"/>
                  </a:cubicBezTo>
                  <a:cubicBezTo>
                    <a:pt x="10041" y="33417"/>
                    <a:pt x="9539" y="33417"/>
                    <a:pt x="9037" y="33417"/>
                  </a:cubicBezTo>
                  <a:cubicBezTo>
                    <a:pt x="7531" y="33037"/>
                    <a:pt x="7531" y="33037"/>
                    <a:pt x="7029" y="33417"/>
                  </a:cubicBezTo>
                  <a:cubicBezTo>
                    <a:pt x="6527" y="34177"/>
                    <a:pt x="6527" y="34936"/>
                    <a:pt x="6025" y="35696"/>
                  </a:cubicBezTo>
                  <a:cubicBezTo>
                    <a:pt x="5020" y="37215"/>
                    <a:pt x="4518" y="38354"/>
                    <a:pt x="4016" y="38734"/>
                  </a:cubicBezTo>
                  <a:cubicBezTo>
                    <a:pt x="3514" y="38734"/>
                    <a:pt x="1506" y="39493"/>
                    <a:pt x="0" y="40253"/>
                  </a:cubicBezTo>
                  <a:cubicBezTo>
                    <a:pt x="502" y="40632"/>
                    <a:pt x="1004" y="41392"/>
                    <a:pt x="1004" y="41772"/>
                  </a:cubicBezTo>
                  <a:cubicBezTo>
                    <a:pt x="1004" y="42531"/>
                    <a:pt x="1004" y="42911"/>
                    <a:pt x="502" y="43670"/>
                  </a:cubicBezTo>
                  <a:cubicBezTo>
                    <a:pt x="502" y="45189"/>
                    <a:pt x="0" y="47848"/>
                    <a:pt x="502" y="48227"/>
                  </a:cubicBezTo>
                  <a:cubicBezTo>
                    <a:pt x="2008" y="49367"/>
                    <a:pt x="3012" y="50126"/>
                    <a:pt x="2510" y="51265"/>
                  </a:cubicBezTo>
                  <a:cubicBezTo>
                    <a:pt x="1506" y="56582"/>
                    <a:pt x="2008" y="57721"/>
                    <a:pt x="2510" y="58101"/>
                  </a:cubicBezTo>
                  <a:cubicBezTo>
                    <a:pt x="4518" y="58860"/>
                    <a:pt x="9037" y="62278"/>
                    <a:pt x="9539" y="63037"/>
                  </a:cubicBezTo>
                  <a:cubicBezTo>
                    <a:pt x="11046" y="64936"/>
                    <a:pt x="13054" y="67594"/>
                    <a:pt x="13054" y="69113"/>
                  </a:cubicBezTo>
                  <a:cubicBezTo>
                    <a:pt x="13054" y="69493"/>
                    <a:pt x="13054" y="69873"/>
                    <a:pt x="13054" y="70253"/>
                  </a:cubicBezTo>
                  <a:cubicBezTo>
                    <a:pt x="13054" y="71772"/>
                    <a:pt x="13054" y="74810"/>
                    <a:pt x="13556" y="75569"/>
                  </a:cubicBezTo>
                  <a:cubicBezTo>
                    <a:pt x="14560" y="76329"/>
                    <a:pt x="15564" y="77848"/>
                    <a:pt x="15062" y="78987"/>
                  </a:cubicBezTo>
                  <a:cubicBezTo>
                    <a:pt x="15062" y="79367"/>
                    <a:pt x="14560" y="79746"/>
                    <a:pt x="14560" y="80126"/>
                  </a:cubicBezTo>
                  <a:cubicBezTo>
                    <a:pt x="14058" y="81265"/>
                    <a:pt x="14058" y="82784"/>
                    <a:pt x="14058" y="83164"/>
                  </a:cubicBezTo>
                  <a:cubicBezTo>
                    <a:pt x="14058" y="83544"/>
                    <a:pt x="13556" y="84303"/>
                    <a:pt x="13556" y="84683"/>
                  </a:cubicBezTo>
                  <a:cubicBezTo>
                    <a:pt x="13556" y="85443"/>
                    <a:pt x="13556" y="86582"/>
                    <a:pt x="13556" y="86962"/>
                  </a:cubicBezTo>
                  <a:cubicBezTo>
                    <a:pt x="13556" y="87721"/>
                    <a:pt x="13556" y="88101"/>
                    <a:pt x="13054" y="88860"/>
                  </a:cubicBezTo>
                  <a:cubicBezTo>
                    <a:pt x="12552" y="89620"/>
                    <a:pt x="12552" y="90000"/>
                    <a:pt x="13054" y="90379"/>
                  </a:cubicBezTo>
                  <a:cubicBezTo>
                    <a:pt x="14058" y="91139"/>
                    <a:pt x="14560" y="91139"/>
                    <a:pt x="15062" y="90759"/>
                  </a:cubicBezTo>
                  <a:cubicBezTo>
                    <a:pt x="15564" y="90759"/>
                    <a:pt x="15564" y="90379"/>
                    <a:pt x="16066" y="90379"/>
                  </a:cubicBezTo>
                  <a:cubicBezTo>
                    <a:pt x="17071" y="89620"/>
                    <a:pt x="17573" y="88860"/>
                    <a:pt x="19079" y="88860"/>
                  </a:cubicBezTo>
                  <a:cubicBezTo>
                    <a:pt x="19581" y="88860"/>
                    <a:pt x="19581" y="88860"/>
                    <a:pt x="20083" y="88860"/>
                  </a:cubicBezTo>
                  <a:cubicBezTo>
                    <a:pt x="22092" y="88481"/>
                    <a:pt x="24100" y="88101"/>
                    <a:pt x="26108" y="89240"/>
                  </a:cubicBezTo>
                  <a:cubicBezTo>
                    <a:pt x="28117" y="90379"/>
                    <a:pt x="28619" y="91518"/>
                    <a:pt x="27615" y="93417"/>
                  </a:cubicBezTo>
                  <a:cubicBezTo>
                    <a:pt x="27615" y="93797"/>
                    <a:pt x="27615" y="93797"/>
                    <a:pt x="27615" y="93797"/>
                  </a:cubicBezTo>
                  <a:cubicBezTo>
                    <a:pt x="27112" y="95696"/>
                    <a:pt x="26610" y="97594"/>
                    <a:pt x="24602" y="97974"/>
                  </a:cubicBezTo>
                  <a:cubicBezTo>
                    <a:pt x="24100" y="97974"/>
                    <a:pt x="24100" y="97974"/>
                    <a:pt x="24100" y="97974"/>
                  </a:cubicBezTo>
                  <a:cubicBezTo>
                    <a:pt x="21087" y="98354"/>
                    <a:pt x="20585" y="98734"/>
                    <a:pt x="20585" y="98734"/>
                  </a:cubicBezTo>
                  <a:cubicBezTo>
                    <a:pt x="20585" y="99113"/>
                    <a:pt x="22092" y="99493"/>
                    <a:pt x="22594" y="99873"/>
                  </a:cubicBezTo>
                  <a:cubicBezTo>
                    <a:pt x="23598" y="100253"/>
                    <a:pt x="25104" y="101012"/>
                    <a:pt x="25104" y="101772"/>
                  </a:cubicBezTo>
                  <a:cubicBezTo>
                    <a:pt x="25104" y="103291"/>
                    <a:pt x="25104" y="105189"/>
                    <a:pt x="24100" y="105949"/>
                  </a:cubicBezTo>
                  <a:cubicBezTo>
                    <a:pt x="24100" y="106329"/>
                    <a:pt x="23598" y="106329"/>
                    <a:pt x="23598" y="106708"/>
                  </a:cubicBezTo>
                  <a:cubicBezTo>
                    <a:pt x="23096" y="107088"/>
                    <a:pt x="22092" y="107848"/>
                    <a:pt x="22092" y="108227"/>
                  </a:cubicBezTo>
                  <a:cubicBezTo>
                    <a:pt x="22092" y="108987"/>
                    <a:pt x="22092" y="108987"/>
                    <a:pt x="22092" y="108987"/>
                  </a:cubicBezTo>
                  <a:cubicBezTo>
                    <a:pt x="22092" y="109367"/>
                    <a:pt x="22092" y="110506"/>
                    <a:pt x="22594" y="110886"/>
                  </a:cubicBezTo>
                  <a:cubicBezTo>
                    <a:pt x="22594" y="110886"/>
                    <a:pt x="23096" y="110886"/>
                    <a:pt x="23598" y="110506"/>
                  </a:cubicBezTo>
                  <a:cubicBezTo>
                    <a:pt x="24100" y="110506"/>
                    <a:pt x="25104" y="110506"/>
                    <a:pt x="25606" y="110886"/>
                  </a:cubicBezTo>
                  <a:cubicBezTo>
                    <a:pt x="26108" y="110886"/>
                    <a:pt x="26610" y="111265"/>
                    <a:pt x="26610" y="112025"/>
                  </a:cubicBezTo>
                  <a:cubicBezTo>
                    <a:pt x="26610" y="113164"/>
                    <a:pt x="29121" y="116202"/>
                    <a:pt x="30125" y="116582"/>
                  </a:cubicBezTo>
                  <a:cubicBezTo>
                    <a:pt x="31129" y="116582"/>
                    <a:pt x="33640" y="116202"/>
                    <a:pt x="35146" y="115063"/>
                  </a:cubicBezTo>
                  <a:cubicBezTo>
                    <a:pt x="35648" y="114683"/>
                    <a:pt x="36150" y="114303"/>
                    <a:pt x="36652" y="113924"/>
                  </a:cubicBezTo>
                  <a:cubicBezTo>
                    <a:pt x="37656" y="113164"/>
                    <a:pt x="38661" y="112784"/>
                    <a:pt x="39665" y="113164"/>
                  </a:cubicBezTo>
                  <a:cubicBezTo>
                    <a:pt x="40669" y="113164"/>
                    <a:pt x="41673" y="113924"/>
                    <a:pt x="42175" y="115443"/>
                  </a:cubicBezTo>
                  <a:cubicBezTo>
                    <a:pt x="42677" y="116582"/>
                    <a:pt x="43682" y="116962"/>
                    <a:pt x="44184" y="117721"/>
                  </a:cubicBezTo>
                  <a:cubicBezTo>
                    <a:pt x="44686" y="118101"/>
                    <a:pt x="49707" y="120000"/>
                    <a:pt x="50711" y="120000"/>
                  </a:cubicBezTo>
                  <a:cubicBezTo>
                    <a:pt x="50711" y="120000"/>
                    <a:pt x="50711" y="120000"/>
                    <a:pt x="50711" y="120000"/>
                  </a:cubicBezTo>
                  <a:cubicBezTo>
                    <a:pt x="51213" y="119620"/>
                    <a:pt x="53221" y="118860"/>
                    <a:pt x="54225" y="118101"/>
                  </a:cubicBezTo>
                  <a:cubicBezTo>
                    <a:pt x="54225" y="117721"/>
                    <a:pt x="54728" y="116962"/>
                    <a:pt x="54728" y="116202"/>
                  </a:cubicBezTo>
                  <a:cubicBezTo>
                    <a:pt x="55732" y="114683"/>
                    <a:pt x="56234" y="112784"/>
                    <a:pt x="57740" y="112405"/>
                  </a:cubicBezTo>
                  <a:cubicBezTo>
                    <a:pt x="60251" y="109367"/>
                    <a:pt x="63765" y="108227"/>
                    <a:pt x="65271" y="107468"/>
                  </a:cubicBezTo>
                  <a:cubicBezTo>
                    <a:pt x="65774" y="107468"/>
                    <a:pt x="65774" y="107468"/>
                    <a:pt x="65774" y="107468"/>
                  </a:cubicBezTo>
                  <a:cubicBezTo>
                    <a:pt x="66276" y="107088"/>
                    <a:pt x="66276" y="105189"/>
                    <a:pt x="66276" y="104430"/>
                  </a:cubicBezTo>
                  <a:cubicBezTo>
                    <a:pt x="66276" y="104050"/>
                    <a:pt x="66276" y="104050"/>
                    <a:pt x="66276" y="103670"/>
                  </a:cubicBezTo>
                  <a:cubicBezTo>
                    <a:pt x="66276" y="102531"/>
                    <a:pt x="67782" y="100632"/>
                    <a:pt x="69790" y="98734"/>
                  </a:cubicBezTo>
                  <a:cubicBezTo>
                    <a:pt x="70292" y="97974"/>
                    <a:pt x="70292" y="97594"/>
                    <a:pt x="70794" y="97594"/>
                  </a:cubicBezTo>
                  <a:cubicBezTo>
                    <a:pt x="71799" y="96455"/>
                    <a:pt x="73807" y="96455"/>
                    <a:pt x="75313" y="96455"/>
                  </a:cubicBezTo>
                  <a:cubicBezTo>
                    <a:pt x="75313" y="95696"/>
                    <a:pt x="75313" y="94177"/>
                    <a:pt x="75313" y="93797"/>
                  </a:cubicBezTo>
                  <a:cubicBezTo>
                    <a:pt x="75313" y="93417"/>
                    <a:pt x="75313" y="93037"/>
                    <a:pt x="75313" y="92658"/>
                  </a:cubicBezTo>
                  <a:cubicBezTo>
                    <a:pt x="75313" y="90759"/>
                    <a:pt x="79330" y="88481"/>
                    <a:pt x="79330" y="88481"/>
                  </a:cubicBezTo>
                  <a:cubicBezTo>
                    <a:pt x="79832" y="88101"/>
                    <a:pt x="79832" y="87341"/>
                    <a:pt x="79832" y="86582"/>
                  </a:cubicBezTo>
                  <a:cubicBezTo>
                    <a:pt x="79832" y="86202"/>
                    <a:pt x="79832" y="85822"/>
                    <a:pt x="79832" y="85443"/>
                  </a:cubicBezTo>
                  <a:cubicBezTo>
                    <a:pt x="79832" y="84303"/>
                    <a:pt x="81841" y="82784"/>
                    <a:pt x="85857" y="80506"/>
                  </a:cubicBezTo>
                  <a:cubicBezTo>
                    <a:pt x="86359" y="80126"/>
                    <a:pt x="86861" y="79746"/>
                    <a:pt x="86861" y="79746"/>
                  </a:cubicBezTo>
                  <a:cubicBezTo>
                    <a:pt x="87866" y="78987"/>
                    <a:pt x="91380" y="77848"/>
                    <a:pt x="92887" y="77468"/>
                  </a:cubicBezTo>
                  <a:cubicBezTo>
                    <a:pt x="93389" y="77468"/>
                    <a:pt x="93389" y="77468"/>
                    <a:pt x="93389" y="76708"/>
                  </a:cubicBezTo>
                  <a:cubicBezTo>
                    <a:pt x="93389" y="76329"/>
                    <a:pt x="93389" y="75949"/>
                    <a:pt x="93389" y="75569"/>
                  </a:cubicBezTo>
                  <a:cubicBezTo>
                    <a:pt x="93891" y="74810"/>
                    <a:pt x="95397" y="74810"/>
                    <a:pt x="96401" y="74810"/>
                  </a:cubicBezTo>
                  <a:cubicBezTo>
                    <a:pt x="96903" y="74810"/>
                    <a:pt x="97405" y="74810"/>
                    <a:pt x="97907" y="74810"/>
                  </a:cubicBezTo>
                  <a:cubicBezTo>
                    <a:pt x="99414" y="74430"/>
                    <a:pt x="100920" y="75949"/>
                    <a:pt x="101924" y="77088"/>
                  </a:cubicBezTo>
                  <a:cubicBezTo>
                    <a:pt x="102426" y="77468"/>
                    <a:pt x="102426" y="77848"/>
                    <a:pt x="102928" y="78227"/>
                  </a:cubicBezTo>
                  <a:cubicBezTo>
                    <a:pt x="102928" y="78227"/>
                    <a:pt x="103430" y="78227"/>
                    <a:pt x="104937" y="77848"/>
                  </a:cubicBezTo>
                  <a:cubicBezTo>
                    <a:pt x="105439" y="77848"/>
                    <a:pt x="105439" y="77848"/>
                    <a:pt x="106443" y="77848"/>
                  </a:cubicBezTo>
                  <a:cubicBezTo>
                    <a:pt x="106443" y="77468"/>
                    <a:pt x="105941" y="75569"/>
                    <a:pt x="105439" y="75189"/>
                  </a:cubicBezTo>
                  <a:cubicBezTo>
                    <a:pt x="105439" y="74430"/>
                    <a:pt x="105439" y="74050"/>
                    <a:pt x="105439" y="73670"/>
                  </a:cubicBezTo>
                  <a:cubicBezTo>
                    <a:pt x="104937" y="73291"/>
                    <a:pt x="103933" y="70632"/>
                    <a:pt x="103430" y="69493"/>
                  </a:cubicBezTo>
                  <a:cubicBezTo>
                    <a:pt x="102928" y="69113"/>
                    <a:pt x="102928" y="69113"/>
                    <a:pt x="102928" y="68734"/>
                  </a:cubicBezTo>
                  <a:cubicBezTo>
                    <a:pt x="101924" y="68354"/>
                    <a:pt x="96401" y="66835"/>
                    <a:pt x="95397" y="66835"/>
                  </a:cubicBezTo>
                  <a:cubicBezTo>
                    <a:pt x="94393" y="66835"/>
                    <a:pt x="92887" y="67594"/>
                    <a:pt x="91882" y="67974"/>
                  </a:cubicBezTo>
                  <a:cubicBezTo>
                    <a:pt x="91882" y="67974"/>
                    <a:pt x="91380" y="67974"/>
                    <a:pt x="90878" y="68354"/>
                  </a:cubicBezTo>
                  <a:cubicBezTo>
                    <a:pt x="89372" y="68734"/>
                    <a:pt x="82845" y="67974"/>
                    <a:pt x="81841" y="67215"/>
                  </a:cubicBezTo>
                  <a:cubicBezTo>
                    <a:pt x="79832" y="66455"/>
                    <a:pt x="76820" y="60379"/>
                    <a:pt x="76820" y="60000"/>
                  </a:cubicBezTo>
                  <a:cubicBezTo>
                    <a:pt x="76317" y="58860"/>
                    <a:pt x="75815" y="55063"/>
                    <a:pt x="75815" y="53924"/>
                  </a:cubicBezTo>
                  <a:cubicBezTo>
                    <a:pt x="75313" y="53924"/>
                    <a:pt x="73807" y="52405"/>
                    <a:pt x="72803" y="52025"/>
                  </a:cubicBezTo>
                  <a:cubicBezTo>
                    <a:pt x="72301" y="51645"/>
                    <a:pt x="71799" y="51265"/>
                    <a:pt x="71297" y="50886"/>
                  </a:cubicBezTo>
                  <a:cubicBezTo>
                    <a:pt x="69790" y="49746"/>
                    <a:pt x="70292" y="48227"/>
                    <a:pt x="70794" y="47088"/>
                  </a:cubicBezTo>
                  <a:cubicBezTo>
                    <a:pt x="70794" y="46708"/>
                    <a:pt x="70794" y="46708"/>
                    <a:pt x="70794" y="46329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6" name="Shape 6990">
              <a:extLst>
                <a:ext uri="{FF2B5EF4-FFF2-40B4-BE49-F238E27FC236}">
                  <a16:creationId xmlns:a16="http://schemas.microsoft.com/office/drawing/2014/main" id="{E285A37D-63B7-4FBC-9ADB-9F3376FE8EFC}"/>
                </a:ext>
              </a:extLst>
            </p:cNvPr>
            <p:cNvSpPr/>
            <p:nvPr/>
          </p:nvSpPr>
          <p:spPr>
            <a:xfrm>
              <a:off x="1736684" y="4138076"/>
              <a:ext cx="318357" cy="26501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24727" y="105633"/>
                  </a:moveTo>
                  <a:cubicBezTo>
                    <a:pt x="26909" y="107323"/>
                    <a:pt x="32727" y="115774"/>
                    <a:pt x="34909" y="120000"/>
                  </a:cubicBezTo>
                  <a:cubicBezTo>
                    <a:pt x="37818" y="120000"/>
                    <a:pt x="49454" y="119154"/>
                    <a:pt x="51636" y="119154"/>
                  </a:cubicBezTo>
                  <a:cubicBezTo>
                    <a:pt x="53090" y="117464"/>
                    <a:pt x="56000" y="109014"/>
                    <a:pt x="56727" y="106478"/>
                  </a:cubicBezTo>
                  <a:cubicBezTo>
                    <a:pt x="57454" y="103943"/>
                    <a:pt x="64000" y="100563"/>
                    <a:pt x="65454" y="100563"/>
                  </a:cubicBezTo>
                  <a:cubicBezTo>
                    <a:pt x="68363" y="98873"/>
                    <a:pt x="70545" y="99718"/>
                    <a:pt x="72000" y="100563"/>
                  </a:cubicBezTo>
                  <a:cubicBezTo>
                    <a:pt x="72727" y="100563"/>
                    <a:pt x="72727" y="100563"/>
                    <a:pt x="72727" y="100563"/>
                  </a:cubicBezTo>
                  <a:cubicBezTo>
                    <a:pt x="73454" y="100563"/>
                    <a:pt x="73454" y="98028"/>
                    <a:pt x="74181" y="96338"/>
                  </a:cubicBezTo>
                  <a:cubicBezTo>
                    <a:pt x="74181" y="95492"/>
                    <a:pt x="74181" y="94647"/>
                    <a:pt x="74909" y="93802"/>
                  </a:cubicBezTo>
                  <a:cubicBezTo>
                    <a:pt x="75636" y="92112"/>
                    <a:pt x="77818" y="91267"/>
                    <a:pt x="85090" y="89577"/>
                  </a:cubicBezTo>
                  <a:cubicBezTo>
                    <a:pt x="87272" y="89577"/>
                    <a:pt x="88727" y="88732"/>
                    <a:pt x="89454" y="88732"/>
                  </a:cubicBezTo>
                  <a:cubicBezTo>
                    <a:pt x="90909" y="87887"/>
                    <a:pt x="94545" y="76056"/>
                    <a:pt x="95272" y="73521"/>
                  </a:cubicBezTo>
                  <a:cubicBezTo>
                    <a:pt x="95272" y="71830"/>
                    <a:pt x="97454" y="70140"/>
                    <a:pt x="101818" y="66760"/>
                  </a:cubicBezTo>
                  <a:cubicBezTo>
                    <a:pt x="102545" y="66760"/>
                    <a:pt x="103272" y="66760"/>
                    <a:pt x="103272" y="65915"/>
                  </a:cubicBezTo>
                  <a:cubicBezTo>
                    <a:pt x="105454" y="65070"/>
                    <a:pt x="112000" y="59154"/>
                    <a:pt x="114909" y="54929"/>
                  </a:cubicBezTo>
                  <a:cubicBezTo>
                    <a:pt x="117090" y="52394"/>
                    <a:pt x="119272" y="43098"/>
                    <a:pt x="120000" y="38028"/>
                  </a:cubicBezTo>
                  <a:cubicBezTo>
                    <a:pt x="118545" y="37183"/>
                    <a:pt x="117818" y="33802"/>
                    <a:pt x="117090" y="31267"/>
                  </a:cubicBezTo>
                  <a:cubicBezTo>
                    <a:pt x="117090" y="31267"/>
                    <a:pt x="117090" y="30422"/>
                    <a:pt x="117090" y="29577"/>
                  </a:cubicBezTo>
                  <a:cubicBezTo>
                    <a:pt x="116363" y="27887"/>
                    <a:pt x="117090" y="25352"/>
                    <a:pt x="117090" y="24507"/>
                  </a:cubicBezTo>
                  <a:cubicBezTo>
                    <a:pt x="117818" y="23661"/>
                    <a:pt x="117818" y="23661"/>
                    <a:pt x="117818" y="22816"/>
                  </a:cubicBezTo>
                  <a:cubicBezTo>
                    <a:pt x="117090" y="21971"/>
                    <a:pt x="112727" y="17746"/>
                    <a:pt x="110545" y="15211"/>
                  </a:cubicBezTo>
                  <a:cubicBezTo>
                    <a:pt x="108363" y="12676"/>
                    <a:pt x="106909" y="11830"/>
                    <a:pt x="106181" y="10985"/>
                  </a:cubicBezTo>
                  <a:cubicBezTo>
                    <a:pt x="105454" y="9295"/>
                    <a:pt x="101818" y="9295"/>
                    <a:pt x="100363" y="9295"/>
                  </a:cubicBezTo>
                  <a:cubicBezTo>
                    <a:pt x="99636" y="9295"/>
                    <a:pt x="99636" y="9295"/>
                    <a:pt x="99636" y="9295"/>
                  </a:cubicBezTo>
                  <a:cubicBezTo>
                    <a:pt x="98909" y="10140"/>
                    <a:pt x="97454" y="11830"/>
                    <a:pt x="96727" y="12676"/>
                  </a:cubicBezTo>
                  <a:cubicBezTo>
                    <a:pt x="94545" y="14366"/>
                    <a:pt x="93818" y="15211"/>
                    <a:pt x="92363" y="15211"/>
                  </a:cubicBezTo>
                  <a:cubicBezTo>
                    <a:pt x="90181" y="16056"/>
                    <a:pt x="83636" y="6760"/>
                    <a:pt x="80000" y="1690"/>
                  </a:cubicBezTo>
                  <a:cubicBezTo>
                    <a:pt x="78545" y="5070"/>
                    <a:pt x="75636" y="10985"/>
                    <a:pt x="73454" y="12676"/>
                  </a:cubicBezTo>
                  <a:cubicBezTo>
                    <a:pt x="72727" y="12676"/>
                    <a:pt x="71272" y="13521"/>
                    <a:pt x="69090" y="13521"/>
                  </a:cubicBezTo>
                  <a:cubicBezTo>
                    <a:pt x="67636" y="14366"/>
                    <a:pt x="64727" y="15211"/>
                    <a:pt x="64727" y="15211"/>
                  </a:cubicBezTo>
                  <a:cubicBezTo>
                    <a:pt x="64000" y="16901"/>
                    <a:pt x="61090" y="22816"/>
                    <a:pt x="58181" y="22816"/>
                  </a:cubicBezTo>
                  <a:cubicBezTo>
                    <a:pt x="57454" y="22816"/>
                    <a:pt x="56727" y="21971"/>
                    <a:pt x="56000" y="21126"/>
                  </a:cubicBezTo>
                  <a:cubicBezTo>
                    <a:pt x="56000" y="20281"/>
                    <a:pt x="55272" y="19436"/>
                    <a:pt x="55272" y="18591"/>
                  </a:cubicBezTo>
                  <a:cubicBezTo>
                    <a:pt x="54545" y="16901"/>
                    <a:pt x="53090" y="11830"/>
                    <a:pt x="52363" y="11830"/>
                  </a:cubicBezTo>
                  <a:cubicBezTo>
                    <a:pt x="50909" y="11830"/>
                    <a:pt x="49454" y="10985"/>
                    <a:pt x="47272" y="9295"/>
                  </a:cubicBezTo>
                  <a:cubicBezTo>
                    <a:pt x="45090" y="8450"/>
                    <a:pt x="41454" y="5915"/>
                    <a:pt x="40727" y="5915"/>
                  </a:cubicBezTo>
                  <a:cubicBezTo>
                    <a:pt x="40000" y="6760"/>
                    <a:pt x="40000" y="7605"/>
                    <a:pt x="39272" y="8450"/>
                  </a:cubicBezTo>
                  <a:cubicBezTo>
                    <a:pt x="38545" y="9295"/>
                    <a:pt x="37818" y="10985"/>
                    <a:pt x="37090" y="10985"/>
                  </a:cubicBezTo>
                  <a:cubicBezTo>
                    <a:pt x="36363" y="11830"/>
                    <a:pt x="35636" y="10985"/>
                    <a:pt x="34181" y="10985"/>
                  </a:cubicBezTo>
                  <a:cubicBezTo>
                    <a:pt x="33454" y="10140"/>
                    <a:pt x="32000" y="8450"/>
                    <a:pt x="30545" y="5070"/>
                  </a:cubicBezTo>
                  <a:cubicBezTo>
                    <a:pt x="29090" y="3380"/>
                    <a:pt x="27636" y="845"/>
                    <a:pt x="26181" y="0"/>
                  </a:cubicBezTo>
                  <a:cubicBezTo>
                    <a:pt x="26181" y="0"/>
                    <a:pt x="26181" y="0"/>
                    <a:pt x="26181" y="0"/>
                  </a:cubicBezTo>
                  <a:cubicBezTo>
                    <a:pt x="23272" y="4225"/>
                    <a:pt x="21090" y="7605"/>
                    <a:pt x="18909" y="6760"/>
                  </a:cubicBezTo>
                  <a:cubicBezTo>
                    <a:pt x="18181" y="6760"/>
                    <a:pt x="18181" y="6760"/>
                    <a:pt x="18181" y="6760"/>
                  </a:cubicBezTo>
                  <a:cubicBezTo>
                    <a:pt x="12363" y="5070"/>
                    <a:pt x="10181" y="5915"/>
                    <a:pt x="10181" y="5915"/>
                  </a:cubicBezTo>
                  <a:cubicBezTo>
                    <a:pt x="8727" y="6760"/>
                    <a:pt x="5818" y="9295"/>
                    <a:pt x="5090" y="10985"/>
                  </a:cubicBezTo>
                  <a:cubicBezTo>
                    <a:pt x="5090" y="14366"/>
                    <a:pt x="4363" y="21971"/>
                    <a:pt x="5090" y="23661"/>
                  </a:cubicBezTo>
                  <a:cubicBezTo>
                    <a:pt x="5818" y="23661"/>
                    <a:pt x="5818" y="24507"/>
                    <a:pt x="5818" y="24507"/>
                  </a:cubicBezTo>
                  <a:cubicBezTo>
                    <a:pt x="7272" y="26197"/>
                    <a:pt x="8000" y="27042"/>
                    <a:pt x="8727" y="29577"/>
                  </a:cubicBezTo>
                  <a:cubicBezTo>
                    <a:pt x="9454" y="33802"/>
                    <a:pt x="10181" y="37183"/>
                    <a:pt x="6545" y="40563"/>
                  </a:cubicBezTo>
                  <a:cubicBezTo>
                    <a:pt x="5090" y="42253"/>
                    <a:pt x="2181" y="43098"/>
                    <a:pt x="0" y="43098"/>
                  </a:cubicBezTo>
                  <a:cubicBezTo>
                    <a:pt x="1454" y="44788"/>
                    <a:pt x="2181" y="46478"/>
                    <a:pt x="2181" y="47323"/>
                  </a:cubicBezTo>
                  <a:cubicBezTo>
                    <a:pt x="2909" y="50704"/>
                    <a:pt x="3636" y="54084"/>
                    <a:pt x="3636" y="56619"/>
                  </a:cubicBezTo>
                  <a:cubicBezTo>
                    <a:pt x="4363" y="57464"/>
                    <a:pt x="4363" y="58309"/>
                    <a:pt x="4363" y="58309"/>
                  </a:cubicBezTo>
                  <a:cubicBezTo>
                    <a:pt x="4363" y="60000"/>
                    <a:pt x="4363" y="60845"/>
                    <a:pt x="5090" y="60845"/>
                  </a:cubicBezTo>
                  <a:cubicBezTo>
                    <a:pt x="5818" y="61690"/>
                    <a:pt x="7272" y="62535"/>
                    <a:pt x="8000" y="62535"/>
                  </a:cubicBezTo>
                  <a:cubicBezTo>
                    <a:pt x="10909" y="64225"/>
                    <a:pt x="13818" y="65070"/>
                    <a:pt x="13818" y="67605"/>
                  </a:cubicBezTo>
                  <a:cubicBezTo>
                    <a:pt x="14545" y="67605"/>
                    <a:pt x="14545" y="68450"/>
                    <a:pt x="14545" y="69295"/>
                  </a:cubicBezTo>
                  <a:cubicBezTo>
                    <a:pt x="15272" y="76901"/>
                    <a:pt x="16000" y="80281"/>
                    <a:pt x="16727" y="81126"/>
                  </a:cubicBezTo>
                  <a:cubicBezTo>
                    <a:pt x="18181" y="82816"/>
                    <a:pt x="26181" y="90422"/>
                    <a:pt x="26181" y="94647"/>
                  </a:cubicBezTo>
                  <a:cubicBezTo>
                    <a:pt x="26181" y="96338"/>
                    <a:pt x="25454" y="98028"/>
                    <a:pt x="25454" y="99718"/>
                  </a:cubicBezTo>
                  <a:cubicBezTo>
                    <a:pt x="24727" y="101408"/>
                    <a:pt x="24727" y="104788"/>
                    <a:pt x="24727" y="105633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7" name="Shape 6991">
              <a:extLst>
                <a:ext uri="{FF2B5EF4-FFF2-40B4-BE49-F238E27FC236}">
                  <a16:creationId xmlns:a16="http://schemas.microsoft.com/office/drawing/2014/main" id="{EDDED6A7-F037-4AFB-B488-F3ECE906DAE8}"/>
                </a:ext>
              </a:extLst>
            </p:cNvPr>
            <p:cNvSpPr/>
            <p:nvPr/>
          </p:nvSpPr>
          <p:spPr>
            <a:xfrm>
              <a:off x="1827368" y="4223925"/>
              <a:ext cx="680128" cy="640152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8295" y="110877"/>
                  </a:moveTo>
                  <a:cubicBezTo>
                    <a:pt x="116590" y="109824"/>
                    <a:pt x="114886" y="108771"/>
                    <a:pt x="114886" y="107368"/>
                  </a:cubicBezTo>
                  <a:cubicBezTo>
                    <a:pt x="114886" y="106315"/>
                    <a:pt x="115227" y="104912"/>
                    <a:pt x="114204" y="103157"/>
                  </a:cubicBezTo>
                  <a:cubicBezTo>
                    <a:pt x="113181" y="101052"/>
                    <a:pt x="107727" y="96140"/>
                    <a:pt x="107386" y="95438"/>
                  </a:cubicBezTo>
                  <a:cubicBezTo>
                    <a:pt x="107045" y="94736"/>
                    <a:pt x="106363" y="91929"/>
                    <a:pt x="107045" y="90526"/>
                  </a:cubicBezTo>
                  <a:cubicBezTo>
                    <a:pt x="107045" y="90526"/>
                    <a:pt x="105340" y="90175"/>
                    <a:pt x="104318" y="90175"/>
                  </a:cubicBezTo>
                  <a:cubicBezTo>
                    <a:pt x="103636" y="90175"/>
                    <a:pt x="103295" y="90175"/>
                    <a:pt x="102954" y="89824"/>
                  </a:cubicBezTo>
                  <a:cubicBezTo>
                    <a:pt x="102272" y="89122"/>
                    <a:pt x="102613" y="87719"/>
                    <a:pt x="102613" y="87017"/>
                  </a:cubicBezTo>
                  <a:cubicBezTo>
                    <a:pt x="102954" y="85614"/>
                    <a:pt x="103636" y="85263"/>
                    <a:pt x="104318" y="85263"/>
                  </a:cubicBezTo>
                  <a:cubicBezTo>
                    <a:pt x="104318" y="84912"/>
                    <a:pt x="104659" y="84912"/>
                    <a:pt x="104659" y="84912"/>
                  </a:cubicBezTo>
                  <a:cubicBezTo>
                    <a:pt x="105681" y="84561"/>
                    <a:pt x="108068" y="82807"/>
                    <a:pt x="108409" y="81754"/>
                  </a:cubicBezTo>
                  <a:cubicBezTo>
                    <a:pt x="108750" y="80701"/>
                    <a:pt x="108409" y="79649"/>
                    <a:pt x="107727" y="79298"/>
                  </a:cubicBezTo>
                  <a:cubicBezTo>
                    <a:pt x="107386" y="78947"/>
                    <a:pt x="106022" y="78596"/>
                    <a:pt x="105340" y="78596"/>
                  </a:cubicBezTo>
                  <a:cubicBezTo>
                    <a:pt x="104318" y="78596"/>
                    <a:pt x="102272" y="77894"/>
                    <a:pt x="101250" y="77543"/>
                  </a:cubicBezTo>
                  <a:cubicBezTo>
                    <a:pt x="100568" y="77543"/>
                    <a:pt x="99204" y="77543"/>
                    <a:pt x="98181" y="78245"/>
                  </a:cubicBezTo>
                  <a:cubicBezTo>
                    <a:pt x="97159" y="78596"/>
                    <a:pt x="94431" y="78596"/>
                    <a:pt x="91022" y="78245"/>
                  </a:cubicBezTo>
                  <a:cubicBezTo>
                    <a:pt x="90340" y="78245"/>
                    <a:pt x="89659" y="78245"/>
                    <a:pt x="89318" y="78245"/>
                  </a:cubicBezTo>
                  <a:cubicBezTo>
                    <a:pt x="88977" y="78245"/>
                    <a:pt x="88636" y="80000"/>
                    <a:pt x="88295" y="80701"/>
                  </a:cubicBezTo>
                  <a:cubicBezTo>
                    <a:pt x="87954" y="81754"/>
                    <a:pt x="87613" y="82456"/>
                    <a:pt x="87272" y="82807"/>
                  </a:cubicBezTo>
                  <a:cubicBezTo>
                    <a:pt x="86931" y="83508"/>
                    <a:pt x="85568" y="84912"/>
                    <a:pt x="84545" y="85263"/>
                  </a:cubicBezTo>
                  <a:cubicBezTo>
                    <a:pt x="83522" y="85964"/>
                    <a:pt x="79090" y="83157"/>
                    <a:pt x="78750" y="82456"/>
                  </a:cubicBezTo>
                  <a:cubicBezTo>
                    <a:pt x="78409" y="82105"/>
                    <a:pt x="77727" y="81403"/>
                    <a:pt x="77386" y="80000"/>
                  </a:cubicBezTo>
                  <a:cubicBezTo>
                    <a:pt x="77045" y="79298"/>
                    <a:pt x="76704" y="78947"/>
                    <a:pt x="76363" y="78596"/>
                  </a:cubicBezTo>
                  <a:cubicBezTo>
                    <a:pt x="76022" y="78947"/>
                    <a:pt x="76022" y="78947"/>
                    <a:pt x="75681" y="79298"/>
                  </a:cubicBezTo>
                  <a:cubicBezTo>
                    <a:pt x="75340" y="79649"/>
                    <a:pt x="75000" y="80000"/>
                    <a:pt x="74318" y="80701"/>
                  </a:cubicBezTo>
                  <a:cubicBezTo>
                    <a:pt x="72954" y="81403"/>
                    <a:pt x="71250" y="82105"/>
                    <a:pt x="70227" y="82105"/>
                  </a:cubicBezTo>
                  <a:cubicBezTo>
                    <a:pt x="68522" y="82105"/>
                    <a:pt x="66477" y="77543"/>
                    <a:pt x="66477" y="76491"/>
                  </a:cubicBezTo>
                  <a:cubicBezTo>
                    <a:pt x="66477" y="76491"/>
                    <a:pt x="66136" y="76491"/>
                    <a:pt x="66136" y="76491"/>
                  </a:cubicBezTo>
                  <a:cubicBezTo>
                    <a:pt x="65454" y="76842"/>
                    <a:pt x="65113" y="76842"/>
                    <a:pt x="64431" y="76491"/>
                  </a:cubicBezTo>
                  <a:cubicBezTo>
                    <a:pt x="63409" y="76140"/>
                    <a:pt x="63409" y="74385"/>
                    <a:pt x="63409" y="73333"/>
                  </a:cubicBezTo>
                  <a:cubicBezTo>
                    <a:pt x="63409" y="72982"/>
                    <a:pt x="63409" y="72982"/>
                    <a:pt x="63409" y="72982"/>
                  </a:cubicBezTo>
                  <a:cubicBezTo>
                    <a:pt x="63409" y="72280"/>
                    <a:pt x="64090" y="71228"/>
                    <a:pt x="64772" y="70526"/>
                  </a:cubicBezTo>
                  <a:cubicBezTo>
                    <a:pt x="64772" y="70526"/>
                    <a:pt x="65113" y="70175"/>
                    <a:pt x="65113" y="70175"/>
                  </a:cubicBezTo>
                  <a:cubicBezTo>
                    <a:pt x="65454" y="69824"/>
                    <a:pt x="65454" y="68771"/>
                    <a:pt x="65454" y="67017"/>
                  </a:cubicBezTo>
                  <a:cubicBezTo>
                    <a:pt x="65454" y="67017"/>
                    <a:pt x="64772" y="66666"/>
                    <a:pt x="64431" y="66315"/>
                  </a:cubicBezTo>
                  <a:cubicBezTo>
                    <a:pt x="63409" y="65964"/>
                    <a:pt x="62386" y="65263"/>
                    <a:pt x="62386" y="64561"/>
                  </a:cubicBezTo>
                  <a:cubicBezTo>
                    <a:pt x="62386" y="64210"/>
                    <a:pt x="62386" y="63859"/>
                    <a:pt x="62727" y="63508"/>
                  </a:cubicBezTo>
                  <a:cubicBezTo>
                    <a:pt x="63068" y="62807"/>
                    <a:pt x="64772" y="62456"/>
                    <a:pt x="66136" y="62105"/>
                  </a:cubicBezTo>
                  <a:cubicBezTo>
                    <a:pt x="66136" y="62105"/>
                    <a:pt x="66136" y="62105"/>
                    <a:pt x="66136" y="62105"/>
                  </a:cubicBezTo>
                  <a:cubicBezTo>
                    <a:pt x="66818" y="62105"/>
                    <a:pt x="67159" y="60350"/>
                    <a:pt x="67159" y="59298"/>
                  </a:cubicBezTo>
                  <a:cubicBezTo>
                    <a:pt x="67500" y="58947"/>
                    <a:pt x="67500" y="58947"/>
                    <a:pt x="67500" y="58947"/>
                  </a:cubicBezTo>
                  <a:cubicBezTo>
                    <a:pt x="67500" y="57543"/>
                    <a:pt x="67500" y="57192"/>
                    <a:pt x="66477" y="56491"/>
                  </a:cubicBezTo>
                  <a:cubicBezTo>
                    <a:pt x="65795" y="55789"/>
                    <a:pt x="64772" y="56140"/>
                    <a:pt x="63750" y="56491"/>
                  </a:cubicBezTo>
                  <a:cubicBezTo>
                    <a:pt x="63409" y="56491"/>
                    <a:pt x="63068" y="56491"/>
                    <a:pt x="62727" y="56491"/>
                  </a:cubicBezTo>
                  <a:cubicBezTo>
                    <a:pt x="62386" y="56491"/>
                    <a:pt x="62045" y="56842"/>
                    <a:pt x="61704" y="57192"/>
                  </a:cubicBezTo>
                  <a:cubicBezTo>
                    <a:pt x="61363" y="57543"/>
                    <a:pt x="61363" y="57894"/>
                    <a:pt x="61022" y="58245"/>
                  </a:cubicBezTo>
                  <a:cubicBezTo>
                    <a:pt x="60000" y="58947"/>
                    <a:pt x="58636" y="58596"/>
                    <a:pt x="57613" y="57543"/>
                  </a:cubicBezTo>
                  <a:cubicBezTo>
                    <a:pt x="56931" y="56491"/>
                    <a:pt x="57272" y="55438"/>
                    <a:pt x="57272" y="54736"/>
                  </a:cubicBezTo>
                  <a:cubicBezTo>
                    <a:pt x="57613" y="54385"/>
                    <a:pt x="57613" y="53684"/>
                    <a:pt x="57613" y="53333"/>
                  </a:cubicBezTo>
                  <a:cubicBezTo>
                    <a:pt x="57613" y="52982"/>
                    <a:pt x="57613" y="51929"/>
                    <a:pt x="57613" y="51228"/>
                  </a:cubicBezTo>
                  <a:cubicBezTo>
                    <a:pt x="57613" y="50877"/>
                    <a:pt x="57954" y="50175"/>
                    <a:pt x="57954" y="49824"/>
                  </a:cubicBezTo>
                  <a:cubicBezTo>
                    <a:pt x="57954" y="49122"/>
                    <a:pt x="57954" y="47719"/>
                    <a:pt x="58295" y="46666"/>
                  </a:cubicBezTo>
                  <a:cubicBezTo>
                    <a:pt x="58636" y="46315"/>
                    <a:pt x="58636" y="45964"/>
                    <a:pt x="58636" y="45614"/>
                  </a:cubicBezTo>
                  <a:cubicBezTo>
                    <a:pt x="58636" y="45263"/>
                    <a:pt x="58295" y="44561"/>
                    <a:pt x="57613" y="43508"/>
                  </a:cubicBezTo>
                  <a:cubicBezTo>
                    <a:pt x="57272" y="42807"/>
                    <a:pt x="57272" y="41052"/>
                    <a:pt x="57272" y="37894"/>
                  </a:cubicBezTo>
                  <a:cubicBezTo>
                    <a:pt x="57272" y="37543"/>
                    <a:pt x="57272" y="37192"/>
                    <a:pt x="57272" y="36842"/>
                  </a:cubicBezTo>
                  <a:cubicBezTo>
                    <a:pt x="57272" y="36140"/>
                    <a:pt x="56250" y="34035"/>
                    <a:pt x="54886" y="31929"/>
                  </a:cubicBezTo>
                  <a:cubicBezTo>
                    <a:pt x="54545" y="31578"/>
                    <a:pt x="52159" y="28421"/>
                    <a:pt x="50795" y="27719"/>
                  </a:cubicBezTo>
                  <a:cubicBezTo>
                    <a:pt x="50454" y="27719"/>
                    <a:pt x="49090" y="27017"/>
                    <a:pt x="50454" y="20350"/>
                  </a:cubicBezTo>
                  <a:cubicBezTo>
                    <a:pt x="50454" y="19649"/>
                    <a:pt x="50454" y="19649"/>
                    <a:pt x="49431" y="18596"/>
                  </a:cubicBezTo>
                  <a:cubicBezTo>
                    <a:pt x="48409" y="17543"/>
                    <a:pt x="48409" y="15789"/>
                    <a:pt x="49090" y="13333"/>
                  </a:cubicBezTo>
                  <a:cubicBezTo>
                    <a:pt x="49090" y="12631"/>
                    <a:pt x="49090" y="11929"/>
                    <a:pt x="49090" y="11578"/>
                  </a:cubicBezTo>
                  <a:cubicBezTo>
                    <a:pt x="49090" y="11578"/>
                    <a:pt x="48750" y="10877"/>
                    <a:pt x="48409" y="10526"/>
                  </a:cubicBezTo>
                  <a:cubicBezTo>
                    <a:pt x="48068" y="10526"/>
                    <a:pt x="48068" y="10175"/>
                    <a:pt x="48068" y="10175"/>
                  </a:cubicBezTo>
                  <a:cubicBezTo>
                    <a:pt x="48068" y="9824"/>
                    <a:pt x="48068" y="9824"/>
                    <a:pt x="48068" y="9824"/>
                  </a:cubicBezTo>
                  <a:cubicBezTo>
                    <a:pt x="47045" y="8771"/>
                    <a:pt x="46022" y="7719"/>
                    <a:pt x="45340" y="7368"/>
                  </a:cubicBezTo>
                  <a:cubicBezTo>
                    <a:pt x="45340" y="7017"/>
                    <a:pt x="45000" y="6666"/>
                    <a:pt x="45000" y="6315"/>
                  </a:cubicBezTo>
                  <a:cubicBezTo>
                    <a:pt x="45000" y="5614"/>
                    <a:pt x="45681" y="4912"/>
                    <a:pt x="47045" y="3859"/>
                  </a:cubicBezTo>
                  <a:cubicBezTo>
                    <a:pt x="47045" y="3508"/>
                    <a:pt x="47386" y="3508"/>
                    <a:pt x="47727" y="3157"/>
                  </a:cubicBezTo>
                  <a:cubicBezTo>
                    <a:pt x="47386" y="2807"/>
                    <a:pt x="46022" y="1403"/>
                    <a:pt x="45000" y="701"/>
                  </a:cubicBezTo>
                  <a:cubicBezTo>
                    <a:pt x="43977" y="0"/>
                    <a:pt x="42613" y="350"/>
                    <a:pt x="41590" y="350"/>
                  </a:cubicBezTo>
                  <a:cubicBezTo>
                    <a:pt x="41250" y="1754"/>
                    <a:pt x="40227" y="6315"/>
                    <a:pt x="38863" y="7719"/>
                  </a:cubicBezTo>
                  <a:cubicBezTo>
                    <a:pt x="37500" y="9122"/>
                    <a:pt x="34090" y="11929"/>
                    <a:pt x="33409" y="12631"/>
                  </a:cubicBezTo>
                  <a:cubicBezTo>
                    <a:pt x="33068" y="12631"/>
                    <a:pt x="32727" y="12631"/>
                    <a:pt x="32386" y="12982"/>
                  </a:cubicBezTo>
                  <a:cubicBezTo>
                    <a:pt x="31704" y="13333"/>
                    <a:pt x="30000" y="14385"/>
                    <a:pt x="29659" y="14736"/>
                  </a:cubicBezTo>
                  <a:cubicBezTo>
                    <a:pt x="29659" y="14736"/>
                    <a:pt x="27954" y="21403"/>
                    <a:pt x="26250" y="22105"/>
                  </a:cubicBezTo>
                  <a:cubicBezTo>
                    <a:pt x="25909" y="22105"/>
                    <a:pt x="25227" y="22456"/>
                    <a:pt x="24204" y="22456"/>
                  </a:cubicBezTo>
                  <a:cubicBezTo>
                    <a:pt x="23181" y="22807"/>
                    <a:pt x="20795" y="23157"/>
                    <a:pt x="20113" y="23508"/>
                  </a:cubicBezTo>
                  <a:cubicBezTo>
                    <a:pt x="20113" y="23859"/>
                    <a:pt x="20113" y="23859"/>
                    <a:pt x="20113" y="24210"/>
                  </a:cubicBezTo>
                  <a:cubicBezTo>
                    <a:pt x="19772" y="25263"/>
                    <a:pt x="19431" y="26666"/>
                    <a:pt x="18750" y="27017"/>
                  </a:cubicBezTo>
                  <a:cubicBezTo>
                    <a:pt x="18409" y="27368"/>
                    <a:pt x="18068" y="27368"/>
                    <a:pt x="17727" y="27017"/>
                  </a:cubicBezTo>
                  <a:cubicBezTo>
                    <a:pt x="17386" y="27017"/>
                    <a:pt x="17386" y="27017"/>
                    <a:pt x="17386" y="27017"/>
                  </a:cubicBezTo>
                  <a:cubicBezTo>
                    <a:pt x="16363" y="26666"/>
                    <a:pt x="16022" y="26666"/>
                    <a:pt x="15340" y="26666"/>
                  </a:cubicBezTo>
                  <a:cubicBezTo>
                    <a:pt x="13977" y="27017"/>
                    <a:pt x="12272" y="28070"/>
                    <a:pt x="11931" y="28771"/>
                  </a:cubicBezTo>
                  <a:cubicBezTo>
                    <a:pt x="11931" y="28771"/>
                    <a:pt x="9886" y="34736"/>
                    <a:pt x="8522" y="34736"/>
                  </a:cubicBezTo>
                  <a:cubicBezTo>
                    <a:pt x="7840" y="34736"/>
                    <a:pt x="2386" y="35087"/>
                    <a:pt x="681" y="35087"/>
                  </a:cubicBezTo>
                  <a:cubicBezTo>
                    <a:pt x="681" y="36491"/>
                    <a:pt x="340" y="38245"/>
                    <a:pt x="0" y="38596"/>
                  </a:cubicBezTo>
                  <a:cubicBezTo>
                    <a:pt x="0" y="38596"/>
                    <a:pt x="0" y="38596"/>
                    <a:pt x="0" y="38596"/>
                  </a:cubicBezTo>
                  <a:cubicBezTo>
                    <a:pt x="340" y="38947"/>
                    <a:pt x="340" y="39298"/>
                    <a:pt x="681" y="39649"/>
                  </a:cubicBezTo>
                  <a:cubicBezTo>
                    <a:pt x="1363" y="42105"/>
                    <a:pt x="340" y="45614"/>
                    <a:pt x="2045" y="45614"/>
                  </a:cubicBezTo>
                  <a:cubicBezTo>
                    <a:pt x="3409" y="45964"/>
                    <a:pt x="10227" y="44210"/>
                    <a:pt x="10909" y="44912"/>
                  </a:cubicBezTo>
                  <a:cubicBezTo>
                    <a:pt x="11590" y="45964"/>
                    <a:pt x="14318" y="51929"/>
                    <a:pt x="15681" y="52631"/>
                  </a:cubicBezTo>
                  <a:cubicBezTo>
                    <a:pt x="16704" y="53333"/>
                    <a:pt x="21477" y="55087"/>
                    <a:pt x="22840" y="56491"/>
                  </a:cubicBezTo>
                  <a:cubicBezTo>
                    <a:pt x="24204" y="57894"/>
                    <a:pt x="25227" y="60350"/>
                    <a:pt x="25227" y="62105"/>
                  </a:cubicBezTo>
                  <a:cubicBezTo>
                    <a:pt x="25568" y="63859"/>
                    <a:pt x="26250" y="67368"/>
                    <a:pt x="26590" y="69122"/>
                  </a:cubicBezTo>
                  <a:cubicBezTo>
                    <a:pt x="27272" y="70877"/>
                    <a:pt x="30340" y="75087"/>
                    <a:pt x="29318" y="76842"/>
                  </a:cubicBezTo>
                  <a:cubicBezTo>
                    <a:pt x="27954" y="78596"/>
                    <a:pt x="27272" y="79298"/>
                    <a:pt x="27272" y="80701"/>
                  </a:cubicBezTo>
                  <a:cubicBezTo>
                    <a:pt x="27272" y="82105"/>
                    <a:pt x="27272" y="83859"/>
                    <a:pt x="28636" y="83859"/>
                  </a:cubicBezTo>
                  <a:cubicBezTo>
                    <a:pt x="30000" y="83859"/>
                    <a:pt x="30000" y="83157"/>
                    <a:pt x="31363" y="82105"/>
                  </a:cubicBezTo>
                  <a:cubicBezTo>
                    <a:pt x="32727" y="81403"/>
                    <a:pt x="33409" y="79298"/>
                    <a:pt x="34772" y="80000"/>
                  </a:cubicBezTo>
                  <a:cubicBezTo>
                    <a:pt x="36136" y="81052"/>
                    <a:pt x="37840" y="82807"/>
                    <a:pt x="38181" y="84210"/>
                  </a:cubicBezTo>
                  <a:cubicBezTo>
                    <a:pt x="38181" y="85614"/>
                    <a:pt x="40909" y="88771"/>
                    <a:pt x="42954" y="89122"/>
                  </a:cubicBezTo>
                  <a:cubicBezTo>
                    <a:pt x="45000" y="89824"/>
                    <a:pt x="47045" y="89824"/>
                    <a:pt x="49090" y="89122"/>
                  </a:cubicBezTo>
                  <a:cubicBezTo>
                    <a:pt x="51477" y="88421"/>
                    <a:pt x="53863" y="86315"/>
                    <a:pt x="55227" y="86666"/>
                  </a:cubicBezTo>
                  <a:cubicBezTo>
                    <a:pt x="56590" y="87017"/>
                    <a:pt x="61022" y="89824"/>
                    <a:pt x="62045" y="90526"/>
                  </a:cubicBezTo>
                  <a:cubicBezTo>
                    <a:pt x="62727" y="91228"/>
                    <a:pt x="64772" y="96140"/>
                    <a:pt x="66136" y="95438"/>
                  </a:cubicBezTo>
                  <a:cubicBezTo>
                    <a:pt x="67500" y="94736"/>
                    <a:pt x="71931" y="92631"/>
                    <a:pt x="74318" y="94035"/>
                  </a:cubicBezTo>
                  <a:cubicBezTo>
                    <a:pt x="77045" y="95087"/>
                    <a:pt x="78409" y="96842"/>
                    <a:pt x="78409" y="98245"/>
                  </a:cubicBezTo>
                  <a:cubicBezTo>
                    <a:pt x="78409" y="100000"/>
                    <a:pt x="77727" y="102456"/>
                    <a:pt x="79090" y="103859"/>
                  </a:cubicBezTo>
                  <a:cubicBezTo>
                    <a:pt x="80113" y="104912"/>
                    <a:pt x="81136" y="105263"/>
                    <a:pt x="81477" y="106666"/>
                  </a:cubicBezTo>
                  <a:cubicBezTo>
                    <a:pt x="81818" y="108070"/>
                    <a:pt x="82159" y="109122"/>
                    <a:pt x="83181" y="110175"/>
                  </a:cubicBezTo>
                  <a:cubicBezTo>
                    <a:pt x="83863" y="110877"/>
                    <a:pt x="86590" y="114035"/>
                    <a:pt x="87954" y="114385"/>
                  </a:cubicBezTo>
                  <a:cubicBezTo>
                    <a:pt x="88977" y="115087"/>
                    <a:pt x="90681" y="115789"/>
                    <a:pt x="92045" y="114385"/>
                  </a:cubicBezTo>
                  <a:cubicBezTo>
                    <a:pt x="93409" y="112982"/>
                    <a:pt x="95454" y="110877"/>
                    <a:pt x="96136" y="112280"/>
                  </a:cubicBezTo>
                  <a:cubicBezTo>
                    <a:pt x="96818" y="113684"/>
                    <a:pt x="99886" y="118947"/>
                    <a:pt x="102613" y="119298"/>
                  </a:cubicBezTo>
                  <a:cubicBezTo>
                    <a:pt x="105340" y="119298"/>
                    <a:pt x="111818" y="120000"/>
                    <a:pt x="113181" y="118596"/>
                  </a:cubicBezTo>
                  <a:cubicBezTo>
                    <a:pt x="114204" y="116842"/>
                    <a:pt x="120000" y="112280"/>
                    <a:pt x="118295" y="110877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8" name="Shape 6992">
              <a:extLst>
                <a:ext uri="{FF2B5EF4-FFF2-40B4-BE49-F238E27FC236}">
                  <a16:creationId xmlns:a16="http://schemas.microsoft.com/office/drawing/2014/main" id="{2AC0E272-377E-4220-955D-30AD226A3D1F}"/>
                </a:ext>
              </a:extLst>
            </p:cNvPr>
            <p:cNvSpPr/>
            <p:nvPr/>
          </p:nvSpPr>
          <p:spPr>
            <a:xfrm>
              <a:off x="1308347" y="4041958"/>
              <a:ext cx="515160" cy="464716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94838"/>
                  </a:moveTo>
                  <a:cubicBezTo>
                    <a:pt x="119550" y="93387"/>
                    <a:pt x="115056" y="87580"/>
                    <a:pt x="114157" y="86612"/>
                  </a:cubicBezTo>
                  <a:cubicBezTo>
                    <a:pt x="112808" y="85645"/>
                    <a:pt x="113258" y="83225"/>
                    <a:pt x="113707" y="81290"/>
                  </a:cubicBezTo>
                  <a:cubicBezTo>
                    <a:pt x="113707" y="80322"/>
                    <a:pt x="114157" y="79838"/>
                    <a:pt x="114157" y="78870"/>
                  </a:cubicBezTo>
                  <a:cubicBezTo>
                    <a:pt x="114157" y="77903"/>
                    <a:pt x="110561" y="73548"/>
                    <a:pt x="109213" y="73064"/>
                  </a:cubicBezTo>
                  <a:cubicBezTo>
                    <a:pt x="108314" y="72096"/>
                    <a:pt x="107415" y="69677"/>
                    <a:pt x="106966" y="64838"/>
                  </a:cubicBezTo>
                  <a:cubicBezTo>
                    <a:pt x="106966" y="64354"/>
                    <a:pt x="106966" y="63870"/>
                    <a:pt x="106966" y="63387"/>
                  </a:cubicBezTo>
                  <a:cubicBezTo>
                    <a:pt x="106516" y="63387"/>
                    <a:pt x="105168" y="62903"/>
                    <a:pt x="104269" y="62419"/>
                  </a:cubicBezTo>
                  <a:cubicBezTo>
                    <a:pt x="103370" y="61935"/>
                    <a:pt x="102471" y="61935"/>
                    <a:pt x="101573" y="61451"/>
                  </a:cubicBezTo>
                  <a:cubicBezTo>
                    <a:pt x="100674" y="60483"/>
                    <a:pt x="100674" y="59032"/>
                    <a:pt x="100674" y="58064"/>
                  </a:cubicBezTo>
                  <a:cubicBezTo>
                    <a:pt x="100674" y="58064"/>
                    <a:pt x="100674" y="57580"/>
                    <a:pt x="100674" y="57096"/>
                  </a:cubicBezTo>
                  <a:cubicBezTo>
                    <a:pt x="100224" y="56129"/>
                    <a:pt x="99775" y="54193"/>
                    <a:pt x="99325" y="52258"/>
                  </a:cubicBezTo>
                  <a:cubicBezTo>
                    <a:pt x="99325" y="51290"/>
                    <a:pt x="97078" y="48870"/>
                    <a:pt x="96179" y="47419"/>
                  </a:cubicBezTo>
                  <a:cubicBezTo>
                    <a:pt x="95280" y="46451"/>
                    <a:pt x="94831" y="45483"/>
                    <a:pt x="94382" y="45000"/>
                  </a:cubicBezTo>
                  <a:cubicBezTo>
                    <a:pt x="93932" y="44516"/>
                    <a:pt x="90786" y="45000"/>
                    <a:pt x="88988" y="45000"/>
                  </a:cubicBezTo>
                  <a:cubicBezTo>
                    <a:pt x="87191" y="45000"/>
                    <a:pt x="85842" y="45483"/>
                    <a:pt x="85393" y="45000"/>
                  </a:cubicBezTo>
                  <a:cubicBezTo>
                    <a:pt x="83146" y="45000"/>
                    <a:pt x="80000" y="42096"/>
                    <a:pt x="78651" y="40161"/>
                  </a:cubicBezTo>
                  <a:cubicBezTo>
                    <a:pt x="77303" y="37741"/>
                    <a:pt x="76404" y="36774"/>
                    <a:pt x="76404" y="35806"/>
                  </a:cubicBezTo>
                  <a:cubicBezTo>
                    <a:pt x="76404" y="35806"/>
                    <a:pt x="75955" y="35322"/>
                    <a:pt x="75955" y="35322"/>
                  </a:cubicBezTo>
                  <a:cubicBezTo>
                    <a:pt x="75955" y="35322"/>
                    <a:pt x="75955" y="35322"/>
                    <a:pt x="75955" y="35322"/>
                  </a:cubicBezTo>
                  <a:cubicBezTo>
                    <a:pt x="75505" y="35322"/>
                    <a:pt x="75505" y="34838"/>
                    <a:pt x="75505" y="34838"/>
                  </a:cubicBezTo>
                  <a:cubicBezTo>
                    <a:pt x="74606" y="33387"/>
                    <a:pt x="73707" y="31935"/>
                    <a:pt x="72808" y="31451"/>
                  </a:cubicBezTo>
                  <a:cubicBezTo>
                    <a:pt x="72359" y="30967"/>
                    <a:pt x="69662" y="31451"/>
                    <a:pt x="68314" y="31451"/>
                  </a:cubicBezTo>
                  <a:cubicBezTo>
                    <a:pt x="66966" y="31935"/>
                    <a:pt x="66067" y="31935"/>
                    <a:pt x="65168" y="31935"/>
                  </a:cubicBezTo>
                  <a:cubicBezTo>
                    <a:pt x="63820" y="31451"/>
                    <a:pt x="59775" y="29516"/>
                    <a:pt x="58876" y="28548"/>
                  </a:cubicBezTo>
                  <a:cubicBezTo>
                    <a:pt x="58876" y="28548"/>
                    <a:pt x="56629" y="27580"/>
                    <a:pt x="54831" y="26612"/>
                  </a:cubicBezTo>
                  <a:cubicBezTo>
                    <a:pt x="50786" y="24677"/>
                    <a:pt x="48089" y="23709"/>
                    <a:pt x="47640" y="22741"/>
                  </a:cubicBezTo>
                  <a:cubicBezTo>
                    <a:pt x="45842" y="21290"/>
                    <a:pt x="44044" y="16935"/>
                    <a:pt x="43595" y="15483"/>
                  </a:cubicBezTo>
                  <a:cubicBezTo>
                    <a:pt x="43146" y="15000"/>
                    <a:pt x="40449" y="15483"/>
                    <a:pt x="39550" y="15483"/>
                  </a:cubicBezTo>
                  <a:cubicBezTo>
                    <a:pt x="38651" y="15483"/>
                    <a:pt x="38202" y="15483"/>
                    <a:pt x="38202" y="15483"/>
                  </a:cubicBezTo>
                  <a:cubicBezTo>
                    <a:pt x="35955" y="15483"/>
                    <a:pt x="32359" y="10645"/>
                    <a:pt x="32359" y="10645"/>
                  </a:cubicBezTo>
                  <a:cubicBezTo>
                    <a:pt x="31910" y="9677"/>
                    <a:pt x="30561" y="9677"/>
                    <a:pt x="30112" y="9677"/>
                  </a:cubicBezTo>
                  <a:cubicBezTo>
                    <a:pt x="29662" y="9677"/>
                    <a:pt x="28314" y="9677"/>
                    <a:pt x="26516" y="6290"/>
                  </a:cubicBezTo>
                  <a:cubicBezTo>
                    <a:pt x="25617" y="4838"/>
                    <a:pt x="25168" y="3387"/>
                    <a:pt x="25168" y="1935"/>
                  </a:cubicBezTo>
                  <a:cubicBezTo>
                    <a:pt x="24719" y="1451"/>
                    <a:pt x="22471" y="483"/>
                    <a:pt x="20674" y="0"/>
                  </a:cubicBezTo>
                  <a:cubicBezTo>
                    <a:pt x="20224" y="483"/>
                    <a:pt x="19325" y="967"/>
                    <a:pt x="18426" y="1451"/>
                  </a:cubicBezTo>
                  <a:cubicBezTo>
                    <a:pt x="16179" y="2903"/>
                    <a:pt x="10786" y="5806"/>
                    <a:pt x="9887" y="6774"/>
                  </a:cubicBezTo>
                  <a:cubicBezTo>
                    <a:pt x="8988" y="8225"/>
                    <a:pt x="8089" y="9677"/>
                    <a:pt x="6292" y="10161"/>
                  </a:cubicBezTo>
                  <a:cubicBezTo>
                    <a:pt x="6292" y="10161"/>
                    <a:pt x="5842" y="10161"/>
                    <a:pt x="5393" y="10161"/>
                  </a:cubicBezTo>
                  <a:cubicBezTo>
                    <a:pt x="4044" y="10645"/>
                    <a:pt x="1348" y="11129"/>
                    <a:pt x="449" y="11612"/>
                  </a:cubicBezTo>
                  <a:cubicBezTo>
                    <a:pt x="1348" y="13548"/>
                    <a:pt x="3146" y="17903"/>
                    <a:pt x="1797" y="19354"/>
                  </a:cubicBezTo>
                  <a:cubicBezTo>
                    <a:pt x="1348" y="19838"/>
                    <a:pt x="898" y="20322"/>
                    <a:pt x="449" y="20806"/>
                  </a:cubicBezTo>
                  <a:cubicBezTo>
                    <a:pt x="449" y="21290"/>
                    <a:pt x="0" y="23225"/>
                    <a:pt x="0" y="24677"/>
                  </a:cubicBezTo>
                  <a:cubicBezTo>
                    <a:pt x="0" y="27096"/>
                    <a:pt x="898" y="33387"/>
                    <a:pt x="1797" y="33870"/>
                  </a:cubicBezTo>
                  <a:cubicBezTo>
                    <a:pt x="2247" y="34354"/>
                    <a:pt x="4494" y="34354"/>
                    <a:pt x="5393" y="34838"/>
                  </a:cubicBezTo>
                  <a:cubicBezTo>
                    <a:pt x="6741" y="34838"/>
                    <a:pt x="7191" y="34838"/>
                    <a:pt x="7640" y="34838"/>
                  </a:cubicBezTo>
                  <a:cubicBezTo>
                    <a:pt x="7640" y="34838"/>
                    <a:pt x="12584" y="36774"/>
                    <a:pt x="12584" y="38709"/>
                  </a:cubicBezTo>
                  <a:cubicBezTo>
                    <a:pt x="13033" y="39193"/>
                    <a:pt x="13033" y="39677"/>
                    <a:pt x="12584" y="40161"/>
                  </a:cubicBezTo>
                  <a:cubicBezTo>
                    <a:pt x="12584" y="40645"/>
                    <a:pt x="12584" y="41129"/>
                    <a:pt x="12584" y="41129"/>
                  </a:cubicBezTo>
                  <a:cubicBezTo>
                    <a:pt x="12584" y="41129"/>
                    <a:pt x="12584" y="41129"/>
                    <a:pt x="13033" y="41129"/>
                  </a:cubicBezTo>
                  <a:cubicBezTo>
                    <a:pt x="13483" y="41612"/>
                    <a:pt x="14382" y="41612"/>
                    <a:pt x="15280" y="41612"/>
                  </a:cubicBezTo>
                  <a:cubicBezTo>
                    <a:pt x="17078" y="41612"/>
                    <a:pt x="18426" y="41129"/>
                    <a:pt x="19325" y="42096"/>
                  </a:cubicBezTo>
                  <a:cubicBezTo>
                    <a:pt x="20224" y="42580"/>
                    <a:pt x="26966" y="49354"/>
                    <a:pt x="26966" y="51290"/>
                  </a:cubicBezTo>
                  <a:cubicBezTo>
                    <a:pt x="26966" y="51774"/>
                    <a:pt x="26966" y="52741"/>
                    <a:pt x="26966" y="53709"/>
                  </a:cubicBezTo>
                  <a:cubicBezTo>
                    <a:pt x="27415" y="58064"/>
                    <a:pt x="27865" y="60000"/>
                    <a:pt x="26966" y="60967"/>
                  </a:cubicBezTo>
                  <a:cubicBezTo>
                    <a:pt x="25168" y="62419"/>
                    <a:pt x="22471" y="65806"/>
                    <a:pt x="22921" y="66290"/>
                  </a:cubicBezTo>
                  <a:cubicBezTo>
                    <a:pt x="24269" y="67741"/>
                    <a:pt x="24719" y="68225"/>
                    <a:pt x="25168" y="68225"/>
                  </a:cubicBezTo>
                  <a:cubicBezTo>
                    <a:pt x="25168" y="68225"/>
                    <a:pt x="26067" y="67741"/>
                    <a:pt x="26067" y="67741"/>
                  </a:cubicBezTo>
                  <a:cubicBezTo>
                    <a:pt x="26966" y="67258"/>
                    <a:pt x="27865" y="67258"/>
                    <a:pt x="28314" y="67258"/>
                  </a:cubicBezTo>
                  <a:cubicBezTo>
                    <a:pt x="28764" y="67258"/>
                    <a:pt x="28764" y="67258"/>
                    <a:pt x="29213" y="67258"/>
                  </a:cubicBezTo>
                  <a:cubicBezTo>
                    <a:pt x="30561" y="67741"/>
                    <a:pt x="32808" y="68225"/>
                    <a:pt x="32808" y="70161"/>
                  </a:cubicBezTo>
                  <a:cubicBezTo>
                    <a:pt x="33258" y="71612"/>
                    <a:pt x="34157" y="74516"/>
                    <a:pt x="34606" y="75967"/>
                  </a:cubicBezTo>
                  <a:cubicBezTo>
                    <a:pt x="35505" y="77419"/>
                    <a:pt x="36853" y="78387"/>
                    <a:pt x="37303" y="78387"/>
                  </a:cubicBezTo>
                  <a:cubicBezTo>
                    <a:pt x="37752" y="78870"/>
                    <a:pt x="38202" y="78387"/>
                    <a:pt x="38651" y="78387"/>
                  </a:cubicBezTo>
                  <a:cubicBezTo>
                    <a:pt x="39101" y="78387"/>
                    <a:pt x="40898" y="78387"/>
                    <a:pt x="41348" y="80322"/>
                  </a:cubicBezTo>
                  <a:cubicBezTo>
                    <a:pt x="41348" y="80322"/>
                    <a:pt x="41348" y="80806"/>
                    <a:pt x="41348" y="81290"/>
                  </a:cubicBezTo>
                  <a:cubicBezTo>
                    <a:pt x="41797" y="82258"/>
                    <a:pt x="41797" y="84193"/>
                    <a:pt x="42247" y="84193"/>
                  </a:cubicBezTo>
                  <a:cubicBezTo>
                    <a:pt x="45393" y="86129"/>
                    <a:pt x="46741" y="88064"/>
                    <a:pt x="46741" y="89516"/>
                  </a:cubicBezTo>
                  <a:cubicBezTo>
                    <a:pt x="47191" y="90483"/>
                    <a:pt x="47191" y="93870"/>
                    <a:pt x="47191" y="95806"/>
                  </a:cubicBezTo>
                  <a:cubicBezTo>
                    <a:pt x="47191" y="95806"/>
                    <a:pt x="47191" y="95322"/>
                    <a:pt x="47191" y="95322"/>
                  </a:cubicBezTo>
                  <a:cubicBezTo>
                    <a:pt x="48988" y="95322"/>
                    <a:pt x="54382" y="96774"/>
                    <a:pt x="53932" y="99193"/>
                  </a:cubicBezTo>
                  <a:cubicBezTo>
                    <a:pt x="53483" y="101129"/>
                    <a:pt x="53483" y="104032"/>
                    <a:pt x="53033" y="105483"/>
                  </a:cubicBezTo>
                  <a:cubicBezTo>
                    <a:pt x="52584" y="106935"/>
                    <a:pt x="52134" y="111774"/>
                    <a:pt x="53033" y="112741"/>
                  </a:cubicBezTo>
                  <a:cubicBezTo>
                    <a:pt x="53932" y="113709"/>
                    <a:pt x="56629" y="116129"/>
                    <a:pt x="58426" y="117096"/>
                  </a:cubicBezTo>
                  <a:cubicBezTo>
                    <a:pt x="60224" y="118064"/>
                    <a:pt x="64719" y="120000"/>
                    <a:pt x="64719" y="118548"/>
                  </a:cubicBezTo>
                  <a:cubicBezTo>
                    <a:pt x="64719" y="117580"/>
                    <a:pt x="64269" y="113225"/>
                    <a:pt x="66067" y="112258"/>
                  </a:cubicBezTo>
                  <a:cubicBezTo>
                    <a:pt x="67415" y="111290"/>
                    <a:pt x="68764" y="109838"/>
                    <a:pt x="69662" y="108387"/>
                  </a:cubicBezTo>
                  <a:cubicBezTo>
                    <a:pt x="70561" y="106935"/>
                    <a:pt x="71460" y="104516"/>
                    <a:pt x="72808" y="104516"/>
                  </a:cubicBezTo>
                  <a:cubicBezTo>
                    <a:pt x="74157" y="104516"/>
                    <a:pt x="84044" y="106451"/>
                    <a:pt x="84943" y="105483"/>
                  </a:cubicBezTo>
                  <a:cubicBezTo>
                    <a:pt x="85393" y="104516"/>
                    <a:pt x="87191" y="98709"/>
                    <a:pt x="89887" y="99193"/>
                  </a:cubicBezTo>
                  <a:cubicBezTo>
                    <a:pt x="92584" y="99193"/>
                    <a:pt x="94831" y="98225"/>
                    <a:pt x="96629" y="99677"/>
                  </a:cubicBezTo>
                  <a:cubicBezTo>
                    <a:pt x="97977" y="101129"/>
                    <a:pt x="100674" y="104032"/>
                    <a:pt x="102471" y="103064"/>
                  </a:cubicBezTo>
                  <a:cubicBezTo>
                    <a:pt x="104269" y="102580"/>
                    <a:pt x="108314" y="101129"/>
                    <a:pt x="110112" y="100161"/>
                  </a:cubicBezTo>
                  <a:cubicBezTo>
                    <a:pt x="111460" y="99193"/>
                    <a:pt x="112808" y="96774"/>
                    <a:pt x="114157" y="96774"/>
                  </a:cubicBezTo>
                  <a:cubicBezTo>
                    <a:pt x="115056" y="96774"/>
                    <a:pt x="117752" y="97741"/>
                    <a:pt x="119550" y="98709"/>
                  </a:cubicBezTo>
                  <a:cubicBezTo>
                    <a:pt x="120000" y="97258"/>
                    <a:pt x="120000" y="95322"/>
                    <a:pt x="120000" y="94838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9" name="Shape 6993">
              <a:extLst>
                <a:ext uri="{FF2B5EF4-FFF2-40B4-BE49-F238E27FC236}">
                  <a16:creationId xmlns:a16="http://schemas.microsoft.com/office/drawing/2014/main" id="{B8003CF7-EDB8-44EB-87C0-D8B86A9BC74D}"/>
                </a:ext>
              </a:extLst>
            </p:cNvPr>
            <p:cNvSpPr/>
            <p:nvPr/>
          </p:nvSpPr>
          <p:spPr>
            <a:xfrm>
              <a:off x="1404820" y="3881455"/>
              <a:ext cx="277839" cy="28834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7500" y="70129"/>
                  </a:moveTo>
                  <a:cubicBezTo>
                    <a:pt x="8333" y="71688"/>
                    <a:pt x="9166" y="73246"/>
                    <a:pt x="10833" y="75584"/>
                  </a:cubicBezTo>
                  <a:cubicBezTo>
                    <a:pt x="12500" y="78701"/>
                    <a:pt x="13333" y="79480"/>
                    <a:pt x="14166" y="79480"/>
                  </a:cubicBezTo>
                  <a:cubicBezTo>
                    <a:pt x="15000" y="79480"/>
                    <a:pt x="18333" y="79480"/>
                    <a:pt x="20833" y="82597"/>
                  </a:cubicBezTo>
                  <a:cubicBezTo>
                    <a:pt x="23333" y="84935"/>
                    <a:pt x="27500" y="88831"/>
                    <a:pt x="29166" y="88831"/>
                  </a:cubicBezTo>
                  <a:cubicBezTo>
                    <a:pt x="29166" y="88831"/>
                    <a:pt x="30000" y="88831"/>
                    <a:pt x="30833" y="88831"/>
                  </a:cubicBezTo>
                  <a:cubicBezTo>
                    <a:pt x="35833" y="88051"/>
                    <a:pt x="41666" y="87272"/>
                    <a:pt x="42500" y="90389"/>
                  </a:cubicBezTo>
                  <a:cubicBezTo>
                    <a:pt x="43333" y="92727"/>
                    <a:pt x="46666" y="98961"/>
                    <a:pt x="48333" y="101298"/>
                  </a:cubicBezTo>
                  <a:cubicBezTo>
                    <a:pt x="50000" y="102077"/>
                    <a:pt x="56666" y="105194"/>
                    <a:pt x="61666" y="106753"/>
                  </a:cubicBezTo>
                  <a:cubicBezTo>
                    <a:pt x="69166" y="109870"/>
                    <a:pt x="70000" y="110649"/>
                    <a:pt x="70833" y="111428"/>
                  </a:cubicBezTo>
                  <a:cubicBezTo>
                    <a:pt x="71666" y="112207"/>
                    <a:pt x="77500" y="115324"/>
                    <a:pt x="80000" y="115324"/>
                  </a:cubicBezTo>
                  <a:cubicBezTo>
                    <a:pt x="80833" y="115324"/>
                    <a:pt x="82500" y="115324"/>
                    <a:pt x="85000" y="114545"/>
                  </a:cubicBezTo>
                  <a:cubicBezTo>
                    <a:pt x="90000" y="114545"/>
                    <a:pt x="93333" y="113766"/>
                    <a:pt x="95000" y="115324"/>
                  </a:cubicBezTo>
                  <a:cubicBezTo>
                    <a:pt x="96666" y="116103"/>
                    <a:pt x="98333" y="117662"/>
                    <a:pt x="100000" y="120000"/>
                  </a:cubicBezTo>
                  <a:cubicBezTo>
                    <a:pt x="101666" y="117662"/>
                    <a:pt x="105000" y="112987"/>
                    <a:pt x="110833" y="104415"/>
                  </a:cubicBezTo>
                  <a:cubicBezTo>
                    <a:pt x="110833" y="103636"/>
                    <a:pt x="110833" y="103636"/>
                    <a:pt x="110833" y="103636"/>
                  </a:cubicBezTo>
                  <a:cubicBezTo>
                    <a:pt x="111666" y="102077"/>
                    <a:pt x="113333" y="101298"/>
                    <a:pt x="114166" y="101298"/>
                  </a:cubicBezTo>
                  <a:cubicBezTo>
                    <a:pt x="115000" y="100519"/>
                    <a:pt x="115000" y="100519"/>
                    <a:pt x="115000" y="100519"/>
                  </a:cubicBezTo>
                  <a:cubicBezTo>
                    <a:pt x="115833" y="98961"/>
                    <a:pt x="117500" y="96623"/>
                    <a:pt x="118333" y="95064"/>
                  </a:cubicBezTo>
                  <a:cubicBezTo>
                    <a:pt x="118333" y="95064"/>
                    <a:pt x="118333" y="93506"/>
                    <a:pt x="115000" y="91948"/>
                  </a:cubicBezTo>
                  <a:cubicBezTo>
                    <a:pt x="111666" y="90389"/>
                    <a:pt x="113333" y="87272"/>
                    <a:pt x="114166" y="85714"/>
                  </a:cubicBezTo>
                  <a:cubicBezTo>
                    <a:pt x="114166" y="84935"/>
                    <a:pt x="114166" y="84935"/>
                    <a:pt x="115000" y="84155"/>
                  </a:cubicBezTo>
                  <a:cubicBezTo>
                    <a:pt x="115000" y="82597"/>
                    <a:pt x="116666" y="80259"/>
                    <a:pt x="118333" y="77922"/>
                  </a:cubicBezTo>
                  <a:cubicBezTo>
                    <a:pt x="119166" y="77922"/>
                    <a:pt x="119166" y="77142"/>
                    <a:pt x="119166" y="77142"/>
                  </a:cubicBezTo>
                  <a:cubicBezTo>
                    <a:pt x="120000" y="75584"/>
                    <a:pt x="120000" y="69350"/>
                    <a:pt x="120000" y="67012"/>
                  </a:cubicBezTo>
                  <a:cubicBezTo>
                    <a:pt x="120000" y="65454"/>
                    <a:pt x="120000" y="64675"/>
                    <a:pt x="120000" y="64675"/>
                  </a:cubicBezTo>
                  <a:cubicBezTo>
                    <a:pt x="119166" y="63896"/>
                    <a:pt x="116666" y="60000"/>
                    <a:pt x="114166" y="56883"/>
                  </a:cubicBezTo>
                  <a:cubicBezTo>
                    <a:pt x="114166" y="57662"/>
                    <a:pt x="113333" y="57662"/>
                    <a:pt x="112500" y="57662"/>
                  </a:cubicBezTo>
                  <a:cubicBezTo>
                    <a:pt x="111666" y="57662"/>
                    <a:pt x="110833" y="57662"/>
                    <a:pt x="110000" y="56883"/>
                  </a:cubicBezTo>
                  <a:cubicBezTo>
                    <a:pt x="105000" y="56103"/>
                    <a:pt x="91666" y="45974"/>
                    <a:pt x="90833" y="42857"/>
                  </a:cubicBezTo>
                  <a:cubicBezTo>
                    <a:pt x="90000" y="42077"/>
                    <a:pt x="84166" y="42077"/>
                    <a:pt x="82500" y="42077"/>
                  </a:cubicBezTo>
                  <a:cubicBezTo>
                    <a:pt x="80833" y="42077"/>
                    <a:pt x="80833" y="42077"/>
                    <a:pt x="80833" y="42077"/>
                  </a:cubicBezTo>
                  <a:cubicBezTo>
                    <a:pt x="79166" y="42077"/>
                    <a:pt x="79166" y="42857"/>
                    <a:pt x="78333" y="43636"/>
                  </a:cubicBezTo>
                  <a:cubicBezTo>
                    <a:pt x="77500" y="44415"/>
                    <a:pt x="77500" y="44415"/>
                    <a:pt x="76666" y="45194"/>
                  </a:cubicBezTo>
                  <a:cubicBezTo>
                    <a:pt x="74166" y="46753"/>
                    <a:pt x="71666" y="43636"/>
                    <a:pt x="66666" y="38181"/>
                  </a:cubicBezTo>
                  <a:cubicBezTo>
                    <a:pt x="65833" y="37402"/>
                    <a:pt x="65000" y="35844"/>
                    <a:pt x="64166" y="35844"/>
                  </a:cubicBezTo>
                  <a:cubicBezTo>
                    <a:pt x="63333" y="34285"/>
                    <a:pt x="62500" y="31948"/>
                    <a:pt x="63333" y="25714"/>
                  </a:cubicBezTo>
                  <a:cubicBezTo>
                    <a:pt x="63333" y="24935"/>
                    <a:pt x="63333" y="24155"/>
                    <a:pt x="63333" y="23376"/>
                  </a:cubicBezTo>
                  <a:cubicBezTo>
                    <a:pt x="63333" y="23376"/>
                    <a:pt x="61666" y="21038"/>
                    <a:pt x="60833" y="20259"/>
                  </a:cubicBezTo>
                  <a:cubicBezTo>
                    <a:pt x="60000" y="19480"/>
                    <a:pt x="59166" y="18701"/>
                    <a:pt x="58333" y="18701"/>
                  </a:cubicBezTo>
                  <a:cubicBezTo>
                    <a:pt x="58333" y="17922"/>
                    <a:pt x="56666" y="17142"/>
                    <a:pt x="49166" y="16363"/>
                  </a:cubicBezTo>
                  <a:cubicBezTo>
                    <a:pt x="47500" y="15584"/>
                    <a:pt x="47500" y="15584"/>
                    <a:pt x="47500" y="15584"/>
                  </a:cubicBezTo>
                  <a:cubicBezTo>
                    <a:pt x="45833" y="15584"/>
                    <a:pt x="43333" y="14805"/>
                    <a:pt x="41666" y="14025"/>
                  </a:cubicBezTo>
                  <a:cubicBezTo>
                    <a:pt x="40000" y="14025"/>
                    <a:pt x="38333" y="12467"/>
                    <a:pt x="35833" y="10909"/>
                  </a:cubicBezTo>
                  <a:cubicBezTo>
                    <a:pt x="34166" y="10129"/>
                    <a:pt x="32500" y="8571"/>
                    <a:pt x="31666" y="8571"/>
                  </a:cubicBezTo>
                  <a:cubicBezTo>
                    <a:pt x="30833" y="7792"/>
                    <a:pt x="30833" y="7792"/>
                    <a:pt x="30000" y="8571"/>
                  </a:cubicBezTo>
                  <a:cubicBezTo>
                    <a:pt x="29166" y="8571"/>
                    <a:pt x="28333" y="9350"/>
                    <a:pt x="27500" y="9350"/>
                  </a:cubicBezTo>
                  <a:cubicBezTo>
                    <a:pt x="26666" y="9350"/>
                    <a:pt x="25833" y="9350"/>
                    <a:pt x="25000" y="8571"/>
                  </a:cubicBezTo>
                  <a:cubicBezTo>
                    <a:pt x="23333" y="7012"/>
                    <a:pt x="23333" y="3116"/>
                    <a:pt x="23333" y="779"/>
                  </a:cubicBezTo>
                  <a:cubicBezTo>
                    <a:pt x="22500" y="779"/>
                    <a:pt x="20833" y="779"/>
                    <a:pt x="20833" y="0"/>
                  </a:cubicBezTo>
                  <a:cubicBezTo>
                    <a:pt x="15833" y="4675"/>
                    <a:pt x="10833" y="9350"/>
                    <a:pt x="10833" y="10909"/>
                  </a:cubicBezTo>
                  <a:cubicBezTo>
                    <a:pt x="10833" y="11688"/>
                    <a:pt x="10833" y="13246"/>
                    <a:pt x="10833" y="14025"/>
                  </a:cubicBezTo>
                  <a:cubicBezTo>
                    <a:pt x="10833" y="15584"/>
                    <a:pt x="11666" y="17922"/>
                    <a:pt x="10833" y="20259"/>
                  </a:cubicBezTo>
                  <a:cubicBezTo>
                    <a:pt x="10833" y="21038"/>
                    <a:pt x="10833" y="21038"/>
                    <a:pt x="10833" y="21038"/>
                  </a:cubicBezTo>
                  <a:cubicBezTo>
                    <a:pt x="10000" y="24155"/>
                    <a:pt x="9166" y="31168"/>
                    <a:pt x="10000" y="33506"/>
                  </a:cubicBezTo>
                  <a:cubicBezTo>
                    <a:pt x="10833" y="36623"/>
                    <a:pt x="12500" y="41298"/>
                    <a:pt x="13333" y="44415"/>
                  </a:cubicBezTo>
                  <a:cubicBezTo>
                    <a:pt x="13333" y="45974"/>
                    <a:pt x="15000" y="56883"/>
                    <a:pt x="12500" y="59220"/>
                  </a:cubicBezTo>
                  <a:cubicBezTo>
                    <a:pt x="11666" y="60779"/>
                    <a:pt x="10000" y="60000"/>
                    <a:pt x="8333" y="60000"/>
                  </a:cubicBezTo>
                  <a:cubicBezTo>
                    <a:pt x="6666" y="60000"/>
                    <a:pt x="5000" y="60000"/>
                    <a:pt x="4166" y="60779"/>
                  </a:cubicBezTo>
                  <a:cubicBezTo>
                    <a:pt x="3333" y="60779"/>
                    <a:pt x="3333" y="61558"/>
                    <a:pt x="2500" y="62337"/>
                  </a:cubicBezTo>
                  <a:cubicBezTo>
                    <a:pt x="1666" y="63116"/>
                    <a:pt x="833" y="63896"/>
                    <a:pt x="0" y="64675"/>
                  </a:cubicBezTo>
                  <a:cubicBezTo>
                    <a:pt x="3333" y="66233"/>
                    <a:pt x="7500" y="67792"/>
                    <a:pt x="7500" y="70129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0" name="Shape 6994">
              <a:extLst>
                <a:ext uri="{FF2B5EF4-FFF2-40B4-BE49-F238E27FC236}">
                  <a16:creationId xmlns:a16="http://schemas.microsoft.com/office/drawing/2014/main" id="{37F51FE8-D7D7-4856-A3D7-B4CF44AF40DD}"/>
                </a:ext>
              </a:extLst>
            </p:cNvPr>
            <p:cNvSpPr/>
            <p:nvPr/>
          </p:nvSpPr>
          <p:spPr>
            <a:xfrm>
              <a:off x="1642140" y="3985970"/>
              <a:ext cx="302922" cy="23982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3821" y="103125"/>
                  </a:moveTo>
                  <a:cubicBezTo>
                    <a:pt x="6114" y="106875"/>
                    <a:pt x="10700" y="111562"/>
                    <a:pt x="12993" y="111562"/>
                  </a:cubicBezTo>
                  <a:cubicBezTo>
                    <a:pt x="13757" y="112500"/>
                    <a:pt x="16815" y="111562"/>
                    <a:pt x="19108" y="111562"/>
                  </a:cubicBezTo>
                  <a:cubicBezTo>
                    <a:pt x="26751" y="111562"/>
                    <a:pt x="29808" y="110625"/>
                    <a:pt x="31337" y="113437"/>
                  </a:cubicBezTo>
                  <a:cubicBezTo>
                    <a:pt x="31337" y="114375"/>
                    <a:pt x="32866" y="115312"/>
                    <a:pt x="33630" y="117187"/>
                  </a:cubicBezTo>
                  <a:cubicBezTo>
                    <a:pt x="34394" y="118125"/>
                    <a:pt x="34394" y="119062"/>
                    <a:pt x="35159" y="120000"/>
                  </a:cubicBezTo>
                  <a:cubicBezTo>
                    <a:pt x="36687" y="120000"/>
                    <a:pt x="41273" y="120000"/>
                    <a:pt x="42802" y="118125"/>
                  </a:cubicBezTo>
                  <a:cubicBezTo>
                    <a:pt x="44331" y="116250"/>
                    <a:pt x="44331" y="114375"/>
                    <a:pt x="43566" y="109687"/>
                  </a:cubicBezTo>
                  <a:cubicBezTo>
                    <a:pt x="42802" y="107812"/>
                    <a:pt x="42802" y="106875"/>
                    <a:pt x="42038" y="105937"/>
                  </a:cubicBezTo>
                  <a:cubicBezTo>
                    <a:pt x="41273" y="105000"/>
                    <a:pt x="41273" y="105000"/>
                    <a:pt x="40509" y="104062"/>
                  </a:cubicBezTo>
                  <a:cubicBezTo>
                    <a:pt x="38216" y="100312"/>
                    <a:pt x="40509" y="87187"/>
                    <a:pt x="40509" y="87187"/>
                  </a:cubicBezTo>
                  <a:cubicBezTo>
                    <a:pt x="40509" y="83437"/>
                    <a:pt x="45095" y="79687"/>
                    <a:pt x="46624" y="78750"/>
                  </a:cubicBezTo>
                  <a:cubicBezTo>
                    <a:pt x="48152" y="77812"/>
                    <a:pt x="51210" y="78750"/>
                    <a:pt x="57324" y="79687"/>
                  </a:cubicBezTo>
                  <a:cubicBezTo>
                    <a:pt x="58089" y="79687"/>
                    <a:pt x="58089" y="79687"/>
                    <a:pt x="58089" y="79687"/>
                  </a:cubicBezTo>
                  <a:cubicBezTo>
                    <a:pt x="58853" y="79687"/>
                    <a:pt x="61910" y="75937"/>
                    <a:pt x="62675" y="74062"/>
                  </a:cubicBezTo>
                  <a:cubicBezTo>
                    <a:pt x="63439" y="73125"/>
                    <a:pt x="63439" y="73125"/>
                    <a:pt x="63439" y="73125"/>
                  </a:cubicBezTo>
                  <a:cubicBezTo>
                    <a:pt x="63439" y="72187"/>
                    <a:pt x="64203" y="72187"/>
                    <a:pt x="64968" y="72187"/>
                  </a:cubicBezTo>
                  <a:cubicBezTo>
                    <a:pt x="64968" y="72187"/>
                    <a:pt x="64968" y="72187"/>
                    <a:pt x="64968" y="72187"/>
                  </a:cubicBezTo>
                  <a:cubicBezTo>
                    <a:pt x="66496" y="72187"/>
                    <a:pt x="68789" y="74062"/>
                    <a:pt x="71847" y="79687"/>
                  </a:cubicBezTo>
                  <a:cubicBezTo>
                    <a:pt x="73375" y="81562"/>
                    <a:pt x="74904" y="84375"/>
                    <a:pt x="75668" y="84375"/>
                  </a:cubicBezTo>
                  <a:cubicBezTo>
                    <a:pt x="75668" y="84375"/>
                    <a:pt x="75668" y="83437"/>
                    <a:pt x="76433" y="83437"/>
                  </a:cubicBezTo>
                  <a:cubicBezTo>
                    <a:pt x="76433" y="82500"/>
                    <a:pt x="77197" y="81562"/>
                    <a:pt x="77961" y="80625"/>
                  </a:cubicBezTo>
                  <a:cubicBezTo>
                    <a:pt x="80254" y="77812"/>
                    <a:pt x="84076" y="79687"/>
                    <a:pt x="88662" y="82500"/>
                  </a:cubicBezTo>
                  <a:cubicBezTo>
                    <a:pt x="90191" y="84375"/>
                    <a:pt x="91719" y="85312"/>
                    <a:pt x="92484" y="85312"/>
                  </a:cubicBezTo>
                  <a:cubicBezTo>
                    <a:pt x="95541" y="86250"/>
                    <a:pt x="97070" y="90937"/>
                    <a:pt x="98598" y="95625"/>
                  </a:cubicBezTo>
                  <a:cubicBezTo>
                    <a:pt x="98598" y="95625"/>
                    <a:pt x="98598" y="96562"/>
                    <a:pt x="99363" y="97500"/>
                  </a:cubicBezTo>
                  <a:cubicBezTo>
                    <a:pt x="100127" y="96562"/>
                    <a:pt x="101656" y="92812"/>
                    <a:pt x="102420" y="91875"/>
                  </a:cubicBezTo>
                  <a:cubicBezTo>
                    <a:pt x="103184" y="89062"/>
                    <a:pt x="106242" y="88125"/>
                    <a:pt x="110063" y="87187"/>
                  </a:cubicBezTo>
                  <a:cubicBezTo>
                    <a:pt x="111592" y="87187"/>
                    <a:pt x="113121" y="87187"/>
                    <a:pt x="113885" y="86250"/>
                  </a:cubicBezTo>
                  <a:cubicBezTo>
                    <a:pt x="114649" y="85312"/>
                    <a:pt x="117707" y="79687"/>
                    <a:pt x="120000" y="74062"/>
                  </a:cubicBezTo>
                  <a:cubicBezTo>
                    <a:pt x="119235" y="71250"/>
                    <a:pt x="118471" y="69375"/>
                    <a:pt x="117707" y="67500"/>
                  </a:cubicBezTo>
                  <a:cubicBezTo>
                    <a:pt x="116942" y="65625"/>
                    <a:pt x="113885" y="62812"/>
                    <a:pt x="112356" y="60937"/>
                  </a:cubicBezTo>
                  <a:cubicBezTo>
                    <a:pt x="110828" y="59062"/>
                    <a:pt x="109299" y="58125"/>
                    <a:pt x="108535" y="57187"/>
                  </a:cubicBezTo>
                  <a:cubicBezTo>
                    <a:pt x="107006" y="55312"/>
                    <a:pt x="107006" y="49687"/>
                    <a:pt x="106242" y="44062"/>
                  </a:cubicBezTo>
                  <a:cubicBezTo>
                    <a:pt x="106242" y="43125"/>
                    <a:pt x="106242" y="42187"/>
                    <a:pt x="106242" y="41250"/>
                  </a:cubicBezTo>
                  <a:cubicBezTo>
                    <a:pt x="105477" y="39375"/>
                    <a:pt x="103949" y="38437"/>
                    <a:pt x="102420" y="37500"/>
                  </a:cubicBezTo>
                  <a:cubicBezTo>
                    <a:pt x="101656" y="37500"/>
                    <a:pt x="100127" y="38437"/>
                    <a:pt x="100127" y="39375"/>
                  </a:cubicBezTo>
                  <a:cubicBezTo>
                    <a:pt x="98598" y="40312"/>
                    <a:pt x="97070" y="41250"/>
                    <a:pt x="95541" y="41250"/>
                  </a:cubicBezTo>
                  <a:cubicBezTo>
                    <a:pt x="94012" y="41250"/>
                    <a:pt x="90955" y="38437"/>
                    <a:pt x="81019" y="26250"/>
                  </a:cubicBezTo>
                  <a:cubicBezTo>
                    <a:pt x="79490" y="24375"/>
                    <a:pt x="79490" y="24375"/>
                    <a:pt x="79490" y="24375"/>
                  </a:cubicBezTo>
                  <a:cubicBezTo>
                    <a:pt x="78726" y="22500"/>
                    <a:pt x="77197" y="20625"/>
                    <a:pt x="74140" y="19687"/>
                  </a:cubicBezTo>
                  <a:cubicBezTo>
                    <a:pt x="71082" y="17812"/>
                    <a:pt x="64968" y="20625"/>
                    <a:pt x="62675" y="21562"/>
                  </a:cubicBezTo>
                  <a:cubicBezTo>
                    <a:pt x="62675" y="21562"/>
                    <a:pt x="62675" y="21562"/>
                    <a:pt x="62675" y="21562"/>
                  </a:cubicBezTo>
                  <a:cubicBezTo>
                    <a:pt x="61910" y="21562"/>
                    <a:pt x="61146" y="21562"/>
                    <a:pt x="60382" y="20625"/>
                  </a:cubicBezTo>
                  <a:cubicBezTo>
                    <a:pt x="58853" y="19687"/>
                    <a:pt x="58089" y="15000"/>
                    <a:pt x="58089" y="10312"/>
                  </a:cubicBezTo>
                  <a:cubicBezTo>
                    <a:pt x="56560" y="9375"/>
                    <a:pt x="53503" y="6562"/>
                    <a:pt x="46624" y="0"/>
                  </a:cubicBezTo>
                  <a:cubicBezTo>
                    <a:pt x="45859" y="937"/>
                    <a:pt x="45095" y="1875"/>
                    <a:pt x="44331" y="1875"/>
                  </a:cubicBezTo>
                  <a:cubicBezTo>
                    <a:pt x="43566" y="2812"/>
                    <a:pt x="42802" y="2812"/>
                    <a:pt x="42038" y="3750"/>
                  </a:cubicBezTo>
                  <a:cubicBezTo>
                    <a:pt x="40509" y="4687"/>
                    <a:pt x="40509" y="5625"/>
                    <a:pt x="40509" y="8437"/>
                  </a:cubicBezTo>
                  <a:cubicBezTo>
                    <a:pt x="40509" y="9375"/>
                    <a:pt x="40509" y="11250"/>
                    <a:pt x="39745" y="13125"/>
                  </a:cubicBezTo>
                  <a:cubicBezTo>
                    <a:pt x="37452" y="15937"/>
                    <a:pt x="32866" y="15937"/>
                    <a:pt x="29044" y="15937"/>
                  </a:cubicBezTo>
                  <a:cubicBezTo>
                    <a:pt x="28280" y="15937"/>
                    <a:pt x="28280" y="15000"/>
                    <a:pt x="27515" y="15000"/>
                  </a:cubicBezTo>
                  <a:cubicBezTo>
                    <a:pt x="24458" y="15000"/>
                    <a:pt x="22165" y="12187"/>
                    <a:pt x="20636" y="10312"/>
                  </a:cubicBezTo>
                  <a:cubicBezTo>
                    <a:pt x="19872" y="10312"/>
                    <a:pt x="18343" y="11250"/>
                    <a:pt x="16050" y="13125"/>
                  </a:cubicBezTo>
                  <a:cubicBezTo>
                    <a:pt x="16050" y="14062"/>
                    <a:pt x="15286" y="14062"/>
                    <a:pt x="15286" y="14062"/>
                  </a:cubicBezTo>
                  <a:cubicBezTo>
                    <a:pt x="15286" y="14062"/>
                    <a:pt x="14522" y="15000"/>
                    <a:pt x="13757" y="15000"/>
                  </a:cubicBezTo>
                  <a:cubicBezTo>
                    <a:pt x="16050" y="18750"/>
                    <a:pt x="19108" y="23437"/>
                    <a:pt x="19108" y="25312"/>
                  </a:cubicBezTo>
                  <a:cubicBezTo>
                    <a:pt x="19108" y="25312"/>
                    <a:pt x="19108" y="26250"/>
                    <a:pt x="19108" y="28125"/>
                  </a:cubicBezTo>
                  <a:cubicBezTo>
                    <a:pt x="19108" y="35625"/>
                    <a:pt x="19108" y="40312"/>
                    <a:pt x="18343" y="42187"/>
                  </a:cubicBezTo>
                  <a:cubicBezTo>
                    <a:pt x="17579" y="43125"/>
                    <a:pt x="17579" y="43125"/>
                    <a:pt x="17579" y="44062"/>
                  </a:cubicBezTo>
                  <a:cubicBezTo>
                    <a:pt x="16050" y="45000"/>
                    <a:pt x="14522" y="47812"/>
                    <a:pt x="13757" y="49687"/>
                  </a:cubicBezTo>
                  <a:cubicBezTo>
                    <a:pt x="13757" y="50625"/>
                    <a:pt x="13757" y="51562"/>
                    <a:pt x="12993" y="52500"/>
                  </a:cubicBezTo>
                  <a:cubicBezTo>
                    <a:pt x="12229" y="54375"/>
                    <a:pt x="12229" y="54375"/>
                    <a:pt x="12993" y="55312"/>
                  </a:cubicBezTo>
                  <a:cubicBezTo>
                    <a:pt x="18343" y="59062"/>
                    <a:pt x="17579" y="61875"/>
                    <a:pt x="17579" y="63750"/>
                  </a:cubicBezTo>
                  <a:cubicBezTo>
                    <a:pt x="16815" y="65625"/>
                    <a:pt x="15286" y="68437"/>
                    <a:pt x="14522" y="70312"/>
                  </a:cubicBezTo>
                  <a:cubicBezTo>
                    <a:pt x="13757" y="71250"/>
                    <a:pt x="12993" y="72187"/>
                    <a:pt x="12229" y="72187"/>
                  </a:cubicBezTo>
                  <a:cubicBezTo>
                    <a:pt x="11464" y="73125"/>
                    <a:pt x="10700" y="73125"/>
                    <a:pt x="10700" y="74062"/>
                  </a:cubicBezTo>
                  <a:cubicBezTo>
                    <a:pt x="9936" y="75000"/>
                    <a:pt x="9936" y="75000"/>
                    <a:pt x="9936" y="75000"/>
                  </a:cubicBezTo>
                  <a:cubicBezTo>
                    <a:pt x="5350" y="84375"/>
                    <a:pt x="1528" y="90937"/>
                    <a:pt x="0" y="94687"/>
                  </a:cubicBezTo>
                  <a:cubicBezTo>
                    <a:pt x="0" y="95625"/>
                    <a:pt x="0" y="95625"/>
                    <a:pt x="0" y="96562"/>
                  </a:cubicBezTo>
                  <a:cubicBezTo>
                    <a:pt x="764" y="98437"/>
                    <a:pt x="1528" y="99375"/>
                    <a:pt x="3821" y="103125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1" name="Shape 6995">
              <a:extLst>
                <a:ext uri="{FF2B5EF4-FFF2-40B4-BE49-F238E27FC236}">
                  <a16:creationId xmlns:a16="http://schemas.microsoft.com/office/drawing/2014/main" id="{341214D5-7835-408A-AFC4-4A33A86D9DAF}"/>
                </a:ext>
              </a:extLst>
            </p:cNvPr>
            <p:cNvSpPr/>
            <p:nvPr/>
          </p:nvSpPr>
          <p:spPr>
            <a:xfrm>
              <a:off x="194094" y="4078351"/>
              <a:ext cx="306781" cy="27435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7735" y="112653"/>
                  </a:moveTo>
                  <a:cubicBezTo>
                    <a:pt x="120000" y="115102"/>
                    <a:pt x="113962" y="115918"/>
                    <a:pt x="109433" y="115918"/>
                  </a:cubicBezTo>
                  <a:cubicBezTo>
                    <a:pt x="104905" y="115918"/>
                    <a:pt x="104905" y="118367"/>
                    <a:pt x="102641" y="119183"/>
                  </a:cubicBezTo>
                  <a:cubicBezTo>
                    <a:pt x="100377" y="120000"/>
                    <a:pt x="88301" y="114285"/>
                    <a:pt x="84528" y="110204"/>
                  </a:cubicBezTo>
                  <a:cubicBezTo>
                    <a:pt x="80754" y="106122"/>
                    <a:pt x="78490" y="98775"/>
                    <a:pt x="76226" y="95510"/>
                  </a:cubicBezTo>
                  <a:cubicBezTo>
                    <a:pt x="73962" y="92244"/>
                    <a:pt x="61132" y="94693"/>
                    <a:pt x="57358" y="93877"/>
                  </a:cubicBezTo>
                  <a:cubicBezTo>
                    <a:pt x="53584" y="93061"/>
                    <a:pt x="48301" y="88979"/>
                    <a:pt x="45283" y="84081"/>
                  </a:cubicBezTo>
                  <a:cubicBezTo>
                    <a:pt x="42264" y="79183"/>
                    <a:pt x="38490" y="78367"/>
                    <a:pt x="36226" y="75102"/>
                  </a:cubicBezTo>
                  <a:cubicBezTo>
                    <a:pt x="33962" y="71836"/>
                    <a:pt x="26415" y="74285"/>
                    <a:pt x="24150" y="75102"/>
                  </a:cubicBezTo>
                  <a:cubicBezTo>
                    <a:pt x="21886" y="75918"/>
                    <a:pt x="20377" y="79183"/>
                    <a:pt x="15849" y="84081"/>
                  </a:cubicBezTo>
                  <a:cubicBezTo>
                    <a:pt x="11320" y="88979"/>
                    <a:pt x="9056" y="83265"/>
                    <a:pt x="4528" y="77551"/>
                  </a:cubicBezTo>
                  <a:cubicBezTo>
                    <a:pt x="0" y="71836"/>
                    <a:pt x="0" y="68571"/>
                    <a:pt x="0" y="63673"/>
                  </a:cubicBezTo>
                  <a:cubicBezTo>
                    <a:pt x="0" y="58775"/>
                    <a:pt x="6037" y="55510"/>
                    <a:pt x="8301" y="53877"/>
                  </a:cubicBezTo>
                  <a:cubicBezTo>
                    <a:pt x="10566" y="52244"/>
                    <a:pt x="16603" y="49795"/>
                    <a:pt x="18867" y="47346"/>
                  </a:cubicBezTo>
                  <a:cubicBezTo>
                    <a:pt x="21132" y="44897"/>
                    <a:pt x="19622" y="38367"/>
                    <a:pt x="18867" y="35102"/>
                  </a:cubicBezTo>
                  <a:cubicBezTo>
                    <a:pt x="18113" y="31836"/>
                    <a:pt x="18867" y="19591"/>
                    <a:pt x="17358" y="16326"/>
                  </a:cubicBezTo>
                  <a:cubicBezTo>
                    <a:pt x="15849" y="13061"/>
                    <a:pt x="9811" y="9795"/>
                    <a:pt x="7547" y="6530"/>
                  </a:cubicBezTo>
                  <a:cubicBezTo>
                    <a:pt x="5283" y="3265"/>
                    <a:pt x="9811" y="0"/>
                    <a:pt x="12830" y="816"/>
                  </a:cubicBezTo>
                  <a:cubicBezTo>
                    <a:pt x="15849" y="1632"/>
                    <a:pt x="21132" y="4081"/>
                    <a:pt x="24150" y="6530"/>
                  </a:cubicBezTo>
                  <a:cubicBezTo>
                    <a:pt x="27169" y="8979"/>
                    <a:pt x="35471" y="8163"/>
                    <a:pt x="41509" y="8163"/>
                  </a:cubicBezTo>
                  <a:cubicBezTo>
                    <a:pt x="47547" y="8163"/>
                    <a:pt x="46792" y="10612"/>
                    <a:pt x="49811" y="13877"/>
                  </a:cubicBezTo>
                  <a:cubicBezTo>
                    <a:pt x="52830" y="17142"/>
                    <a:pt x="56603" y="18775"/>
                    <a:pt x="61886" y="18775"/>
                  </a:cubicBezTo>
                  <a:cubicBezTo>
                    <a:pt x="61886" y="18775"/>
                    <a:pt x="68679" y="16326"/>
                    <a:pt x="70943" y="14693"/>
                  </a:cubicBezTo>
                  <a:cubicBezTo>
                    <a:pt x="73207" y="13061"/>
                    <a:pt x="74716" y="20408"/>
                    <a:pt x="76226" y="23673"/>
                  </a:cubicBezTo>
                  <a:cubicBezTo>
                    <a:pt x="77735" y="26938"/>
                    <a:pt x="80000" y="31836"/>
                    <a:pt x="77735" y="35102"/>
                  </a:cubicBezTo>
                  <a:cubicBezTo>
                    <a:pt x="75471" y="38367"/>
                    <a:pt x="77735" y="43265"/>
                    <a:pt x="81509" y="46530"/>
                  </a:cubicBezTo>
                  <a:cubicBezTo>
                    <a:pt x="85283" y="49795"/>
                    <a:pt x="83773" y="52244"/>
                    <a:pt x="83773" y="57959"/>
                  </a:cubicBezTo>
                  <a:cubicBezTo>
                    <a:pt x="83773" y="63673"/>
                    <a:pt x="80754" y="71836"/>
                    <a:pt x="78490" y="75102"/>
                  </a:cubicBezTo>
                  <a:cubicBezTo>
                    <a:pt x="76226" y="78367"/>
                    <a:pt x="86792" y="90612"/>
                    <a:pt x="89811" y="92244"/>
                  </a:cubicBezTo>
                  <a:cubicBezTo>
                    <a:pt x="92830" y="93877"/>
                    <a:pt x="102641" y="97142"/>
                    <a:pt x="107924" y="97959"/>
                  </a:cubicBezTo>
                  <a:cubicBezTo>
                    <a:pt x="113207" y="98775"/>
                    <a:pt x="115471" y="110204"/>
                    <a:pt x="117735" y="112653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2" name="Shape 6996">
              <a:extLst>
                <a:ext uri="{FF2B5EF4-FFF2-40B4-BE49-F238E27FC236}">
                  <a16:creationId xmlns:a16="http://schemas.microsoft.com/office/drawing/2014/main" id="{86C3B7C5-93ED-4DAB-9E3F-C2269F78ED92}"/>
                </a:ext>
              </a:extLst>
            </p:cNvPr>
            <p:cNvSpPr/>
            <p:nvPr/>
          </p:nvSpPr>
          <p:spPr>
            <a:xfrm>
              <a:off x="842387" y="4480547"/>
              <a:ext cx="431230" cy="44138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97399" y="103728"/>
                  </a:moveTo>
                  <a:cubicBezTo>
                    <a:pt x="96322" y="101694"/>
                    <a:pt x="93094" y="101694"/>
                    <a:pt x="91479" y="101186"/>
                  </a:cubicBezTo>
                  <a:cubicBezTo>
                    <a:pt x="90941" y="101186"/>
                    <a:pt x="90941" y="101186"/>
                    <a:pt x="90403" y="101186"/>
                  </a:cubicBezTo>
                  <a:cubicBezTo>
                    <a:pt x="88789" y="100677"/>
                    <a:pt x="87174" y="99152"/>
                    <a:pt x="87174" y="97118"/>
                  </a:cubicBezTo>
                  <a:cubicBezTo>
                    <a:pt x="87174" y="96101"/>
                    <a:pt x="88789" y="94576"/>
                    <a:pt x="95784" y="91016"/>
                  </a:cubicBezTo>
                  <a:cubicBezTo>
                    <a:pt x="96860" y="90508"/>
                    <a:pt x="97937" y="90000"/>
                    <a:pt x="97937" y="89491"/>
                  </a:cubicBezTo>
                  <a:cubicBezTo>
                    <a:pt x="99013" y="88983"/>
                    <a:pt x="99551" y="87966"/>
                    <a:pt x="99551" y="86949"/>
                  </a:cubicBezTo>
                  <a:cubicBezTo>
                    <a:pt x="99551" y="86440"/>
                    <a:pt x="97937" y="84915"/>
                    <a:pt x="97399" y="84406"/>
                  </a:cubicBezTo>
                  <a:cubicBezTo>
                    <a:pt x="95784" y="83389"/>
                    <a:pt x="96860" y="81355"/>
                    <a:pt x="97399" y="80338"/>
                  </a:cubicBezTo>
                  <a:cubicBezTo>
                    <a:pt x="97399" y="79830"/>
                    <a:pt x="97399" y="79830"/>
                    <a:pt x="97937" y="79322"/>
                  </a:cubicBezTo>
                  <a:cubicBezTo>
                    <a:pt x="97937" y="78813"/>
                    <a:pt x="96860" y="78305"/>
                    <a:pt x="96322" y="77796"/>
                  </a:cubicBezTo>
                  <a:cubicBezTo>
                    <a:pt x="95784" y="77796"/>
                    <a:pt x="95784" y="77288"/>
                    <a:pt x="95784" y="77288"/>
                  </a:cubicBezTo>
                  <a:cubicBezTo>
                    <a:pt x="95246" y="76779"/>
                    <a:pt x="94708" y="76271"/>
                    <a:pt x="95246" y="75254"/>
                  </a:cubicBezTo>
                  <a:cubicBezTo>
                    <a:pt x="95246" y="74237"/>
                    <a:pt x="96322" y="73220"/>
                    <a:pt x="97399" y="72711"/>
                  </a:cubicBezTo>
                  <a:cubicBezTo>
                    <a:pt x="98475" y="72203"/>
                    <a:pt x="100089" y="72203"/>
                    <a:pt x="102242" y="73220"/>
                  </a:cubicBezTo>
                  <a:cubicBezTo>
                    <a:pt x="103318" y="73728"/>
                    <a:pt x="103856" y="74745"/>
                    <a:pt x="104394" y="75254"/>
                  </a:cubicBezTo>
                  <a:cubicBezTo>
                    <a:pt x="104932" y="75762"/>
                    <a:pt x="105470" y="76271"/>
                    <a:pt x="105470" y="76779"/>
                  </a:cubicBezTo>
                  <a:cubicBezTo>
                    <a:pt x="106008" y="76271"/>
                    <a:pt x="106008" y="74745"/>
                    <a:pt x="106008" y="72711"/>
                  </a:cubicBezTo>
                  <a:cubicBezTo>
                    <a:pt x="106008" y="72203"/>
                    <a:pt x="106008" y="71694"/>
                    <a:pt x="106547" y="71186"/>
                  </a:cubicBezTo>
                  <a:cubicBezTo>
                    <a:pt x="107623" y="70677"/>
                    <a:pt x="109775" y="70677"/>
                    <a:pt x="112466" y="71186"/>
                  </a:cubicBezTo>
                  <a:cubicBezTo>
                    <a:pt x="113004" y="71186"/>
                    <a:pt x="114080" y="71186"/>
                    <a:pt x="114080" y="71186"/>
                  </a:cubicBezTo>
                  <a:cubicBezTo>
                    <a:pt x="114080" y="71186"/>
                    <a:pt x="114618" y="70677"/>
                    <a:pt x="115156" y="68135"/>
                  </a:cubicBezTo>
                  <a:cubicBezTo>
                    <a:pt x="115156" y="68135"/>
                    <a:pt x="115156" y="68135"/>
                    <a:pt x="115156" y="68135"/>
                  </a:cubicBezTo>
                  <a:cubicBezTo>
                    <a:pt x="115156" y="67118"/>
                    <a:pt x="114080" y="65593"/>
                    <a:pt x="113004" y="65084"/>
                  </a:cubicBezTo>
                  <a:cubicBezTo>
                    <a:pt x="111390" y="64067"/>
                    <a:pt x="112466" y="61525"/>
                    <a:pt x="114080" y="56949"/>
                  </a:cubicBezTo>
                  <a:cubicBezTo>
                    <a:pt x="114080" y="56440"/>
                    <a:pt x="114080" y="55932"/>
                    <a:pt x="114618" y="55423"/>
                  </a:cubicBezTo>
                  <a:cubicBezTo>
                    <a:pt x="114618" y="54406"/>
                    <a:pt x="116233" y="53389"/>
                    <a:pt x="118385" y="51864"/>
                  </a:cubicBezTo>
                  <a:cubicBezTo>
                    <a:pt x="118385" y="51864"/>
                    <a:pt x="118923" y="51864"/>
                    <a:pt x="118923" y="51355"/>
                  </a:cubicBezTo>
                  <a:cubicBezTo>
                    <a:pt x="119461" y="50847"/>
                    <a:pt x="119999" y="46779"/>
                    <a:pt x="119999" y="44745"/>
                  </a:cubicBezTo>
                  <a:cubicBezTo>
                    <a:pt x="119461" y="44745"/>
                    <a:pt x="117309" y="44237"/>
                    <a:pt x="116233" y="44237"/>
                  </a:cubicBezTo>
                  <a:cubicBezTo>
                    <a:pt x="114618" y="44237"/>
                    <a:pt x="113542" y="44237"/>
                    <a:pt x="113004" y="43728"/>
                  </a:cubicBezTo>
                  <a:cubicBezTo>
                    <a:pt x="110852" y="43220"/>
                    <a:pt x="109237" y="38135"/>
                    <a:pt x="108699" y="37627"/>
                  </a:cubicBezTo>
                  <a:cubicBezTo>
                    <a:pt x="108161" y="35593"/>
                    <a:pt x="108699" y="32033"/>
                    <a:pt x="109237" y="31525"/>
                  </a:cubicBezTo>
                  <a:cubicBezTo>
                    <a:pt x="109237" y="28474"/>
                    <a:pt x="109775" y="22372"/>
                    <a:pt x="109775" y="20847"/>
                  </a:cubicBezTo>
                  <a:cubicBezTo>
                    <a:pt x="109775" y="20338"/>
                    <a:pt x="107623" y="18813"/>
                    <a:pt x="106547" y="18305"/>
                  </a:cubicBezTo>
                  <a:cubicBezTo>
                    <a:pt x="106547" y="18305"/>
                    <a:pt x="106547" y="18305"/>
                    <a:pt x="106547" y="18305"/>
                  </a:cubicBezTo>
                  <a:cubicBezTo>
                    <a:pt x="104932" y="17796"/>
                    <a:pt x="104394" y="14237"/>
                    <a:pt x="104394" y="11186"/>
                  </a:cubicBezTo>
                  <a:cubicBezTo>
                    <a:pt x="102780" y="11186"/>
                    <a:pt x="101165" y="11186"/>
                    <a:pt x="99551" y="10677"/>
                  </a:cubicBezTo>
                  <a:cubicBezTo>
                    <a:pt x="96322" y="9152"/>
                    <a:pt x="93094" y="7627"/>
                    <a:pt x="93094" y="5084"/>
                  </a:cubicBezTo>
                  <a:cubicBezTo>
                    <a:pt x="93094" y="4576"/>
                    <a:pt x="93094" y="4067"/>
                    <a:pt x="93094" y="3559"/>
                  </a:cubicBezTo>
                  <a:cubicBezTo>
                    <a:pt x="93094" y="2033"/>
                    <a:pt x="93632" y="1525"/>
                    <a:pt x="92556" y="1016"/>
                  </a:cubicBezTo>
                  <a:cubicBezTo>
                    <a:pt x="92556" y="1016"/>
                    <a:pt x="91479" y="508"/>
                    <a:pt x="91479" y="0"/>
                  </a:cubicBezTo>
                  <a:cubicBezTo>
                    <a:pt x="91479" y="508"/>
                    <a:pt x="90941" y="508"/>
                    <a:pt x="90941" y="508"/>
                  </a:cubicBezTo>
                  <a:cubicBezTo>
                    <a:pt x="90941" y="1525"/>
                    <a:pt x="90941" y="1525"/>
                    <a:pt x="90941" y="1525"/>
                  </a:cubicBezTo>
                  <a:cubicBezTo>
                    <a:pt x="90941" y="4067"/>
                    <a:pt x="90403" y="6610"/>
                    <a:pt x="88789" y="7627"/>
                  </a:cubicBezTo>
                  <a:cubicBezTo>
                    <a:pt x="88789" y="7627"/>
                    <a:pt x="88251" y="8135"/>
                    <a:pt x="87713" y="8135"/>
                  </a:cubicBezTo>
                  <a:cubicBezTo>
                    <a:pt x="87174" y="9152"/>
                    <a:pt x="85560" y="10169"/>
                    <a:pt x="83408" y="9152"/>
                  </a:cubicBezTo>
                  <a:cubicBezTo>
                    <a:pt x="82869" y="8644"/>
                    <a:pt x="82331" y="8135"/>
                    <a:pt x="81793" y="7627"/>
                  </a:cubicBezTo>
                  <a:cubicBezTo>
                    <a:pt x="81255" y="7118"/>
                    <a:pt x="80179" y="6101"/>
                    <a:pt x="80179" y="6610"/>
                  </a:cubicBezTo>
                  <a:cubicBezTo>
                    <a:pt x="79103" y="7118"/>
                    <a:pt x="75874" y="8644"/>
                    <a:pt x="74260" y="7118"/>
                  </a:cubicBezTo>
                  <a:cubicBezTo>
                    <a:pt x="74260" y="6610"/>
                    <a:pt x="73721" y="6610"/>
                    <a:pt x="73721" y="6101"/>
                  </a:cubicBezTo>
                  <a:cubicBezTo>
                    <a:pt x="73183" y="5593"/>
                    <a:pt x="72107" y="3559"/>
                    <a:pt x="71031" y="4067"/>
                  </a:cubicBezTo>
                  <a:cubicBezTo>
                    <a:pt x="68878" y="4576"/>
                    <a:pt x="65650" y="7627"/>
                    <a:pt x="65650" y="8135"/>
                  </a:cubicBezTo>
                  <a:cubicBezTo>
                    <a:pt x="65650" y="8644"/>
                    <a:pt x="65112" y="9661"/>
                    <a:pt x="65112" y="10169"/>
                  </a:cubicBezTo>
                  <a:cubicBezTo>
                    <a:pt x="65112" y="11186"/>
                    <a:pt x="64573" y="14237"/>
                    <a:pt x="65112" y="14745"/>
                  </a:cubicBezTo>
                  <a:cubicBezTo>
                    <a:pt x="66726" y="15254"/>
                    <a:pt x="68878" y="15254"/>
                    <a:pt x="69417" y="14745"/>
                  </a:cubicBezTo>
                  <a:cubicBezTo>
                    <a:pt x="69417" y="14745"/>
                    <a:pt x="73721" y="11694"/>
                    <a:pt x="75336" y="12711"/>
                  </a:cubicBezTo>
                  <a:cubicBezTo>
                    <a:pt x="75874" y="13220"/>
                    <a:pt x="76412" y="13728"/>
                    <a:pt x="75874" y="14745"/>
                  </a:cubicBezTo>
                  <a:cubicBezTo>
                    <a:pt x="75874" y="15254"/>
                    <a:pt x="75874" y="15254"/>
                    <a:pt x="75874" y="15762"/>
                  </a:cubicBezTo>
                  <a:cubicBezTo>
                    <a:pt x="75874" y="17796"/>
                    <a:pt x="75874" y="19830"/>
                    <a:pt x="74798" y="21355"/>
                  </a:cubicBezTo>
                  <a:cubicBezTo>
                    <a:pt x="74260" y="21864"/>
                    <a:pt x="73721" y="22881"/>
                    <a:pt x="73183" y="23389"/>
                  </a:cubicBezTo>
                  <a:cubicBezTo>
                    <a:pt x="72107" y="25932"/>
                    <a:pt x="71569" y="27457"/>
                    <a:pt x="70493" y="27966"/>
                  </a:cubicBezTo>
                  <a:cubicBezTo>
                    <a:pt x="69955" y="27966"/>
                    <a:pt x="69417" y="28474"/>
                    <a:pt x="68878" y="28983"/>
                  </a:cubicBezTo>
                  <a:cubicBezTo>
                    <a:pt x="67802" y="30000"/>
                    <a:pt x="65650" y="32033"/>
                    <a:pt x="63497" y="32033"/>
                  </a:cubicBezTo>
                  <a:cubicBezTo>
                    <a:pt x="62421" y="32033"/>
                    <a:pt x="61345" y="32033"/>
                    <a:pt x="60269" y="32033"/>
                  </a:cubicBezTo>
                  <a:cubicBezTo>
                    <a:pt x="58654" y="32033"/>
                    <a:pt x="55426" y="31525"/>
                    <a:pt x="55426" y="32033"/>
                  </a:cubicBezTo>
                  <a:cubicBezTo>
                    <a:pt x="54887" y="32542"/>
                    <a:pt x="54887" y="32542"/>
                    <a:pt x="54349" y="33050"/>
                  </a:cubicBezTo>
                  <a:cubicBezTo>
                    <a:pt x="50044" y="38135"/>
                    <a:pt x="47892" y="40169"/>
                    <a:pt x="46816" y="39661"/>
                  </a:cubicBezTo>
                  <a:cubicBezTo>
                    <a:pt x="45739" y="39661"/>
                    <a:pt x="45201" y="39661"/>
                    <a:pt x="44663" y="39152"/>
                  </a:cubicBezTo>
                  <a:cubicBezTo>
                    <a:pt x="43587" y="38644"/>
                    <a:pt x="43049" y="38644"/>
                    <a:pt x="42511" y="38644"/>
                  </a:cubicBezTo>
                  <a:cubicBezTo>
                    <a:pt x="42511" y="39152"/>
                    <a:pt x="42511" y="39152"/>
                    <a:pt x="42511" y="39152"/>
                  </a:cubicBezTo>
                  <a:cubicBezTo>
                    <a:pt x="41434" y="40169"/>
                    <a:pt x="40358" y="41186"/>
                    <a:pt x="39282" y="41186"/>
                  </a:cubicBezTo>
                  <a:cubicBezTo>
                    <a:pt x="38744" y="41186"/>
                    <a:pt x="38206" y="40677"/>
                    <a:pt x="37668" y="40677"/>
                  </a:cubicBezTo>
                  <a:cubicBezTo>
                    <a:pt x="36053" y="39661"/>
                    <a:pt x="32286" y="38135"/>
                    <a:pt x="31748" y="35593"/>
                  </a:cubicBezTo>
                  <a:cubicBezTo>
                    <a:pt x="31748" y="35084"/>
                    <a:pt x="31210" y="34067"/>
                    <a:pt x="31210" y="33050"/>
                  </a:cubicBezTo>
                  <a:cubicBezTo>
                    <a:pt x="30672" y="31016"/>
                    <a:pt x="29596" y="26440"/>
                    <a:pt x="29058" y="25423"/>
                  </a:cubicBezTo>
                  <a:cubicBezTo>
                    <a:pt x="27443" y="25423"/>
                    <a:pt x="25291" y="24406"/>
                    <a:pt x="23677" y="23389"/>
                  </a:cubicBezTo>
                  <a:cubicBezTo>
                    <a:pt x="21524" y="21864"/>
                    <a:pt x="21524" y="17796"/>
                    <a:pt x="21524" y="16779"/>
                  </a:cubicBezTo>
                  <a:cubicBezTo>
                    <a:pt x="21524" y="16271"/>
                    <a:pt x="21524" y="16271"/>
                    <a:pt x="21524" y="15762"/>
                  </a:cubicBezTo>
                  <a:cubicBezTo>
                    <a:pt x="21524" y="13220"/>
                    <a:pt x="21524" y="11694"/>
                    <a:pt x="20986" y="11186"/>
                  </a:cubicBezTo>
                  <a:cubicBezTo>
                    <a:pt x="20448" y="11186"/>
                    <a:pt x="20448" y="11186"/>
                    <a:pt x="20448" y="11186"/>
                  </a:cubicBezTo>
                  <a:cubicBezTo>
                    <a:pt x="19372" y="10677"/>
                    <a:pt x="18295" y="10169"/>
                    <a:pt x="17757" y="10169"/>
                  </a:cubicBezTo>
                  <a:cubicBezTo>
                    <a:pt x="17757" y="10169"/>
                    <a:pt x="17757" y="10169"/>
                    <a:pt x="17757" y="10677"/>
                  </a:cubicBezTo>
                  <a:cubicBezTo>
                    <a:pt x="17757" y="12203"/>
                    <a:pt x="16681" y="15762"/>
                    <a:pt x="15067" y="16779"/>
                  </a:cubicBezTo>
                  <a:cubicBezTo>
                    <a:pt x="14529" y="17288"/>
                    <a:pt x="13452" y="17288"/>
                    <a:pt x="9147" y="17288"/>
                  </a:cubicBezTo>
                  <a:cubicBezTo>
                    <a:pt x="8071" y="17288"/>
                    <a:pt x="4843" y="16271"/>
                    <a:pt x="3766" y="15762"/>
                  </a:cubicBezTo>
                  <a:cubicBezTo>
                    <a:pt x="2690" y="15254"/>
                    <a:pt x="2690" y="15254"/>
                    <a:pt x="2690" y="15254"/>
                  </a:cubicBezTo>
                  <a:cubicBezTo>
                    <a:pt x="0" y="17796"/>
                    <a:pt x="0" y="17796"/>
                    <a:pt x="0" y="17796"/>
                  </a:cubicBezTo>
                  <a:cubicBezTo>
                    <a:pt x="1614" y="18305"/>
                    <a:pt x="2690" y="18813"/>
                    <a:pt x="3228" y="20338"/>
                  </a:cubicBezTo>
                  <a:cubicBezTo>
                    <a:pt x="3228" y="20338"/>
                    <a:pt x="3228" y="20847"/>
                    <a:pt x="3228" y="20847"/>
                  </a:cubicBezTo>
                  <a:cubicBezTo>
                    <a:pt x="3228" y="21864"/>
                    <a:pt x="3766" y="23389"/>
                    <a:pt x="4304" y="23389"/>
                  </a:cubicBezTo>
                  <a:cubicBezTo>
                    <a:pt x="4843" y="23389"/>
                    <a:pt x="5381" y="23389"/>
                    <a:pt x="6457" y="22881"/>
                  </a:cubicBezTo>
                  <a:cubicBezTo>
                    <a:pt x="8071" y="22881"/>
                    <a:pt x="10762" y="22372"/>
                    <a:pt x="11838" y="23898"/>
                  </a:cubicBezTo>
                  <a:cubicBezTo>
                    <a:pt x="11838" y="24406"/>
                    <a:pt x="12376" y="25423"/>
                    <a:pt x="12914" y="25932"/>
                  </a:cubicBezTo>
                  <a:cubicBezTo>
                    <a:pt x="13452" y="27457"/>
                    <a:pt x="14529" y="28983"/>
                    <a:pt x="15067" y="29491"/>
                  </a:cubicBezTo>
                  <a:cubicBezTo>
                    <a:pt x="15605" y="29491"/>
                    <a:pt x="16143" y="29491"/>
                    <a:pt x="16143" y="29491"/>
                  </a:cubicBezTo>
                  <a:cubicBezTo>
                    <a:pt x="19372" y="28983"/>
                    <a:pt x="21524" y="28474"/>
                    <a:pt x="22600" y="28983"/>
                  </a:cubicBezTo>
                  <a:cubicBezTo>
                    <a:pt x="23139" y="29491"/>
                    <a:pt x="23139" y="29491"/>
                    <a:pt x="23677" y="29491"/>
                  </a:cubicBezTo>
                  <a:cubicBezTo>
                    <a:pt x="24753" y="29491"/>
                    <a:pt x="26367" y="30000"/>
                    <a:pt x="26367" y="31525"/>
                  </a:cubicBezTo>
                  <a:cubicBezTo>
                    <a:pt x="26905" y="32033"/>
                    <a:pt x="26905" y="32542"/>
                    <a:pt x="26905" y="32542"/>
                  </a:cubicBezTo>
                  <a:cubicBezTo>
                    <a:pt x="26905" y="34067"/>
                    <a:pt x="26905" y="34576"/>
                    <a:pt x="27443" y="35084"/>
                  </a:cubicBezTo>
                  <a:cubicBezTo>
                    <a:pt x="30134" y="37118"/>
                    <a:pt x="31210" y="38135"/>
                    <a:pt x="31210" y="39152"/>
                  </a:cubicBezTo>
                  <a:cubicBezTo>
                    <a:pt x="31210" y="39661"/>
                    <a:pt x="31210" y="41186"/>
                    <a:pt x="32286" y="43220"/>
                  </a:cubicBezTo>
                  <a:cubicBezTo>
                    <a:pt x="32286" y="43728"/>
                    <a:pt x="33363" y="44745"/>
                    <a:pt x="34439" y="45254"/>
                  </a:cubicBezTo>
                  <a:cubicBezTo>
                    <a:pt x="35515" y="46779"/>
                    <a:pt x="36053" y="47796"/>
                    <a:pt x="36591" y="48305"/>
                  </a:cubicBezTo>
                  <a:cubicBezTo>
                    <a:pt x="36591" y="48813"/>
                    <a:pt x="37130" y="49322"/>
                    <a:pt x="37130" y="49830"/>
                  </a:cubicBezTo>
                  <a:cubicBezTo>
                    <a:pt x="38744" y="51864"/>
                    <a:pt x="40358" y="54406"/>
                    <a:pt x="39282" y="55932"/>
                  </a:cubicBezTo>
                  <a:cubicBezTo>
                    <a:pt x="38744" y="55932"/>
                    <a:pt x="38206" y="56440"/>
                    <a:pt x="38206" y="56949"/>
                  </a:cubicBezTo>
                  <a:cubicBezTo>
                    <a:pt x="37130" y="57966"/>
                    <a:pt x="36591" y="58474"/>
                    <a:pt x="36591" y="58983"/>
                  </a:cubicBezTo>
                  <a:cubicBezTo>
                    <a:pt x="37130" y="59491"/>
                    <a:pt x="37130" y="60000"/>
                    <a:pt x="37130" y="60508"/>
                  </a:cubicBezTo>
                  <a:cubicBezTo>
                    <a:pt x="37668" y="62033"/>
                    <a:pt x="37668" y="64576"/>
                    <a:pt x="39820" y="65593"/>
                  </a:cubicBezTo>
                  <a:cubicBezTo>
                    <a:pt x="42511" y="67627"/>
                    <a:pt x="46278" y="70169"/>
                    <a:pt x="46278" y="71694"/>
                  </a:cubicBezTo>
                  <a:cubicBezTo>
                    <a:pt x="46278" y="72203"/>
                    <a:pt x="45739" y="72711"/>
                    <a:pt x="45739" y="72711"/>
                  </a:cubicBezTo>
                  <a:cubicBezTo>
                    <a:pt x="45739" y="73728"/>
                    <a:pt x="45739" y="75762"/>
                    <a:pt x="46278" y="76271"/>
                  </a:cubicBezTo>
                  <a:cubicBezTo>
                    <a:pt x="46816" y="76271"/>
                    <a:pt x="50582" y="78813"/>
                    <a:pt x="50582" y="80847"/>
                  </a:cubicBezTo>
                  <a:cubicBezTo>
                    <a:pt x="50582" y="81355"/>
                    <a:pt x="50582" y="81864"/>
                    <a:pt x="50582" y="81864"/>
                  </a:cubicBezTo>
                  <a:cubicBezTo>
                    <a:pt x="50044" y="83898"/>
                    <a:pt x="50044" y="84915"/>
                    <a:pt x="51121" y="85932"/>
                  </a:cubicBezTo>
                  <a:cubicBezTo>
                    <a:pt x="54887" y="87457"/>
                    <a:pt x="54887" y="89491"/>
                    <a:pt x="54887" y="91016"/>
                  </a:cubicBezTo>
                  <a:cubicBezTo>
                    <a:pt x="54887" y="92033"/>
                    <a:pt x="54887" y="93050"/>
                    <a:pt x="54349" y="94067"/>
                  </a:cubicBezTo>
                  <a:cubicBezTo>
                    <a:pt x="54349" y="95593"/>
                    <a:pt x="53811" y="97627"/>
                    <a:pt x="54349" y="98135"/>
                  </a:cubicBezTo>
                  <a:cubicBezTo>
                    <a:pt x="54349" y="98135"/>
                    <a:pt x="54887" y="98644"/>
                    <a:pt x="55426" y="98644"/>
                  </a:cubicBezTo>
                  <a:cubicBezTo>
                    <a:pt x="57040" y="99661"/>
                    <a:pt x="59730" y="101186"/>
                    <a:pt x="60269" y="102711"/>
                  </a:cubicBezTo>
                  <a:cubicBezTo>
                    <a:pt x="60807" y="104237"/>
                    <a:pt x="61345" y="104237"/>
                    <a:pt x="61883" y="104745"/>
                  </a:cubicBezTo>
                  <a:cubicBezTo>
                    <a:pt x="62421" y="104745"/>
                    <a:pt x="62421" y="105254"/>
                    <a:pt x="62959" y="105254"/>
                  </a:cubicBezTo>
                  <a:cubicBezTo>
                    <a:pt x="64573" y="105762"/>
                    <a:pt x="66188" y="106271"/>
                    <a:pt x="66726" y="107288"/>
                  </a:cubicBezTo>
                  <a:cubicBezTo>
                    <a:pt x="67264" y="108305"/>
                    <a:pt x="68340" y="111864"/>
                    <a:pt x="68340" y="112881"/>
                  </a:cubicBezTo>
                  <a:cubicBezTo>
                    <a:pt x="68340" y="113898"/>
                    <a:pt x="67802" y="117966"/>
                    <a:pt x="67802" y="118983"/>
                  </a:cubicBezTo>
                  <a:cubicBezTo>
                    <a:pt x="68878" y="118983"/>
                    <a:pt x="69417" y="119491"/>
                    <a:pt x="70493" y="119491"/>
                  </a:cubicBezTo>
                  <a:cubicBezTo>
                    <a:pt x="72645" y="120000"/>
                    <a:pt x="75874" y="117966"/>
                    <a:pt x="76412" y="117457"/>
                  </a:cubicBezTo>
                  <a:cubicBezTo>
                    <a:pt x="77488" y="117457"/>
                    <a:pt x="82869" y="116440"/>
                    <a:pt x="86098" y="116949"/>
                  </a:cubicBezTo>
                  <a:cubicBezTo>
                    <a:pt x="88789" y="116949"/>
                    <a:pt x="91479" y="112881"/>
                    <a:pt x="92017" y="111355"/>
                  </a:cubicBezTo>
                  <a:cubicBezTo>
                    <a:pt x="93094" y="109830"/>
                    <a:pt x="94708" y="109322"/>
                    <a:pt x="96322" y="108305"/>
                  </a:cubicBezTo>
                  <a:cubicBezTo>
                    <a:pt x="97937" y="107288"/>
                    <a:pt x="97937" y="105762"/>
                    <a:pt x="97937" y="104237"/>
                  </a:cubicBezTo>
                  <a:cubicBezTo>
                    <a:pt x="97399" y="104237"/>
                    <a:pt x="97399" y="104237"/>
                    <a:pt x="97399" y="103728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3" name="Shape 6997">
              <a:extLst>
                <a:ext uri="{FF2B5EF4-FFF2-40B4-BE49-F238E27FC236}">
                  <a16:creationId xmlns:a16="http://schemas.microsoft.com/office/drawing/2014/main" id="{D9AFB8A7-8C17-410E-917F-67672A42F32D}"/>
                </a:ext>
              </a:extLst>
            </p:cNvPr>
            <p:cNvSpPr/>
            <p:nvPr/>
          </p:nvSpPr>
          <p:spPr>
            <a:xfrm>
              <a:off x="1163640" y="4491745"/>
              <a:ext cx="231532" cy="40219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3000" y="68651"/>
                  </a:moveTo>
                  <a:cubicBezTo>
                    <a:pt x="113000" y="66976"/>
                    <a:pt x="115000" y="63069"/>
                    <a:pt x="117000" y="61953"/>
                  </a:cubicBezTo>
                  <a:cubicBezTo>
                    <a:pt x="118000" y="60279"/>
                    <a:pt x="110000" y="54697"/>
                    <a:pt x="106000" y="53581"/>
                  </a:cubicBezTo>
                  <a:cubicBezTo>
                    <a:pt x="103000" y="52465"/>
                    <a:pt x="96000" y="49674"/>
                    <a:pt x="90000" y="46883"/>
                  </a:cubicBezTo>
                  <a:cubicBezTo>
                    <a:pt x="84000" y="44093"/>
                    <a:pt x="92000" y="41860"/>
                    <a:pt x="95000" y="40186"/>
                  </a:cubicBezTo>
                  <a:cubicBezTo>
                    <a:pt x="97000" y="38511"/>
                    <a:pt x="99000" y="34046"/>
                    <a:pt x="99000" y="31813"/>
                  </a:cubicBezTo>
                  <a:cubicBezTo>
                    <a:pt x="100000" y="29023"/>
                    <a:pt x="95000" y="27906"/>
                    <a:pt x="92000" y="26232"/>
                  </a:cubicBezTo>
                  <a:cubicBezTo>
                    <a:pt x="90000" y="24558"/>
                    <a:pt x="84000" y="19534"/>
                    <a:pt x="84000" y="17302"/>
                  </a:cubicBezTo>
                  <a:cubicBezTo>
                    <a:pt x="84000" y="15627"/>
                    <a:pt x="89000" y="13953"/>
                    <a:pt x="91000" y="13395"/>
                  </a:cubicBezTo>
                  <a:cubicBezTo>
                    <a:pt x="92000" y="13395"/>
                    <a:pt x="92000" y="12837"/>
                    <a:pt x="93000" y="12837"/>
                  </a:cubicBezTo>
                  <a:cubicBezTo>
                    <a:pt x="93000" y="12279"/>
                    <a:pt x="93000" y="12279"/>
                    <a:pt x="93000" y="12279"/>
                  </a:cubicBezTo>
                  <a:cubicBezTo>
                    <a:pt x="92000" y="9488"/>
                    <a:pt x="90000" y="5581"/>
                    <a:pt x="89000" y="4465"/>
                  </a:cubicBezTo>
                  <a:cubicBezTo>
                    <a:pt x="88000" y="3906"/>
                    <a:pt x="87000" y="3348"/>
                    <a:pt x="86000" y="2790"/>
                  </a:cubicBezTo>
                  <a:cubicBezTo>
                    <a:pt x="85000" y="2232"/>
                    <a:pt x="83000" y="1116"/>
                    <a:pt x="83000" y="558"/>
                  </a:cubicBezTo>
                  <a:cubicBezTo>
                    <a:pt x="82000" y="1116"/>
                    <a:pt x="82000" y="1116"/>
                    <a:pt x="82000" y="1116"/>
                  </a:cubicBezTo>
                  <a:cubicBezTo>
                    <a:pt x="79000" y="2790"/>
                    <a:pt x="75000" y="5023"/>
                    <a:pt x="72000" y="5023"/>
                  </a:cubicBezTo>
                  <a:cubicBezTo>
                    <a:pt x="71000" y="5023"/>
                    <a:pt x="71000" y="5023"/>
                    <a:pt x="71000" y="5023"/>
                  </a:cubicBezTo>
                  <a:cubicBezTo>
                    <a:pt x="64000" y="5023"/>
                    <a:pt x="57000" y="5023"/>
                    <a:pt x="56000" y="2790"/>
                  </a:cubicBezTo>
                  <a:cubicBezTo>
                    <a:pt x="53000" y="558"/>
                    <a:pt x="52000" y="0"/>
                    <a:pt x="52000" y="0"/>
                  </a:cubicBezTo>
                  <a:cubicBezTo>
                    <a:pt x="51000" y="558"/>
                    <a:pt x="49000" y="558"/>
                    <a:pt x="46000" y="558"/>
                  </a:cubicBezTo>
                  <a:cubicBezTo>
                    <a:pt x="44000" y="558"/>
                    <a:pt x="38000" y="0"/>
                    <a:pt x="38000" y="558"/>
                  </a:cubicBezTo>
                  <a:cubicBezTo>
                    <a:pt x="37000" y="2232"/>
                    <a:pt x="33000" y="6697"/>
                    <a:pt x="32000" y="7813"/>
                  </a:cubicBezTo>
                  <a:cubicBezTo>
                    <a:pt x="32000" y="11162"/>
                    <a:pt x="33000" y="14511"/>
                    <a:pt x="34000" y="15069"/>
                  </a:cubicBezTo>
                  <a:cubicBezTo>
                    <a:pt x="34000" y="15069"/>
                    <a:pt x="34000" y="15069"/>
                    <a:pt x="34000" y="15069"/>
                  </a:cubicBezTo>
                  <a:cubicBezTo>
                    <a:pt x="37000" y="16186"/>
                    <a:pt x="42000" y="17302"/>
                    <a:pt x="42000" y="19534"/>
                  </a:cubicBezTo>
                  <a:cubicBezTo>
                    <a:pt x="42000" y="21209"/>
                    <a:pt x="41000" y="30697"/>
                    <a:pt x="40000" y="31255"/>
                  </a:cubicBezTo>
                  <a:cubicBezTo>
                    <a:pt x="40000" y="32930"/>
                    <a:pt x="39000" y="36279"/>
                    <a:pt x="40000" y="36837"/>
                  </a:cubicBezTo>
                  <a:cubicBezTo>
                    <a:pt x="41000" y="39627"/>
                    <a:pt x="44000" y="42418"/>
                    <a:pt x="45000" y="42976"/>
                  </a:cubicBezTo>
                  <a:cubicBezTo>
                    <a:pt x="46000" y="42976"/>
                    <a:pt x="48000" y="42976"/>
                    <a:pt x="50000" y="42976"/>
                  </a:cubicBezTo>
                  <a:cubicBezTo>
                    <a:pt x="57000" y="43534"/>
                    <a:pt x="62000" y="43534"/>
                    <a:pt x="62000" y="45209"/>
                  </a:cubicBezTo>
                  <a:cubicBezTo>
                    <a:pt x="62000" y="45767"/>
                    <a:pt x="61000" y="53581"/>
                    <a:pt x="58000" y="55255"/>
                  </a:cubicBezTo>
                  <a:cubicBezTo>
                    <a:pt x="57000" y="55255"/>
                    <a:pt x="57000" y="55255"/>
                    <a:pt x="56000" y="55813"/>
                  </a:cubicBezTo>
                  <a:cubicBezTo>
                    <a:pt x="55000" y="56372"/>
                    <a:pt x="51000" y="57488"/>
                    <a:pt x="50000" y="58046"/>
                  </a:cubicBezTo>
                  <a:cubicBezTo>
                    <a:pt x="50000" y="58604"/>
                    <a:pt x="50000" y="59162"/>
                    <a:pt x="50000" y="59720"/>
                  </a:cubicBezTo>
                  <a:cubicBezTo>
                    <a:pt x="49000" y="61395"/>
                    <a:pt x="46000" y="65302"/>
                    <a:pt x="47000" y="66418"/>
                  </a:cubicBezTo>
                  <a:cubicBezTo>
                    <a:pt x="48000" y="66976"/>
                    <a:pt x="53000" y="69767"/>
                    <a:pt x="52000" y="71441"/>
                  </a:cubicBezTo>
                  <a:cubicBezTo>
                    <a:pt x="52000" y="72000"/>
                    <a:pt x="52000" y="72000"/>
                    <a:pt x="52000" y="72000"/>
                  </a:cubicBezTo>
                  <a:cubicBezTo>
                    <a:pt x="51000" y="73674"/>
                    <a:pt x="50000" y="77023"/>
                    <a:pt x="46000" y="77023"/>
                  </a:cubicBezTo>
                  <a:cubicBezTo>
                    <a:pt x="45000" y="77023"/>
                    <a:pt x="44000" y="77023"/>
                    <a:pt x="42000" y="77023"/>
                  </a:cubicBezTo>
                  <a:cubicBezTo>
                    <a:pt x="41000" y="77023"/>
                    <a:pt x="36000" y="76465"/>
                    <a:pt x="35000" y="76465"/>
                  </a:cubicBezTo>
                  <a:cubicBezTo>
                    <a:pt x="35000" y="79255"/>
                    <a:pt x="35000" y="83162"/>
                    <a:pt x="31000" y="83162"/>
                  </a:cubicBezTo>
                  <a:cubicBezTo>
                    <a:pt x="28000" y="83162"/>
                    <a:pt x="27000" y="82046"/>
                    <a:pt x="25000" y="80930"/>
                  </a:cubicBezTo>
                  <a:cubicBezTo>
                    <a:pt x="24000" y="80372"/>
                    <a:pt x="23000" y="79255"/>
                    <a:pt x="23000" y="79255"/>
                  </a:cubicBezTo>
                  <a:cubicBezTo>
                    <a:pt x="19000" y="78139"/>
                    <a:pt x="17000" y="78139"/>
                    <a:pt x="16000" y="78697"/>
                  </a:cubicBezTo>
                  <a:cubicBezTo>
                    <a:pt x="15000" y="78697"/>
                    <a:pt x="14000" y="79813"/>
                    <a:pt x="14000" y="79813"/>
                  </a:cubicBezTo>
                  <a:cubicBezTo>
                    <a:pt x="15000" y="79813"/>
                    <a:pt x="15000" y="80372"/>
                    <a:pt x="16000" y="80372"/>
                  </a:cubicBezTo>
                  <a:cubicBezTo>
                    <a:pt x="17000" y="81488"/>
                    <a:pt x="20000" y="82604"/>
                    <a:pt x="19000" y="84279"/>
                  </a:cubicBezTo>
                  <a:cubicBezTo>
                    <a:pt x="19000" y="84837"/>
                    <a:pt x="19000" y="85395"/>
                    <a:pt x="18000" y="85953"/>
                  </a:cubicBezTo>
                  <a:cubicBezTo>
                    <a:pt x="18000" y="86511"/>
                    <a:pt x="17000" y="87627"/>
                    <a:pt x="17000" y="87627"/>
                  </a:cubicBezTo>
                  <a:cubicBezTo>
                    <a:pt x="20000" y="88744"/>
                    <a:pt x="23000" y="90418"/>
                    <a:pt x="23000" y="92093"/>
                  </a:cubicBezTo>
                  <a:cubicBezTo>
                    <a:pt x="23000" y="93209"/>
                    <a:pt x="21000" y="95441"/>
                    <a:pt x="19000" y="97116"/>
                  </a:cubicBezTo>
                  <a:cubicBezTo>
                    <a:pt x="18000" y="97116"/>
                    <a:pt x="17000" y="97674"/>
                    <a:pt x="14000" y="98232"/>
                  </a:cubicBezTo>
                  <a:cubicBezTo>
                    <a:pt x="11000" y="99348"/>
                    <a:pt x="2000" y="102697"/>
                    <a:pt x="0" y="103813"/>
                  </a:cubicBezTo>
                  <a:cubicBezTo>
                    <a:pt x="0" y="104372"/>
                    <a:pt x="1000" y="105488"/>
                    <a:pt x="3000" y="105488"/>
                  </a:cubicBezTo>
                  <a:cubicBezTo>
                    <a:pt x="3000" y="105488"/>
                    <a:pt x="4000" y="105488"/>
                    <a:pt x="4000" y="105488"/>
                  </a:cubicBezTo>
                  <a:cubicBezTo>
                    <a:pt x="8000" y="106046"/>
                    <a:pt x="16000" y="106046"/>
                    <a:pt x="18000" y="109953"/>
                  </a:cubicBezTo>
                  <a:cubicBezTo>
                    <a:pt x="18000" y="109953"/>
                    <a:pt x="18000" y="109953"/>
                    <a:pt x="18000" y="109953"/>
                  </a:cubicBezTo>
                  <a:cubicBezTo>
                    <a:pt x="24000" y="110511"/>
                    <a:pt x="37000" y="112744"/>
                    <a:pt x="40000" y="114418"/>
                  </a:cubicBezTo>
                  <a:cubicBezTo>
                    <a:pt x="43000" y="115534"/>
                    <a:pt x="44000" y="116093"/>
                    <a:pt x="46000" y="118325"/>
                  </a:cubicBezTo>
                  <a:cubicBezTo>
                    <a:pt x="49000" y="120000"/>
                    <a:pt x="80000" y="117767"/>
                    <a:pt x="85000" y="117767"/>
                  </a:cubicBezTo>
                  <a:cubicBezTo>
                    <a:pt x="90000" y="117767"/>
                    <a:pt x="100000" y="117209"/>
                    <a:pt x="103000" y="114976"/>
                  </a:cubicBezTo>
                  <a:cubicBezTo>
                    <a:pt x="107000" y="112744"/>
                    <a:pt x="107000" y="112186"/>
                    <a:pt x="103000" y="110511"/>
                  </a:cubicBezTo>
                  <a:cubicBezTo>
                    <a:pt x="100000" y="108279"/>
                    <a:pt x="93000" y="99348"/>
                    <a:pt x="92000" y="96558"/>
                  </a:cubicBezTo>
                  <a:cubicBezTo>
                    <a:pt x="92000" y="93209"/>
                    <a:pt x="97000" y="94325"/>
                    <a:pt x="100000" y="94325"/>
                  </a:cubicBezTo>
                  <a:cubicBezTo>
                    <a:pt x="103000" y="94325"/>
                    <a:pt x="106000" y="96000"/>
                    <a:pt x="109000" y="98232"/>
                  </a:cubicBezTo>
                  <a:cubicBezTo>
                    <a:pt x="111000" y="100465"/>
                    <a:pt x="114000" y="97674"/>
                    <a:pt x="117000" y="96000"/>
                  </a:cubicBezTo>
                  <a:cubicBezTo>
                    <a:pt x="120000" y="93767"/>
                    <a:pt x="117000" y="86511"/>
                    <a:pt x="117000" y="84837"/>
                  </a:cubicBezTo>
                  <a:cubicBezTo>
                    <a:pt x="117000" y="82604"/>
                    <a:pt x="113000" y="70325"/>
                    <a:pt x="113000" y="68651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4" name="Shape 6998">
              <a:extLst>
                <a:ext uri="{FF2B5EF4-FFF2-40B4-BE49-F238E27FC236}">
                  <a16:creationId xmlns:a16="http://schemas.microsoft.com/office/drawing/2014/main" id="{8B47F633-378F-4D35-AB6E-3E41E6889599}"/>
                </a:ext>
              </a:extLst>
            </p:cNvPr>
            <p:cNvSpPr/>
            <p:nvPr/>
          </p:nvSpPr>
          <p:spPr>
            <a:xfrm>
              <a:off x="1022790" y="4100749"/>
              <a:ext cx="480432" cy="42832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88034"/>
                  </a:moveTo>
                  <a:cubicBezTo>
                    <a:pt x="120000" y="86462"/>
                    <a:pt x="120000" y="82270"/>
                    <a:pt x="120000" y="80698"/>
                  </a:cubicBezTo>
                  <a:cubicBezTo>
                    <a:pt x="119518" y="80174"/>
                    <a:pt x="119036" y="79126"/>
                    <a:pt x="115662" y="77030"/>
                  </a:cubicBezTo>
                  <a:cubicBezTo>
                    <a:pt x="114216" y="75982"/>
                    <a:pt x="114216" y="73886"/>
                    <a:pt x="113734" y="71790"/>
                  </a:cubicBezTo>
                  <a:cubicBezTo>
                    <a:pt x="113734" y="71790"/>
                    <a:pt x="113734" y="71266"/>
                    <a:pt x="113734" y="70742"/>
                  </a:cubicBezTo>
                  <a:cubicBezTo>
                    <a:pt x="113734" y="70742"/>
                    <a:pt x="113253" y="70742"/>
                    <a:pt x="112771" y="70742"/>
                  </a:cubicBezTo>
                  <a:cubicBezTo>
                    <a:pt x="112289" y="70742"/>
                    <a:pt x="111807" y="71266"/>
                    <a:pt x="111325" y="70742"/>
                  </a:cubicBezTo>
                  <a:cubicBezTo>
                    <a:pt x="109397" y="70742"/>
                    <a:pt x="107951" y="68646"/>
                    <a:pt x="106987" y="67074"/>
                  </a:cubicBezTo>
                  <a:cubicBezTo>
                    <a:pt x="105542" y="64978"/>
                    <a:pt x="105060" y="60262"/>
                    <a:pt x="105060" y="59737"/>
                  </a:cubicBezTo>
                  <a:cubicBezTo>
                    <a:pt x="104578" y="59737"/>
                    <a:pt x="104096" y="59213"/>
                    <a:pt x="102168" y="58689"/>
                  </a:cubicBezTo>
                  <a:cubicBezTo>
                    <a:pt x="101686" y="58689"/>
                    <a:pt x="101686" y="58689"/>
                    <a:pt x="101686" y="58689"/>
                  </a:cubicBezTo>
                  <a:cubicBezTo>
                    <a:pt x="101204" y="58689"/>
                    <a:pt x="100722" y="58689"/>
                    <a:pt x="100240" y="59213"/>
                  </a:cubicBezTo>
                  <a:cubicBezTo>
                    <a:pt x="99277" y="59737"/>
                    <a:pt x="98795" y="59737"/>
                    <a:pt x="97831" y="59737"/>
                  </a:cubicBezTo>
                  <a:cubicBezTo>
                    <a:pt x="96385" y="59213"/>
                    <a:pt x="95421" y="58689"/>
                    <a:pt x="94457" y="56593"/>
                  </a:cubicBezTo>
                  <a:cubicBezTo>
                    <a:pt x="92530" y="53973"/>
                    <a:pt x="97831" y="48733"/>
                    <a:pt x="98795" y="48209"/>
                  </a:cubicBezTo>
                  <a:cubicBezTo>
                    <a:pt x="99277" y="47161"/>
                    <a:pt x="98795" y="44017"/>
                    <a:pt x="98313" y="42445"/>
                  </a:cubicBezTo>
                  <a:cubicBezTo>
                    <a:pt x="98313" y="40873"/>
                    <a:pt x="98313" y="40349"/>
                    <a:pt x="98313" y="39301"/>
                  </a:cubicBezTo>
                  <a:cubicBezTo>
                    <a:pt x="97831" y="38253"/>
                    <a:pt x="92048" y="31965"/>
                    <a:pt x="91084" y="30917"/>
                  </a:cubicBezTo>
                  <a:cubicBezTo>
                    <a:pt x="90602" y="30917"/>
                    <a:pt x="88674" y="30917"/>
                    <a:pt x="87710" y="30917"/>
                  </a:cubicBezTo>
                  <a:cubicBezTo>
                    <a:pt x="86746" y="30917"/>
                    <a:pt x="85783" y="30917"/>
                    <a:pt x="84819" y="30393"/>
                  </a:cubicBezTo>
                  <a:cubicBezTo>
                    <a:pt x="84337" y="30393"/>
                    <a:pt x="83855" y="30393"/>
                    <a:pt x="83373" y="29868"/>
                  </a:cubicBezTo>
                  <a:cubicBezTo>
                    <a:pt x="82891" y="28820"/>
                    <a:pt x="82891" y="27772"/>
                    <a:pt x="82891" y="27248"/>
                  </a:cubicBezTo>
                  <a:cubicBezTo>
                    <a:pt x="83373" y="26724"/>
                    <a:pt x="83373" y="26200"/>
                    <a:pt x="83373" y="26200"/>
                  </a:cubicBezTo>
                  <a:cubicBezTo>
                    <a:pt x="82891" y="25676"/>
                    <a:pt x="80000" y="24104"/>
                    <a:pt x="78554" y="23580"/>
                  </a:cubicBezTo>
                  <a:cubicBezTo>
                    <a:pt x="78554" y="23580"/>
                    <a:pt x="77590" y="23580"/>
                    <a:pt x="77108" y="23580"/>
                  </a:cubicBezTo>
                  <a:cubicBezTo>
                    <a:pt x="74698" y="23056"/>
                    <a:pt x="72771" y="23056"/>
                    <a:pt x="71807" y="22532"/>
                  </a:cubicBezTo>
                  <a:cubicBezTo>
                    <a:pt x="69879" y="20960"/>
                    <a:pt x="69397" y="11528"/>
                    <a:pt x="69397" y="10480"/>
                  </a:cubicBezTo>
                  <a:cubicBezTo>
                    <a:pt x="69397" y="9956"/>
                    <a:pt x="69397" y="8908"/>
                    <a:pt x="69397" y="7860"/>
                  </a:cubicBezTo>
                  <a:cubicBezTo>
                    <a:pt x="68915" y="8384"/>
                    <a:pt x="68433" y="8908"/>
                    <a:pt x="67469" y="8908"/>
                  </a:cubicBezTo>
                  <a:cubicBezTo>
                    <a:pt x="66506" y="9432"/>
                    <a:pt x="60722" y="7860"/>
                    <a:pt x="58313" y="6288"/>
                  </a:cubicBezTo>
                  <a:cubicBezTo>
                    <a:pt x="57831" y="5764"/>
                    <a:pt x="57349" y="5240"/>
                    <a:pt x="57349" y="4716"/>
                  </a:cubicBezTo>
                  <a:cubicBezTo>
                    <a:pt x="57349" y="4192"/>
                    <a:pt x="57349" y="4192"/>
                    <a:pt x="57349" y="4192"/>
                  </a:cubicBezTo>
                  <a:cubicBezTo>
                    <a:pt x="56867" y="3144"/>
                    <a:pt x="56385" y="1048"/>
                    <a:pt x="55903" y="1048"/>
                  </a:cubicBezTo>
                  <a:cubicBezTo>
                    <a:pt x="55903" y="1048"/>
                    <a:pt x="55421" y="524"/>
                    <a:pt x="54939" y="524"/>
                  </a:cubicBezTo>
                  <a:cubicBezTo>
                    <a:pt x="53975" y="524"/>
                    <a:pt x="52530" y="0"/>
                    <a:pt x="52048" y="524"/>
                  </a:cubicBezTo>
                  <a:cubicBezTo>
                    <a:pt x="51566" y="524"/>
                    <a:pt x="51566" y="1048"/>
                    <a:pt x="51084" y="1572"/>
                  </a:cubicBezTo>
                  <a:cubicBezTo>
                    <a:pt x="50120" y="2620"/>
                    <a:pt x="49156" y="3668"/>
                    <a:pt x="47228" y="4192"/>
                  </a:cubicBezTo>
                  <a:cubicBezTo>
                    <a:pt x="46265" y="4192"/>
                    <a:pt x="45301" y="4192"/>
                    <a:pt x="43855" y="4192"/>
                  </a:cubicBezTo>
                  <a:cubicBezTo>
                    <a:pt x="42409" y="4192"/>
                    <a:pt x="39518" y="3668"/>
                    <a:pt x="39036" y="4192"/>
                  </a:cubicBezTo>
                  <a:cubicBezTo>
                    <a:pt x="39036" y="4716"/>
                    <a:pt x="38554" y="5764"/>
                    <a:pt x="38072" y="6812"/>
                  </a:cubicBezTo>
                  <a:cubicBezTo>
                    <a:pt x="37108" y="9956"/>
                    <a:pt x="36144" y="12576"/>
                    <a:pt x="35180" y="13624"/>
                  </a:cubicBezTo>
                  <a:cubicBezTo>
                    <a:pt x="34698" y="14148"/>
                    <a:pt x="34216" y="15196"/>
                    <a:pt x="33253" y="16244"/>
                  </a:cubicBezTo>
                  <a:cubicBezTo>
                    <a:pt x="30843" y="18864"/>
                    <a:pt x="29397" y="20960"/>
                    <a:pt x="27951" y="21484"/>
                  </a:cubicBezTo>
                  <a:cubicBezTo>
                    <a:pt x="27951" y="23056"/>
                    <a:pt x="28433" y="24628"/>
                    <a:pt x="28915" y="25152"/>
                  </a:cubicBezTo>
                  <a:cubicBezTo>
                    <a:pt x="28915" y="25152"/>
                    <a:pt x="33734" y="32489"/>
                    <a:pt x="33253" y="34061"/>
                  </a:cubicBezTo>
                  <a:cubicBezTo>
                    <a:pt x="32771" y="35109"/>
                    <a:pt x="31325" y="40873"/>
                    <a:pt x="30361" y="42445"/>
                  </a:cubicBezTo>
                  <a:cubicBezTo>
                    <a:pt x="30361" y="42445"/>
                    <a:pt x="29879" y="42969"/>
                    <a:pt x="28915" y="44017"/>
                  </a:cubicBezTo>
                  <a:cubicBezTo>
                    <a:pt x="27469" y="45589"/>
                    <a:pt x="23614" y="49781"/>
                    <a:pt x="23132" y="51353"/>
                  </a:cubicBezTo>
                  <a:cubicBezTo>
                    <a:pt x="23614" y="51353"/>
                    <a:pt x="26024" y="62358"/>
                    <a:pt x="25542" y="63930"/>
                  </a:cubicBezTo>
                  <a:cubicBezTo>
                    <a:pt x="25060" y="64978"/>
                    <a:pt x="25060" y="64978"/>
                    <a:pt x="25060" y="64978"/>
                  </a:cubicBezTo>
                  <a:cubicBezTo>
                    <a:pt x="22168" y="71266"/>
                    <a:pt x="21204" y="73362"/>
                    <a:pt x="20240" y="74410"/>
                  </a:cubicBezTo>
                  <a:cubicBezTo>
                    <a:pt x="19277" y="74934"/>
                    <a:pt x="14457" y="76506"/>
                    <a:pt x="13012" y="75458"/>
                  </a:cubicBezTo>
                  <a:cubicBezTo>
                    <a:pt x="12530" y="74934"/>
                    <a:pt x="12048" y="74410"/>
                    <a:pt x="11566" y="73886"/>
                  </a:cubicBezTo>
                  <a:cubicBezTo>
                    <a:pt x="10602" y="73362"/>
                    <a:pt x="9156" y="71266"/>
                    <a:pt x="8674" y="71266"/>
                  </a:cubicBezTo>
                  <a:cubicBezTo>
                    <a:pt x="8674" y="71266"/>
                    <a:pt x="8192" y="71266"/>
                    <a:pt x="7228" y="71790"/>
                  </a:cubicBezTo>
                  <a:cubicBezTo>
                    <a:pt x="6746" y="71790"/>
                    <a:pt x="4337" y="72838"/>
                    <a:pt x="3855" y="73362"/>
                  </a:cubicBezTo>
                  <a:cubicBezTo>
                    <a:pt x="3855" y="74934"/>
                    <a:pt x="2891" y="77030"/>
                    <a:pt x="2409" y="78078"/>
                  </a:cubicBezTo>
                  <a:cubicBezTo>
                    <a:pt x="2409" y="78078"/>
                    <a:pt x="1927" y="78602"/>
                    <a:pt x="1927" y="78602"/>
                  </a:cubicBezTo>
                  <a:cubicBezTo>
                    <a:pt x="0" y="80698"/>
                    <a:pt x="0" y="81222"/>
                    <a:pt x="0" y="81746"/>
                  </a:cubicBezTo>
                  <a:cubicBezTo>
                    <a:pt x="481" y="82270"/>
                    <a:pt x="1445" y="82794"/>
                    <a:pt x="2409" y="83318"/>
                  </a:cubicBezTo>
                  <a:cubicBezTo>
                    <a:pt x="5301" y="85414"/>
                    <a:pt x="6746" y="86462"/>
                    <a:pt x="6746" y="88034"/>
                  </a:cubicBezTo>
                  <a:cubicBezTo>
                    <a:pt x="7710" y="90655"/>
                    <a:pt x="7710" y="94323"/>
                    <a:pt x="7228" y="95371"/>
                  </a:cubicBezTo>
                  <a:cubicBezTo>
                    <a:pt x="5783" y="96943"/>
                    <a:pt x="5301" y="99039"/>
                    <a:pt x="5301" y="99563"/>
                  </a:cubicBezTo>
                  <a:cubicBezTo>
                    <a:pt x="5301" y="100087"/>
                    <a:pt x="5301" y="100611"/>
                    <a:pt x="5301" y="101135"/>
                  </a:cubicBezTo>
                  <a:cubicBezTo>
                    <a:pt x="5783" y="102183"/>
                    <a:pt x="6265" y="106375"/>
                    <a:pt x="6746" y="106899"/>
                  </a:cubicBezTo>
                  <a:cubicBezTo>
                    <a:pt x="6746" y="107423"/>
                    <a:pt x="10120" y="110567"/>
                    <a:pt x="12530" y="113187"/>
                  </a:cubicBezTo>
                  <a:cubicBezTo>
                    <a:pt x="13975" y="111091"/>
                    <a:pt x="16867" y="108995"/>
                    <a:pt x="18313" y="108471"/>
                  </a:cubicBezTo>
                  <a:cubicBezTo>
                    <a:pt x="20240" y="107947"/>
                    <a:pt x="21686" y="110043"/>
                    <a:pt x="22650" y="111615"/>
                  </a:cubicBezTo>
                  <a:cubicBezTo>
                    <a:pt x="23132" y="112139"/>
                    <a:pt x="23132" y="112139"/>
                    <a:pt x="23132" y="112139"/>
                  </a:cubicBezTo>
                  <a:cubicBezTo>
                    <a:pt x="23132" y="112139"/>
                    <a:pt x="23614" y="112663"/>
                    <a:pt x="25542" y="111091"/>
                  </a:cubicBezTo>
                  <a:cubicBezTo>
                    <a:pt x="27469" y="110043"/>
                    <a:pt x="28433" y="111615"/>
                    <a:pt x="29879" y="112663"/>
                  </a:cubicBezTo>
                  <a:cubicBezTo>
                    <a:pt x="30361" y="113187"/>
                    <a:pt x="30843" y="113711"/>
                    <a:pt x="31325" y="113711"/>
                  </a:cubicBezTo>
                  <a:cubicBezTo>
                    <a:pt x="31807" y="114235"/>
                    <a:pt x="31807" y="114235"/>
                    <a:pt x="32771" y="113187"/>
                  </a:cubicBezTo>
                  <a:cubicBezTo>
                    <a:pt x="32771" y="113187"/>
                    <a:pt x="33253" y="112663"/>
                    <a:pt x="33734" y="112139"/>
                  </a:cubicBezTo>
                  <a:cubicBezTo>
                    <a:pt x="34216" y="111615"/>
                    <a:pt x="34698" y="108471"/>
                    <a:pt x="34698" y="107423"/>
                  </a:cubicBezTo>
                  <a:cubicBezTo>
                    <a:pt x="35180" y="106375"/>
                    <a:pt x="35180" y="106375"/>
                    <a:pt x="35180" y="106375"/>
                  </a:cubicBezTo>
                  <a:cubicBezTo>
                    <a:pt x="35180" y="105327"/>
                    <a:pt x="35662" y="104803"/>
                    <a:pt x="36144" y="104803"/>
                  </a:cubicBezTo>
                  <a:cubicBezTo>
                    <a:pt x="37108" y="104279"/>
                    <a:pt x="38072" y="104803"/>
                    <a:pt x="39518" y="105851"/>
                  </a:cubicBezTo>
                  <a:cubicBezTo>
                    <a:pt x="40963" y="106899"/>
                    <a:pt x="40481" y="108471"/>
                    <a:pt x="40481" y="110043"/>
                  </a:cubicBezTo>
                  <a:cubicBezTo>
                    <a:pt x="40481" y="110567"/>
                    <a:pt x="40481" y="111091"/>
                    <a:pt x="40481" y="111615"/>
                  </a:cubicBezTo>
                  <a:cubicBezTo>
                    <a:pt x="40481" y="112139"/>
                    <a:pt x="40963" y="113187"/>
                    <a:pt x="45301" y="115807"/>
                  </a:cubicBezTo>
                  <a:cubicBezTo>
                    <a:pt x="45783" y="115807"/>
                    <a:pt x="47710" y="115807"/>
                    <a:pt x="48674" y="115807"/>
                  </a:cubicBezTo>
                  <a:cubicBezTo>
                    <a:pt x="49156" y="114759"/>
                    <a:pt x="51084" y="110567"/>
                    <a:pt x="51566" y="109519"/>
                  </a:cubicBezTo>
                  <a:cubicBezTo>
                    <a:pt x="52530" y="107423"/>
                    <a:pt x="54939" y="107423"/>
                    <a:pt x="57349" y="107947"/>
                  </a:cubicBezTo>
                  <a:cubicBezTo>
                    <a:pt x="58313" y="107947"/>
                    <a:pt x="59277" y="107947"/>
                    <a:pt x="59277" y="107947"/>
                  </a:cubicBezTo>
                  <a:cubicBezTo>
                    <a:pt x="60722" y="106899"/>
                    <a:pt x="62168" y="108471"/>
                    <a:pt x="63614" y="111615"/>
                  </a:cubicBezTo>
                  <a:cubicBezTo>
                    <a:pt x="64096" y="111615"/>
                    <a:pt x="64578" y="112139"/>
                    <a:pt x="69397" y="112139"/>
                  </a:cubicBezTo>
                  <a:cubicBezTo>
                    <a:pt x="69879" y="112139"/>
                    <a:pt x="69879" y="112139"/>
                    <a:pt x="69879" y="112139"/>
                  </a:cubicBezTo>
                  <a:cubicBezTo>
                    <a:pt x="70843" y="112139"/>
                    <a:pt x="72289" y="110043"/>
                    <a:pt x="73253" y="109519"/>
                  </a:cubicBezTo>
                  <a:cubicBezTo>
                    <a:pt x="73734" y="108995"/>
                    <a:pt x="73734" y="108995"/>
                    <a:pt x="73734" y="108995"/>
                  </a:cubicBezTo>
                  <a:cubicBezTo>
                    <a:pt x="74216" y="107947"/>
                    <a:pt x="74698" y="107947"/>
                    <a:pt x="75180" y="107947"/>
                  </a:cubicBezTo>
                  <a:cubicBezTo>
                    <a:pt x="76144" y="107947"/>
                    <a:pt x="77108" y="109519"/>
                    <a:pt x="78072" y="110567"/>
                  </a:cubicBezTo>
                  <a:cubicBezTo>
                    <a:pt x="78554" y="111091"/>
                    <a:pt x="79036" y="111615"/>
                    <a:pt x="79036" y="112139"/>
                  </a:cubicBezTo>
                  <a:cubicBezTo>
                    <a:pt x="80481" y="113711"/>
                    <a:pt x="81445" y="118427"/>
                    <a:pt x="81927" y="119999"/>
                  </a:cubicBezTo>
                  <a:cubicBezTo>
                    <a:pt x="83373" y="118951"/>
                    <a:pt x="84819" y="117903"/>
                    <a:pt x="85301" y="117379"/>
                  </a:cubicBezTo>
                  <a:cubicBezTo>
                    <a:pt x="86746" y="116331"/>
                    <a:pt x="88674" y="116855"/>
                    <a:pt x="90602" y="116855"/>
                  </a:cubicBezTo>
                  <a:cubicBezTo>
                    <a:pt x="92530" y="116855"/>
                    <a:pt x="93493" y="116331"/>
                    <a:pt x="95903" y="115283"/>
                  </a:cubicBezTo>
                  <a:cubicBezTo>
                    <a:pt x="98313" y="113711"/>
                    <a:pt x="97349" y="109519"/>
                    <a:pt x="97349" y="107423"/>
                  </a:cubicBezTo>
                  <a:cubicBezTo>
                    <a:pt x="97349" y="105327"/>
                    <a:pt x="105060" y="98515"/>
                    <a:pt x="105060" y="98515"/>
                  </a:cubicBezTo>
                  <a:cubicBezTo>
                    <a:pt x="106024" y="97467"/>
                    <a:pt x="108915" y="96943"/>
                    <a:pt x="111325" y="96943"/>
                  </a:cubicBezTo>
                  <a:cubicBezTo>
                    <a:pt x="114216" y="96943"/>
                    <a:pt x="116144" y="95371"/>
                    <a:pt x="116144" y="95371"/>
                  </a:cubicBezTo>
                  <a:cubicBezTo>
                    <a:pt x="117590" y="93799"/>
                    <a:pt x="119036" y="93799"/>
                    <a:pt x="119518" y="92227"/>
                  </a:cubicBezTo>
                  <a:cubicBezTo>
                    <a:pt x="119518" y="91179"/>
                    <a:pt x="120000" y="90131"/>
                    <a:pt x="120000" y="89082"/>
                  </a:cubicBezTo>
                  <a:cubicBezTo>
                    <a:pt x="120000" y="89082"/>
                    <a:pt x="119518" y="88558"/>
                    <a:pt x="120000" y="88034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5" name="Shape 6999">
              <a:extLst>
                <a:ext uri="{FF2B5EF4-FFF2-40B4-BE49-F238E27FC236}">
                  <a16:creationId xmlns:a16="http://schemas.microsoft.com/office/drawing/2014/main" id="{5534EE0F-B235-4D07-8B9C-FE6D2F5FD911}"/>
                </a:ext>
              </a:extLst>
            </p:cNvPr>
            <p:cNvSpPr/>
            <p:nvPr/>
          </p:nvSpPr>
          <p:spPr>
            <a:xfrm>
              <a:off x="556828" y="4484281"/>
              <a:ext cx="119626" cy="186632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44516" y="93600"/>
                  </a:moveTo>
                  <a:cubicBezTo>
                    <a:pt x="40645" y="94800"/>
                    <a:pt x="29032" y="94800"/>
                    <a:pt x="21290" y="94800"/>
                  </a:cubicBezTo>
                  <a:cubicBezTo>
                    <a:pt x="19354" y="94800"/>
                    <a:pt x="17419" y="94800"/>
                    <a:pt x="15483" y="93600"/>
                  </a:cubicBezTo>
                  <a:cubicBezTo>
                    <a:pt x="11612" y="93600"/>
                    <a:pt x="9677" y="92400"/>
                    <a:pt x="7741" y="92400"/>
                  </a:cubicBezTo>
                  <a:cubicBezTo>
                    <a:pt x="5806" y="93600"/>
                    <a:pt x="5806" y="93600"/>
                    <a:pt x="5806" y="93600"/>
                  </a:cubicBezTo>
                  <a:cubicBezTo>
                    <a:pt x="3870" y="94800"/>
                    <a:pt x="1935" y="94800"/>
                    <a:pt x="0" y="96000"/>
                  </a:cubicBezTo>
                  <a:cubicBezTo>
                    <a:pt x="1935" y="97200"/>
                    <a:pt x="1935" y="97200"/>
                    <a:pt x="1935" y="97200"/>
                  </a:cubicBezTo>
                  <a:cubicBezTo>
                    <a:pt x="9677" y="104400"/>
                    <a:pt x="19354" y="111600"/>
                    <a:pt x="21290" y="114000"/>
                  </a:cubicBezTo>
                  <a:cubicBezTo>
                    <a:pt x="21290" y="114000"/>
                    <a:pt x="21290" y="116400"/>
                    <a:pt x="23225" y="117600"/>
                  </a:cubicBezTo>
                  <a:cubicBezTo>
                    <a:pt x="23225" y="117600"/>
                    <a:pt x="23225" y="118800"/>
                    <a:pt x="23225" y="120000"/>
                  </a:cubicBezTo>
                  <a:cubicBezTo>
                    <a:pt x="23225" y="120000"/>
                    <a:pt x="23225" y="120000"/>
                    <a:pt x="23225" y="120000"/>
                  </a:cubicBezTo>
                  <a:cubicBezTo>
                    <a:pt x="25161" y="117600"/>
                    <a:pt x="29032" y="115200"/>
                    <a:pt x="34838" y="115200"/>
                  </a:cubicBezTo>
                  <a:cubicBezTo>
                    <a:pt x="36774" y="116400"/>
                    <a:pt x="36774" y="116400"/>
                    <a:pt x="36774" y="116400"/>
                  </a:cubicBezTo>
                  <a:cubicBezTo>
                    <a:pt x="40645" y="116400"/>
                    <a:pt x="40645" y="115200"/>
                    <a:pt x="40645" y="114000"/>
                  </a:cubicBezTo>
                  <a:cubicBezTo>
                    <a:pt x="40645" y="114000"/>
                    <a:pt x="40645" y="114000"/>
                    <a:pt x="40645" y="114000"/>
                  </a:cubicBezTo>
                  <a:cubicBezTo>
                    <a:pt x="40645" y="111600"/>
                    <a:pt x="42580" y="110400"/>
                    <a:pt x="46451" y="108000"/>
                  </a:cubicBezTo>
                  <a:cubicBezTo>
                    <a:pt x="52258" y="104400"/>
                    <a:pt x="67741" y="93600"/>
                    <a:pt x="69677" y="91200"/>
                  </a:cubicBezTo>
                  <a:cubicBezTo>
                    <a:pt x="71612" y="88800"/>
                    <a:pt x="87096" y="74400"/>
                    <a:pt x="92903" y="72000"/>
                  </a:cubicBezTo>
                  <a:cubicBezTo>
                    <a:pt x="92903" y="72000"/>
                    <a:pt x="94838" y="70800"/>
                    <a:pt x="96774" y="70800"/>
                  </a:cubicBezTo>
                  <a:cubicBezTo>
                    <a:pt x="98709" y="69600"/>
                    <a:pt x="102580" y="68400"/>
                    <a:pt x="104516" y="68400"/>
                  </a:cubicBezTo>
                  <a:cubicBezTo>
                    <a:pt x="106451" y="68400"/>
                    <a:pt x="110322" y="68400"/>
                    <a:pt x="110322" y="70800"/>
                  </a:cubicBezTo>
                  <a:cubicBezTo>
                    <a:pt x="112258" y="72000"/>
                    <a:pt x="112258" y="75600"/>
                    <a:pt x="114193" y="78000"/>
                  </a:cubicBezTo>
                  <a:cubicBezTo>
                    <a:pt x="116129" y="75600"/>
                    <a:pt x="116129" y="73200"/>
                    <a:pt x="116129" y="70800"/>
                  </a:cubicBezTo>
                  <a:cubicBezTo>
                    <a:pt x="116129" y="70800"/>
                    <a:pt x="116129" y="68400"/>
                    <a:pt x="116129" y="66000"/>
                  </a:cubicBezTo>
                  <a:cubicBezTo>
                    <a:pt x="120000" y="52800"/>
                    <a:pt x="120000" y="45600"/>
                    <a:pt x="118064" y="44400"/>
                  </a:cubicBezTo>
                  <a:cubicBezTo>
                    <a:pt x="112258" y="42000"/>
                    <a:pt x="94838" y="32400"/>
                    <a:pt x="92903" y="32400"/>
                  </a:cubicBezTo>
                  <a:cubicBezTo>
                    <a:pt x="92903" y="32400"/>
                    <a:pt x="92903" y="31200"/>
                    <a:pt x="92903" y="31200"/>
                  </a:cubicBezTo>
                  <a:cubicBezTo>
                    <a:pt x="87096" y="24000"/>
                    <a:pt x="87096" y="24000"/>
                    <a:pt x="87096" y="24000"/>
                  </a:cubicBezTo>
                  <a:cubicBezTo>
                    <a:pt x="81290" y="21600"/>
                    <a:pt x="73548" y="19200"/>
                    <a:pt x="69677" y="19200"/>
                  </a:cubicBezTo>
                  <a:cubicBezTo>
                    <a:pt x="67741" y="20400"/>
                    <a:pt x="60000" y="21600"/>
                    <a:pt x="56129" y="21600"/>
                  </a:cubicBezTo>
                  <a:cubicBezTo>
                    <a:pt x="48387" y="21600"/>
                    <a:pt x="46451" y="19200"/>
                    <a:pt x="44516" y="18000"/>
                  </a:cubicBezTo>
                  <a:cubicBezTo>
                    <a:pt x="42580" y="15600"/>
                    <a:pt x="32903" y="7200"/>
                    <a:pt x="32903" y="7200"/>
                  </a:cubicBezTo>
                  <a:cubicBezTo>
                    <a:pt x="29032" y="2400"/>
                    <a:pt x="23225" y="0"/>
                    <a:pt x="21290" y="0"/>
                  </a:cubicBezTo>
                  <a:cubicBezTo>
                    <a:pt x="19354" y="1200"/>
                    <a:pt x="19354" y="1200"/>
                    <a:pt x="19354" y="3600"/>
                  </a:cubicBezTo>
                  <a:cubicBezTo>
                    <a:pt x="19354" y="8400"/>
                    <a:pt x="23225" y="12000"/>
                    <a:pt x="25161" y="15600"/>
                  </a:cubicBezTo>
                  <a:cubicBezTo>
                    <a:pt x="29032" y="19200"/>
                    <a:pt x="48387" y="31200"/>
                    <a:pt x="50322" y="32400"/>
                  </a:cubicBezTo>
                  <a:cubicBezTo>
                    <a:pt x="52258" y="32400"/>
                    <a:pt x="56129" y="33600"/>
                    <a:pt x="58064" y="33600"/>
                  </a:cubicBezTo>
                  <a:cubicBezTo>
                    <a:pt x="58064" y="33600"/>
                    <a:pt x="58064" y="33600"/>
                    <a:pt x="58064" y="33600"/>
                  </a:cubicBezTo>
                  <a:cubicBezTo>
                    <a:pt x="58064" y="33600"/>
                    <a:pt x="58064" y="33600"/>
                    <a:pt x="58064" y="33600"/>
                  </a:cubicBezTo>
                  <a:cubicBezTo>
                    <a:pt x="60000" y="32400"/>
                    <a:pt x="61935" y="30000"/>
                    <a:pt x="65806" y="30000"/>
                  </a:cubicBezTo>
                  <a:cubicBezTo>
                    <a:pt x="67741" y="30000"/>
                    <a:pt x="69677" y="30000"/>
                    <a:pt x="69677" y="30000"/>
                  </a:cubicBezTo>
                  <a:cubicBezTo>
                    <a:pt x="75483" y="31200"/>
                    <a:pt x="81290" y="32400"/>
                    <a:pt x="85161" y="36000"/>
                  </a:cubicBezTo>
                  <a:cubicBezTo>
                    <a:pt x="87096" y="38400"/>
                    <a:pt x="94838" y="45600"/>
                    <a:pt x="92903" y="49200"/>
                  </a:cubicBezTo>
                  <a:cubicBezTo>
                    <a:pt x="92903" y="50400"/>
                    <a:pt x="92903" y="50400"/>
                    <a:pt x="92903" y="50400"/>
                  </a:cubicBezTo>
                  <a:cubicBezTo>
                    <a:pt x="89032" y="52800"/>
                    <a:pt x="87096" y="56400"/>
                    <a:pt x="81290" y="56400"/>
                  </a:cubicBezTo>
                  <a:cubicBezTo>
                    <a:pt x="79354" y="56400"/>
                    <a:pt x="77419" y="56400"/>
                    <a:pt x="75483" y="56400"/>
                  </a:cubicBezTo>
                  <a:cubicBezTo>
                    <a:pt x="75483" y="55200"/>
                    <a:pt x="73548" y="55200"/>
                    <a:pt x="71612" y="55200"/>
                  </a:cubicBezTo>
                  <a:cubicBezTo>
                    <a:pt x="69677" y="55200"/>
                    <a:pt x="69677" y="55200"/>
                    <a:pt x="69677" y="55200"/>
                  </a:cubicBezTo>
                  <a:cubicBezTo>
                    <a:pt x="69677" y="56400"/>
                    <a:pt x="69677" y="57600"/>
                    <a:pt x="67741" y="57600"/>
                  </a:cubicBezTo>
                  <a:cubicBezTo>
                    <a:pt x="65806" y="60000"/>
                    <a:pt x="63870" y="62400"/>
                    <a:pt x="58064" y="63600"/>
                  </a:cubicBezTo>
                  <a:cubicBezTo>
                    <a:pt x="73548" y="64800"/>
                    <a:pt x="73548" y="64800"/>
                    <a:pt x="73548" y="64800"/>
                  </a:cubicBezTo>
                  <a:cubicBezTo>
                    <a:pt x="75483" y="64800"/>
                    <a:pt x="77419" y="66000"/>
                    <a:pt x="77419" y="67200"/>
                  </a:cubicBezTo>
                  <a:cubicBezTo>
                    <a:pt x="77419" y="68400"/>
                    <a:pt x="75483" y="69600"/>
                    <a:pt x="73548" y="69600"/>
                  </a:cubicBezTo>
                  <a:cubicBezTo>
                    <a:pt x="73548" y="69600"/>
                    <a:pt x="73548" y="69600"/>
                    <a:pt x="71612" y="69600"/>
                  </a:cubicBezTo>
                  <a:cubicBezTo>
                    <a:pt x="50322" y="68400"/>
                    <a:pt x="50322" y="68400"/>
                    <a:pt x="50322" y="68400"/>
                  </a:cubicBezTo>
                  <a:cubicBezTo>
                    <a:pt x="50322" y="69600"/>
                    <a:pt x="50322" y="72000"/>
                    <a:pt x="50322" y="74400"/>
                  </a:cubicBezTo>
                  <a:cubicBezTo>
                    <a:pt x="52258" y="75600"/>
                    <a:pt x="52258" y="76800"/>
                    <a:pt x="52258" y="78000"/>
                  </a:cubicBezTo>
                  <a:cubicBezTo>
                    <a:pt x="54193" y="80400"/>
                    <a:pt x="54193" y="81600"/>
                    <a:pt x="54193" y="84000"/>
                  </a:cubicBezTo>
                  <a:cubicBezTo>
                    <a:pt x="54193" y="88800"/>
                    <a:pt x="50322" y="93600"/>
                    <a:pt x="44516" y="93600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6" name="Shape 7000">
              <a:extLst>
                <a:ext uri="{FF2B5EF4-FFF2-40B4-BE49-F238E27FC236}">
                  <a16:creationId xmlns:a16="http://schemas.microsoft.com/office/drawing/2014/main" id="{FCEC978A-22D7-4C99-8E87-2545FD46B53B}"/>
                </a:ext>
              </a:extLst>
            </p:cNvPr>
            <p:cNvSpPr/>
            <p:nvPr/>
          </p:nvSpPr>
          <p:spPr>
            <a:xfrm>
              <a:off x="470004" y="4296713"/>
              <a:ext cx="345371" cy="41525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35530" y="118378"/>
                  </a:moveTo>
                  <a:cubicBezTo>
                    <a:pt x="37541" y="118378"/>
                    <a:pt x="40223" y="118918"/>
                    <a:pt x="41564" y="120000"/>
                  </a:cubicBezTo>
                  <a:cubicBezTo>
                    <a:pt x="41564" y="119459"/>
                    <a:pt x="41564" y="119459"/>
                    <a:pt x="41564" y="119459"/>
                  </a:cubicBezTo>
                  <a:cubicBezTo>
                    <a:pt x="48268" y="113513"/>
                    <a:pt x="48268" y="113513"/>
                    <a:pt x="48268" y="113513"/>
                  </a:cubicBezTo>
                  <a:cubicBezTo>
                    <a:pt x="48268" y="113513"/>
                    <a:pt x="48268" y="112972"/>
                    <a:pt x="48938" y="112972"/>
                  </a:cubicBezTo>
                  <a:cubicBezTo>
                    <a:pt x="48938" y="112972"/>
                    <a:pt x="50949" y="112972"/>
                    <a:pt x="53631" y="112972"/>
                  </a:cubicBezTo>
                  <a:cubicBezTo>
                    <a:pt x="54972" y="112972"/>
                    <a:pt x="55642" y="112432"/>
                    <a:pt x="55642" y="112432"/>
                  </a:cubicBezTo>
                  <a:cubicBezTo>
                    <a:pt x="56312" y="111891"/>
                    <a:pt x="56312" y="111351"/>
                    <a:pt x="56983" y="110810"/>
                  </a:cubicBezTo>
                  <a:cubicBezTo>
                    <a:pt x="58994" y="109729"/>
                    <a:pt x="60335" y="109729"/>
                    <a:pt x="61675" y="109189"/>
                  </a:cubicBezTo>
                  <a:cubicBezTo>
                    <a:pt x="61675" y="109189"/>
                    <a:pt x="61675" y="109189"/>
                    <a:pt x="61675" y="109189"/>
                  </a:cubicBezTo>
                  <a:cubicBezTo>
                    <a:pt x="63687" y="108648"/>
                    <a:pt x="64357" y="109729"/>
                    <a:pt x="69720" y="116216"/>
                  </a:cubicBezTo>
                  <a:cubicBezTo>
                    <a:pt x="70391" y="117297"/>
                    <a:pt x="71731" y="118378"/>
                    <a:pt x="71731" y="118918"/>
                  </a:cubicBezTo>
                  <a:cubicBezTo>
                    <a:pt x="72402" y="119459"/>
                    <a:pt x="77094" y="119459"/>
                    <a:pt x="79776" y="118918"/>
                  </a:cubicBezTo>
                  <a:cubicBezTo>
                    <a:pt x="81117" y="118378"/>
                    <a:pt x="83798" y="115135"/>
                    <a:pt x="85810" y="112432"/>
                  </a:cubicBezTo>
                  <a:cubicBezTo>
                    <a:pt x="85810" y="111891"/>
                    <a:pt x="85810" y="111891"/>
                    <a:pt x="86480" y="111351"/>
                  </a:cubicBezTo>
                  <a:cubicBezTo>
                    <a:pt x="87150" y="110810"/>
                    <a:pt x="87150" y="110270"/>
                    <a:pt x="87821" y="109729"/>
                  </a:cubicBezTo>
                  <a:cubicBezTo>
                    <a:pt x="87821" y="108648"/>
                    <a:pt x="87821" y="105405"/>
                    <a:pt x="87150" y="103243"/>
                  </a:cubicBezTo>
                  <a:cubicBezTo>
                    <a:pt x="87150" y="102702"/>
                    <a:pt x="87150" y="102162"/>
                    <a:pt x="87821" y="101621"/>
                  </a:cubicBezTo>
                  <a:cubicBezTo>
                    <a:pt x="88491" y="100540"/>
                    <a:pt x="90502" y="101081"/>
                    <a:pt x="91843" y="101081"/>
                  </a:cubicBezTo>
                  <a:cubicBezTo>
                    <a:pt x="91843" y="101081"/>
                    <a:pt x="92513" y="101081"/>
                    <a:pt x="92513" y="101081"/>
                  </a:cubicBezTo>
                  <a:cubicBezTo>
                    <a:pt x="93184" y="101081"/>
                    <a:pt x="96536" y="98918"/>
                    <a:pt x="97877" y="97837"/>
                  </a:cubicBezTo>
                  <a:cubicBezTo>
                    <a:pt x="98547" y="97297"/>
                    <a:pt x="99217" y="96756"/>
                    <a:pt x="99217" y="96756"/>
                  </a:cubicBezTo>
                  <a:cubicBezTo>
                    <a:pt x="99217" y="96756"/>
                    <a:pt x="97877" y="95675"/>
                    <a:pt x="97206" y="95135"/>
                  </a:cubicBezTo>
                  <a:cubicBezTo>
                    <a:pt x="96536" y="94594"/>
                    <a:pt x="95865" y="94054"/>
                    <a:pt x="95195" y="93513"/>
                  </a:cubicBezTo>
                  <a:cubicBezTo>
                    <a:pt x="93184" y="91351"/>
                    <a:pt x="95195" y="89189"/>
                    <a:pt x="96536" y="87567"/>
                  </a:cubicBezTo>
                  <a:cubicBezTo>
                    <a:pt x="97206" y="87027"/>
                    <a:pt x="97877" y="85945"/>
                    <a:pt x="97877" y="85405"/>
                  </a:cubicBezTo>
                  <a:cubicBezTo>
                    <a:pt x="97877" y="84864"/>
                    <a:pt x="96536" y="84324"/>
                    <a:pt x="94525" y="83243"/>
                  </a:cubicBezTo>
                  <a:cubicBezTo>
                    <a:pt x="93854" y="83243"/>
                    <a:pt x="93184" y="82702"/>
                    <a:pt x="93184" y="82702"/>
                  </a:cubicBezTo>
                  <a:cubicBezTo>
                    <a:pt x="92513" y="81081"/>
                    <a:pt x="93854" y="79459"/>
                    <a:pt x="94525" y="77837"/>
                  </a:cubicBezTo>
                  <a:cubicBezTo>
                    <a:pt x="95195" y="77297"/>
                    <a:pt x="95195" y="76756"/>
                    <a:pt x="95865" y="76216"/>
                  </a:cubicBezTo>
                  <a:cubicBezTo>
                    <a:pt x="95865" y="75675"/>
                    <a:pt x="95865" y="75675"/>
                    <a:pt x="95865" y="75675"/>
                  </a:cubicBezTo>
                  <a:cubicBezTo>
                    <a:pt x="96536" y="74054"/>
                    <a:pt x="97206" y="72972"/>
                    <a:pt x="97206" y="71891"/>
                  </a:cubicBezTo>
                  <a:cubicBezTo>
                    <a:pt x="97877" y="69189"/>
                    <a:pt x="99217" y="69189"/>
                    <a:pt x="100558" y="68648"/>
                  </a:cubicBezTo>
                  <a:cubicBezTo>
                    <a:pt x="100558" y="68648"/>
                    <a:pt x="100558" y="68648"/>
                    <a:pt x="100558" y="68648"/>
                  </a:cubicBezTo>
                  <a:cubicBezTo>
                    <a:pt x="102569" y="68108"/>
                    <a:pt x="106592" y="69729"/>
                    <a:pt x="107932" y="71351"/>
                  </a:cubicBezTo>
                  <a:cubicBezTo>
                    <a:pt x="107932" y="71891"/>
                    <a:pt x="110614" y="71891"/>
                    <a:pt x="111955" y="71351"/>
                  </a:cubicBezTo>
                  <a:cubicBezTo>
                    <a:pt x="113966" y="70810"/>
                    <a:pt x="115307" y="69189"/>
                    <a:pt x="115977" y="69189"/>
                  </a:cubicBezTo>
                  <a:cubicBezTo>
                    <a:pt x="115977" y="68648"/>
                    <a:pt x="116648" y="63243"/>
                    <a:pt x="116648" y="61081"/>
                  </a:cubicBezTo>
                  <a:cubicBezTo>
                    <a:pt x="115977" y="58378"/>
                    <a:pt x="117988" y="57837"/>
                    <a:pt x="120000" y="57297"/>
                  </a:cubicBezTo>
                  <a:cubicBezTo>
                    <a:pt x="120000" y="57297"/>
                    <a:pt x="120000" y="57297"/>
                    <a:pt x="120000" y="57297"/>
                  </a:cubicBezTo>
                  <a:cubicBezTo>
                    <a:pt x="120000" y="56756"/>
                    <a:pt x="119329" y="56756"/>
                    <a:pt x="119329" y="56756"/>
                  </a:cubicBezTo>
                  <a:cubicBezTo>
                    <a:pt x="118659" y="56216"/>
                    <a:pt x="117988" y="55675"/>
                    <a:pt x="117318" y="55135"/>
                  </a:cubicBezTo>
                  <a:cubicBezTo>
                    <a:pt x="116648" y="54594"/>
                    <a:pt x="115307" y="54054"/>
                    <a:pt x="113966" y="53513"/>
                  </a:cubicBezTo>
                  <a:cubicBezTo>
                    <a:pt x="113296" y="52972"/>
                    <a:pt x="112625" y="52972"/>
                    <a:pt x="111955" y="52432"/>
                  </a:cubicBezTo>
                  <a:cubicBezTo>
                    <a:pt x="109944" y="51351"/>
                    <a:pt x="109273" y="50270"/>
                    <a:pt x="108603" y="48648"/>
                  </a:cubicBezTo>
                  <a:cubicBezTo>
                    <a:pt x="108603" y="48108"/>
                    <a:pt x="107932" y="47027"/>
                    <a:pt x="106592" y="46486"/>
                  </a:cubicBezTo>
                  <a:cubicBezTo>
                    <a:pt x="105921" y="45945"/>
                    <a:pt x="104581" y="44864"/>
                    <a:pt x="103910" y="43243"/>
                  </a:cubicBezTo>
                  <a:cubicBezTo>
                    <a:pt x="103240" y="42702"/>
                    <a:pt x="103240" y="41621"/>
                    <a:pt x="103240" y="41081"/>
                  </a:cubicBezTo>
                  <a:cubicBezTo>
                    <a:pt x="104581" y="38918"/>
                    <a:pt x="108603" y="37297"/>
                    <a:pt x="109944" y="37297"/>
                  </a:cubicBezTo>
                  <a:cubicBezTo>
                    <a:pt x="109944" y="36756"/>
                    <a:pt x="109273" y="35675"/>
                    <a:pt x="109273" y="35135"/>
                  </a:cubicBezTo>
                  <a:cubicBezTo>
                    <a:pt x="108603" y="34054"/>
                    <a:pt x="108603" y="32972"/>
                    <a:pt x="108603" y="31891"/>
                  </a:cubicBezTo>
                  <a:cubicBezTo>
                    <a:pt x="108603" y="29729"/>
                    <a:pt x="109944" y="29729"/>
                    <a:pt x="111284" y="29729"/>
                  </a:cubicBezTo>
                  <a:cubicBezTo>
                    <a:pt x="111955" y="29729"/>
                    <a:pt x="111955" y="29729"/>
                    <a:pt x="112625" y="29729"/>
                  </a:cubicBezTo>
                  <a:cubicBezTo>
                    <a:pt x="111955" y="29189"/>
                    <a:pt x="111284" y="29189"/>
                    <a:pt x="111284" y="28648"/>
                  </a:cubicBezTo>
                  <a:cubicBezTo>
                    <a:pt x="110614" y="28648"/>
                    <a:pt x="109944" y="28108"/>
                    <a:pt x="109944" y="27567"/>
                  </a:cubicBezTo>
                  <a:cubicBezTo>
                    <a:pt x="109273" y="27567"/>
                    <a:pt x="107932" y="26486"/>
                    <a:pt x="105921" y="24864"/>
                  </a:cubicBezTo>
                  <a:cubicBezTo>
                    <a:pt x="101229" y="21621"/>
                    <a:pt x="97877" y="18918"/>
                    <a:pt x="97206" y="18378"/>
                  </a:cubicBezTo>
                  <a:cubicBezTo>
                    <a:pt x="97206" y="18378"/>
                    <a:pt x="95195" y="18918"/>
                    <a:pt x="94525" y="19459"/>
                  </a:cubicBezTo>
                  <a:cubicBezTo>
                    <a:pt x="93854" y="19459"/>
                    <a:pt x="93184" y="20000"/>
                    <a:pt x="93184" y="20000"/>
                  </a:cubicBezTo>
                  <a:cubicBezTo>
                    <a:pt x="89832" y="21081"/>
                    <a:pt x="86480" y="16756"/>
                    <a:pt x="85810" y="15675"/>
                  </a:cubicBezTo>
                  <a:cubicBezTo>
                    <a:pt x="85139" y="15135"/>
                    <a:pt x="85810" y="11891"/>
                    <a:pt x="87821" y="5945"/>
                  </a:cubicBezTo>
                  <a:cubicBezTo>
                    <a:pt x="87821" y="5945"/>
                    <a:pt x="87821" y="5945"/>
                    <a:pt x="87821" y="5945"/>
                  </a:cubicBezTo>
                  <a:cubicBezTo>
                    <a:pt x="85139" y="4864"/>
                    <a:pt x="82458" y="4324"/>
                    <a:pt x="81787" y="4864"/>
                  </a:cubicBezTo>
                  <a:cubicBezTo>
                    <a:pt x="80446" y="6486"/>
                    <a:pt x="79106" y="8108"/>
                    <a:pt x="77094" y="7027"/>
                  </a:cubicBezTo>
                  <a:cubicBezTo>
                    <a:pt x="75754" y="5405"/>
                    <a:pt x="68379" y="1081"/>
                    <a:pt x="66368" y="540"/>
                  </a:cubicBezTo>
                  <a:cubicBezTo>
                    <a:pt x="64357" y="540"/>
                    <a:pt x="60335" y="0"/>
                    <a:pt x="60335" y="2162"/>
                  </a:cubicBezTo>
                  <a:cubicBezTo>
                    <a:pt x="60335" y="4324"/>
                    <a:pt x="63687" y="7567"/>
                    <a:pt x="63687" y="9189"/>
                  </a:cubicBezTo>
                  <a:cubicBezTo>
                    <a:pt x="63687" y="11351"/>
                    <a:pt x="63687" y="18918"/>
                    <a:pt x="61675" y="18918"/>
                  </a:cubicBezTo>
                  <a:cubicBezTo>
                    <a:pt x="60335" y="18918"/>
                    <a:pt x="52290" y="17837"/>
                    <a:pt x="49608" y="17837"/>
                  </a:cubicBezTo>
                  <a:cubicBezTo>
                    <a:pt x="47597" y="17837"/>
                    <a:pt x="31508" y="20000"/>
                    <a:pt x="30167" y="21081"/>
                  </a:cubicBezTo>
                  <a:cubicBezTo>
                    <a:pt x="28826" y="22702"/>
                    <a:pt x="30837" y="25945"/>
                    <a:pt x="27486" y="25945"/>
                  </a:cubicBezTo>
                  <a:cubicBezTo>
                    <a:pt x="24804" y="25945"/>
                    <a:pt x="19441" y="24864"/>
                    <a:pt x="17430" y="23243"/>
                  </a:cubicBezTo>
                  <a:cubicBezTo>
                    <a:pt x="15418" y="21621"/>
                    <a:pt x="15418" y="17837"/>
                    <a:pt x="11396" y="18378"/>
                  </a:cubicBezTo>
                  <a:cubicBezTo>
                    <a:pt x="8044" y="18378"/>
                    <a:pt x="2681" y="20540"/>
                    <a:pt x="2681" y="22702"/>
                  </a:cubicBezTo>
                  <a:cubicBezTo>
                    <a:pt x="2681" y="24324"/>
                    <a:pt x="4692" y="29189"/>
                    <a:pt x="3351" y="30810"/>
                  </a:cubicBezTo>
                  <a:cubicBezTo>
                    <a:pt x="2011" y="32972"/>
                    <a:pt x="0" y="36216"/>
                    <a:pt x="2011" y="38918"/>
                  </a:cubicBezTo>
                  <a:cubicBezTo>
                    <a:pt x="4022" y="41621"/>
                    <a:pt x="10726" y="45945"/>
                    <a:pt x="10726" y="48108"/>
                  </a:cubicBezTo>
                  <a:cubicBezTo>
                    <a:pt x="10726" y="49729"/>
                    <a:pt x="9385" y="56216"/>
                    <a:pt x="10726" y="58378"/>
                  </a:cubicBezTo>
                  <a:cubicBezTo>
                    <a:pt x="11396" y="60540"/>
                    <a:pt x="18770" y="69189"/>
                    <a:pt x="18770" y="73513"/>
                  </a:cubicBezTo>
                  <a:cubicBezTo>
                    <a:pt x="18770" y="74594"/>
                    <a:pt x="18770" y="76756"/>
                    <a:pt x="18770" y="79459"/>
                  </a:cubicBezTo>
                  <a:cubicBezTo>
                    <a:pt x="44916" y="82162"/>
                    <a:pt x="44916" y="82162"/>
                    <a:pt x="44916" y="82162"/>
                  </a:cubicBezTo>
                  <a:cubicBezTo>
                    <a:pt x="45586" y="81081"/>
                    <a:pt x="47597" y="81081"/>
                    <a:pt x="48268" y="81081"/>
                  </a:cubicBezTo>
                  <a:cubicBezTo>
                    <a:pt x="48938" y="81081"/>
                    <a:pt x="49608" y="81081"/>
                    <a:pt x="49608" y="80540"/>
                  </a:cubicBezTo>
                  <a:cubicBezTo>
                    <a:pt x="50279" y="80540"/>
                    <a:pt x="50949" y="80540"/>
                    <a:pt x="51620" y="79459"/>
                  </a:cubicBezTo>
                  <a:cubicBezTo>
                    <a:pt x="51620" y="78918"/>
                    <a:pt x="51620" y="78378"/>
                    <a:pt x="52290" y="77837"/>
                  </a:cubicBezTo>
                  <a:cubicBezTo>
                    <a:pt x="52290" y="77297"/>
                    <a:pt x="53631" y="76756"/>
                    <a:pt x="54972" y="76756"/>
                  </a:cubicBezTo>
                  <a:cubicBezTo>
                    <a:pt x="55642" y="76756"/>
                    <a:pt x="56312" y="76756"/>
                    <a:pt x="56983" y="77297"/>
                  </a:cubicBezTo>
                  <a:cubicBezTo>
                    <a:pt x="57653" y="77297"/>
                    <a:pt x="58324" y="77297"/>
                    <a:pt x="58324" y="77297"/>
                  </a:cubicBezTo>
                  <a:cubicBezTo>
                    <a:pt x="58994" y="77297"/>
                    <a:pt x="58994" y="76216"/>
                    <a:pt x="59664" y="75675"/>
                  </a:cubicBezTo>
                  <a:cubicBezTo>
                    <a:pt x="59664" y="75675"/>
                    <a:pt x="59664" y="75675"/>
                    <a:pt x="59664" y="75675"/>
                  </a:cubicBezTo>
                  <a:cubicBezTo>
                    <a:pt x="59664" y="75135"/>
                    <a:pt x="58324" y="72972"/>
                    <a:pt x="56983" y="71351"/>
                  </a:cubicBezTo>
                  <a:cubicBezTo>
                    <a:pt x="56312" y="70810"/>
                    <a:pt x="54972" y="70270"/>
                    <a:pt x="53631" y="69729"/>
                  </a:cubicBezTo>
                  <a:cubicBezTo>
                    <a:pt x="52960" y="69729"/>
                    <a:pt x="52960" y="69729"/>
                    <a:pt x="52960" y="69729"/>
                  </a:cubicBezTo>
                  <a:cubicBezTo>
                    <a:pt x="52960" y="69729"/>
                    <a:pt x="52960" y="69729"/>
                    <a:pt x="52960" y="70270"/>
                  </a:cubicBezTo>
                  <a:cubicBezTo>
                    <a:pt x="52960" y="70270"/>
                    <a:pt x="52290" y="70270"/>
                    <a:pt x="52290" y="70810"/>
                  </a:cubicBezTo>
                  <a:cubicBezTo>
                    <a:pt x="52290" y="70810"/>
                    <a:pt x="51620" y="71351"/>
                    <a:pt x="50279" y="71351"/>
                  </a:cubicBezTo>
                  <a:cubicBezTo>
                    <a:pt x="48938" y="71351"/>
                    <a:pt x="46927" y="70810"/>
                    <a:pt x="46256" y="70270"/>
                  </a:cubicBezTo>
                  <a:cubicBezTo>
                    <a:pt x="44916" y="69729"/>
                    <a:pt x="37541" y="63783"/>
                    <a:pt x="36871" y="62162"/>
                  </a:cubicBezTo>
                  <a:cubicBezTo>
                    <a:pt x="35530" y="60540"/>
                    <a:pt x="34860" y="58378"/>
                    <a:pt x="34189" y="56216"/>
                  </a:cubicBezTo>
                  <a:cubicBezTo>
                    <a:pt x="33519" y="52972"/>
                    <a:pt x="35530" y="52432"/>
                    <a:pt x="37541" y="52432"/>
                  </a:cubicBezTo>
                  <a:cubicBezTo>
                    <a:pt x="39553" y="51891"/>
                    <a:pt x="42234" y="54054"/>
                    <a:pt x="43575" y="55675"/>
                  </a:cubicBezTo>
                  <a:cubicBezTo>
                    <a:pt x="43575" y="56216"/>
                    <a:pt x="46927" y="59459"/>
                    <a:pt x="48268" y="61621"/>
                  </a:cubicBezTo>
                  <a:cubicBezTo>
                    <a:pt x="48268" y="61621"/>
                    <a:pt x="48938" y="61621"/>
                    <a:pt x="49608" y="61621"/>
                  </a:cubicBezTo>
                  <a:cubicBezTo>
                    <a:pt x="50949" y="61621"/>
                    <a:pt x="52290" y="61081"/>
                    <a:pt x="52960" y="61081"/>
                  </a:cubicBezTo>
                  <a:cubicBezTo>
                    <a:pt x="52960" y="60540"/>
                    <a:pt x="53631" y="60540"/>
                    <a:pt x="54301" y="60540"/>
                  </a:cubicBezTo>
                  <a:cubicBezTo>
                    <a:pt x="56983" y="60540"/>
                    <a:pt x="61675" y="62702"/>
                    <a:pt x="62346" y="63243"/>
                  </a:cubicBezTo>
                  <a:cubicBezTo>
                    <a:pt x="62346" y="63243"/>
                    <a:pt x="63016" y="63243"/>
                    <a:pt x="63016" y="63783"/>
                  </a:cubicBezTo>
                  <a:cubicBezTo>
                    <a:pt x="64357" y="67027"/>
                    <a:pt x="64357" y="67027"/>
                    <a:pt x="64357" y="67027"/>
                  </a:cubicBezTo>
                  <a:cubicBezTo>
                    <a:pt x="65698" y="68108"/>
                    <a:pt x="71061" y="71351"/>
                    <a:pt x="72402" y="72432"/>
                  </a:cubicBezTo>
                  <a:cubicBezTo>
                    <a:pt x="74413" y="72972"/>
                    <a:pt x="74413" y="76216"/>
                    <a:pt x="73072" y="84324"/>
                  </a:cubicBezTo>
                  <a:cubicBezTo>
                    <a:pt x="73072" y="85405"/>
                    <a:pt x="73072" y="85945"/>
                    <a:pt x="73072" y="85945"/>
                  </a:cubicBezTo>
                  <a:cubicBezTo>
                    <a:pt x="73072" y="87027"/>
                    <a:pt x="73072" y="89189"/>
                    <a:pt x="71731" y="91351"/>
                  </a:cubicBezTo>
                  <a:cubicBezTo>
                    <a:pt x="71061" y="91891"/>
                    <a:pt x="70391" y="91891"/>
                    <a:pt x="69720" y="91891"/>
                  </a:cubicBezTo>
                  <a:cubicBezTo>
                    <a:pt x="68379" y="91891"/>
                    <a:pt x="67709" y="90810"/>
                    <a:pt x="66368" y="87027"/>
                  </a:cubicBezTo>
                  <a:cubicBezTo>
                    <a:pt x="65698" y="87027"/>
                    <a:pt x="65698" y="87567"/>
                    <a:pt x="65027" y="87567"/>
                  </a:cubicBezTo>
                  <a:cubicBezTo>
                    <a:pt x="64357" y="88108"/>
                    <a:pt x="64357" y="88108"/>
                    <a:pt x="63687" y="88648"/>
                  </a:cubicBezTo>
                  <a:cubicBezTo>
                    <a:pt x="62346" y="89189"/>
                    <a:pt x="56983" y="94594"/>
                    <a:pt x="56312" y="96216"/>
                  </a:cubicBezTo>
                  <a:cubicBezTo>
                    <a:pt x="55642" y="97837"/>
                    <a:pt x="50279" y="103243"/>
                    <a:pt x="48268" y="104324"/>
                  </a:cubicBezTo>
                  <a:cubicBezTo>
                    <a:pt x="46927" y="104864"/>
                    <a:pt x="46927" y="104864"/>
                    <a:pt x="46927" y="105405"/>
                  </a:cubicBezTo>
                  <a:cubicBezTo>
                    <a:pt x="46927" y="105405"/>
                    <a:pt x="46927" y="105945"/>
                    <a:pt x="46927" y="105945"/>
                  </a:cubicBezTo>
                  <a:cubicBezTo>
                    <a:pt x="46256" y="108108"/>
                    <a:pt x="44916" y="108648"/>
                    <a:pt x="42234" y="108108"/>
                  </a:cubicBezTo>
                  <a:cubicBezTo>
                    <a:pt x="41564" y="108108"/>
                    <a:pt x="41564" y="108108"/>
                    <a:pt x="40893" y="109189"/>
                  </a:cubicBezTo>
                  <a:cubicBezTo>
                    <a:pt x="40223" y="109729"/>
                    <a:pt x="40223" y="109729"/>
                    <a:pt x="39553" y="110270"/>
                  </a:cubicBezTo>
                  <a:cubicBezTo>
                    <a:pt x="38882" y="110810"/>
                    <a:pt x="38212" y="110810"/>
                    <a:pt x="38212" y="110810"/>
                  </a:cubicBezTo>
                  <a:cubicBezTo>
                    <a:pt x="36201" y="110810"/>
                    <a:pt x="36201" y="109189"/>
                    <a:pt x="35530" y="107567"/>
                  </a:cubicBezTo>
                  <a:cubicBezTo>
                    <a:pt x="35530" y="107027"/>
                    <a:pt x="34860" y="106486"/>
                    <a:pt x="34860" y="105945"/>
                  </a:cubicBezTo>
                  <a:cubicBezTo>
                    <a:pt x="34860" y="105405"/>
                    <a:pt x="32178" y="103243"/>
                    <a:pt x="28826" y="98918"/>
                  </a:cubicBezTo>
                  <a:cubicBezTo>
                    <a:pt x="28156" y="98378"/>
                    <a:pt x="28156" y="98378"/>
                    <a:pt x="28156" y="98378"/>
                  </a:cubicBezTo>
                  <a:cubicBezTo>
                    <a:pt x="27486" y="97837"/>
                    <a:pt x="27486" y="97297"/>
                    <a:pt x="27486" y="96756"/>
                  </a:cubicBezTo>
                  <a:cubicBezTo>
                    <a:pt x="28156" y="95675"/>
                    <a:pt x="29497" y="95135"/>
                    <a:pt x="30837" y="94054"/>
                  </a:cubicBezTo>
                  <a:cubicBezTo>
                    <a:pt x="31508" y="94054"/>
                    <a:pt x="31508" y="94054"/>
                    <a:pt x="31508" y="94054"/>
                  </a:cubicBezTo>
                  <a:cubicBezTo>
                    <a:pt x="32178" y="93513"/>
                    <a:pt x="34189" y="94054"/>
                    <a:pt x="36201" y="94054"/>
                  </a:cubicBezTo>
                  <a:cubicBezTo>
                    <a:pt x="36871" y="94594"/>
                    <a:pt x="37541" y="94594"/>
                    <a:pt x="37541" y="94594"/>
                  </a:cubicBezTo>
                  <a:cubicBezTo>
                    <a:pt x="41564" y="94594"/>
                    <a:pt x="44245" y="94594"/>
                    <a:pt x="44916" y="94054"/>
                  </a:cubicBezTo>
                  <a:cubicBezTo>
                    <a:pt x="45586" y="94054"/>
                    <a:pt x="46256" y="92972"/>
                    <a:pt x="46256" y="91891"/>
                  </a:cubicBezTo>
                  <a:cubicBezTo>
                    <a:pt x="46256" y="91351"/>
                    <a:pt x="46256" y="90810"/>
                    <a:pt x="45586" y="89729"/>
                  </a:cubicBezTo>
                  <a:cubicBezTo>
                    <a:pt x="45586" y="89189"/>
                    <a:pt x="45586" y="88648"/>
                    <a:pt x="45586" y="88108"/>
                  </a:cubicBezTo>
                  <a:cubicBezTo>
                    <a:pt x="44916" y="87027"/>
                    <a:pt x="44916" y="85405"/>
                    <a:pt x="44916" y="84324"/>
                  </a:cubicBezTo>
                  <a:cubicBezTo>
                    <a:pt x="18770" y="81621"/>
                    <a:pt x="18770" y="81621"/>
                    <a:pt x="18770" y="81621"/>
                  </a:cubicBezTo>
                  <a:cubicBezTo>
                    <a:pt x="18100" y="89729"/>
                    <a:pt x="17430" y="100000"/>
                    <a:pt x="18770" y="101621"/>
                  </a:cubicBezTo>
                  <a:cubicBezTo>
                    <a:pt x="20111" y="103243"/>
                    <a:pt x="21452" y="107567"/>
                    <a:pt x="22793" y="110810"/>
                  </a:cubicBezTo>
                  <a:cubicBezTo>
                    <a:pt x="22793" y="110810"/>
                    <a:pt x="25474" y="109189"/>
                    <a:pt x="28826" y="111891"/>
                  </a:cubicBezTo>
                  <a:cubicBezTo>
                    <a:pt x="32849" y="114594"/>
                    <a:pt x="32178" y="117837"/>
                    <a:pt x="35530" y="118378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7" name="Shape 7001">
              <a:extLst>
                <a:ext uri="{FF2B5EF4-FFF2-40B4-BE49-F238E27FC236}">
                  <a16:creationId xmlns:a16="http://schemas.microsoft.com/office/drawing/2014/main" id="{20FCBAA0-FF6E-4BE4-BBFE-76512A88774B}"/>
                </a:ext>
              </a:extLst>
            </p:cNvPr>
            <p:cNvSpPr/>
            <p:nvPr/>
          </p:nvSpPr>
          <p:spPr>
            <a:xfrm>
              <a:off x="713115" y="4149272"/>
              <a:ext cx="435090" cy="474982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600" y="31181"/>
                  </a:moveTo>
                  <a:cubicBezTo>
                    <a:pt x="3733" y="31653"/>
                    <a:pt x="5866" y="33070"/>
                    <a:pt x="7466" y="34488"/>
                  </a:cubicBezTo>
                  <a:cubicBezTo>
                    <a:pt x="9066" y="36377"/>
                    <a:pt x="10666" y="36377"/>
                    <a:pt x="12800" y="36850"/>
                  </a:cubicBezTo>
                  <a:cubicBezTo>
                    <a:pt x="14933" y="37795"/>
                    <a:pt x="20800" y="38740"/>
                    <a:pt x="20266" y="40157"/>
                  </a:cubicBezTo>
                  <a:cubicBezTo>
                    <a:pt x="19200" y="41574"/>
                    <a:pt x="19733" y="46771"/>
                    <a:pt x="17600" y="46771"/>
                  </a:cubicBezTo>
                  <a:cubicBezTo>
                    <a:pt x="15466" y="46299"/>
                    <a:pt x="11200" y="44409"/>
                    <a:pt x="8533" y="43937"/>
                  </a:cubicBezTo>
                  <a:cubicBezTo>
                    <a:pt x="7466" y="43937"/>
                    <a:pt x="5866" y="43464"/>
                    <a:pt x="4266" y="42992"/>
                  </a:cubicBezTo>
                  <a:cubicBezTo>
                    <a:pt x="4266" y="42992"/>
                    <a:pt x="4266" y="42992"/>
                    <a:pt x="4266" y="42992"/>
                  </a:cubicBezTo>
                  <a:cubicBezTo>
                    <a:pt x="3733" y="46299"/>
                    <a:pt x="3200" y="49606"/>
                    <a:pt x="3200" y="50551"/>
                  </a:cubicBezTo>
                  <a:cubicBezTo>
                    <a:pt x="3733" y="51496"/>
                    <a:pt x="5333" y="52913"/>
                    <a:pt x="5866" y="52913"/>
                  </a:cubicBezTo>
                  <a:cubicBezTo>
                    <a:pt x="5866" y="52913"/>
                    <a:pt x="5866" y="52913"/>
                    <a:pt x="5866" y="52913"/>
                  </a:cubicBezTo>
                  <a:cubicBezTo>
                    <a:pt x="6400" y="52913"/>
                    <a:pt x="6933" y="52440"/>
                    <a:pt x="6933" y="52440"/>
                  </a:cubicBezTo>
                  <a:cubicBezTo>
                    <a:pt x="8533" y="51496"/>
                    <a:pt x="10666" y="50551"/>
                    <a:pt x="11733" y="51968"/>
                  </a:cubicBezTo>
                  <a:cubicBezTo>
                    <a:pt x="12266" y="52440"/>
                    <a:pt x="16000" y="55748"/>
                    <a:pt x="18666" y="57637"/>
                  </a:cubicBezTo>
                  <a:cubicBezTo>
                    <a:pt x="20266" y="59055"/>
                    <a:pt x="21333" y="60000"/>
                    <a:pt x="21333" y="60472"/>
                  </a:cubicBezTo>
                  <a:cubicBezTo>
                    <a:pt x="21866" y="60472"/>
                    <a:pt x="22400" y="60944"/>
                    <a:pt x="22400" y="60944"/>
                  </a:cubicBezTo>
                  <a:cubicBezTo>
                    <a:pt x="24000" y="61889"/>
                    <a:pt x="25066" y="62834"/>
                    <a:pt x="25066" y="63779"/>
                  </a:cubicBezTo>
                  <a:cubicBezTo>
                    <a:pt x="25066" y="64251"/>
                    <a:pt x="24533" y="64724"/>
                    <a:pt x="23466" y="64724"/>
                  </a:cubicBezTo>
                  <a:cubicBezTo>
                    <a:pt x="22400" y="65196"/>
                    <a:pt x="21866" y="65196"/>
                    <a:pt x="21333" y="65196"/>
                  </a:cubicBezTo>
                  <a:cubicBezTo>
                    <a:pt x="21333" y="65196"/>
                    <a:pt x="21333" y="65196"/>
                    <a:pt x="21333" y="65196"/>
                  </a:cubicBezTo>
                  <a:cubicBezTo>
                    <a:pt x="21333" y="66141"/>
                    <a:pt x="21333" y="66614"/>
                    <a:pt x="21866" y="67559"/>
                  </a:cubicBezTo>
                  <a:cubicBezTo>
                    <a:pt x="22400" y="68976"/>
                    <a:pt x="22933" y="70866"/>
                    <a:pt x="20800" y="71338"/>
                  </a:cubicBezTo>
                  <a:cubicBezTo>
                    <a:pt x="19200" y="71811"/>
                    <a:pt x="17600" y="72755"/>
                    <a:pt x="17066" y="73700"/>
                  </a:cubicBezTo>
                  <a:cubicBezTo>
                    <a:pt x="17066" y="74173"/>
                    <a:pt x="17066" y="74173"/>
                    <a:pt x="17066" y="74173"/>
                  </a:cubicBezTo>
                  <a:cubicBezTo>
                    <a:pt x="17600" y="75118"/>
                    <a:pt x="18666" y="76062"/>
                    <a:pt x="19200" y="76535"/>
                  </a:cubicBezTo>
                  <a:cubicBezTo>
                    <a:pt x="20266" y="77480"/>
                    <a:pt x="20800" y="77952"/>
                    <a:pt x="21333" y="78897"/>
                  </a:cubicBezTo>
                  <a:cubicBezTo>
                    <a:pt x="21866" y="80314"/>
                    <a:pt x="21866" y="80787"/>
                    <a:pt x="23466" y="81732"/>
                  </a:cubicBezTo>
                  <a:cubicBezTo>
                    <a:pt x="24000" y="81732"/>
                    <a:pt x="24533" y="82204"/>
                    <a:pt x="24533" y="82677"/>
                  </a:cubicBezTo>
                  <a:cubicBezTo>
                    <a:pt x="26133" y="83149"/>
                    <a:pt x="27200" y="83622"/>
                    <a:pt x="27733" y="84566"/>
                  </a:cubicBezTo>
                  <a:cubicBezTo>
                    <a:pt x="27733" y="84566"/>
                    <a:pt x="28266" y="85039"/>
                    <a:pt x="28800" y="85039"/>
                  </a:cubicBezTo>
                  <a:cubicBezTo>
                    <a:pt x="29866" y="85984"/>
                    <a:pt x="30933" y="86456"/>
                    <a:pt x="30933" y="87401"/>
                  </a:cubicBezTo>
                  <a:cubicBezTo>
                    <a:pt x="30933" y="87874"/>
                    <a:pt x="30400" y="88346"/>
                    <a:pt x="29866" y="88818"/>
                  </a:cubicBezTo>
                  <a:cubicBezTo>
                    <a:pt x="29333" y="88818"/>
                    <a:pt x="29333" y="88818"/>
                    <a:pt x="29333" y="88818"/>
                  </a:cubicBezTo>
                  <a:cubicBezTo>
                    <a:pt x="27733" y="89291"/>
                    <a:pt x="27200" y="89763"/>
                    <a:pt x="27200" y="90708"/>
                  </a:cubicBezTo>
                  <a:cubicBezTo>
                    <a:pt x="27733" y="92125"/>
                    <a:pt x="27200" y="94960"/>
                    <a:pt x="27200" y="96850"/>
                  </a:cubicBezTo>
                  <a:cubicBezTo>
                    <a:pt x="28800" y="96377"/>
                    <a:pt x="30933" y="96377"/>
                    <a:pt x="32000" y="97322"/>
                  </a:cubicBezTo>
                  <a:cubicBezTo>
                    <a:pt x="32533" y="97795"/>
                    <a:pt x="32533" y="98267"/>
                    <a:pt x="33066" y="98740"/>
                  </a:cubicBezTo>
                  <a:cubicBezTo>
                    <a:pt x="33066" y="99212"/>
                    <a:pt x="33600" y="99212"/>
                    <a:pt x="33600" y="99685"/>
                  </a:cubicBezTo>
                  <a:cubicBezTo>
                    <a:pt x="37333" y="96377"/>
                    <a:pt x="37333" y="96377"/>
                    <a:pt x="37333" y="96377"/>
                  </a:cubicBezTo>
                  <a:cubicBezTo>
                    <a:pt x="37333" y="95905"/>
                    <a:pt x="37866" y="95905"/>
                    <a:pt x="38400" y="95905"/>
                  </a:cubicBezTo>
                  <a:cubicBezTo>
                    <a:pt x="40000" y="96850"/>
                    <a:pt x="40000" y="96850"/>
                    <a:pt x="40000" y="96850"/>
                  </a:cubicBezTo>
                  <a:cubicBezTo>
                    <a:pt x="42133" y="97322"/>
                    <a:pt x="44266" y="97795"/>
                    <a:pt x="44800" y="97795"/>
                  </a:cubicBezTo>
                  <a:cubicBezTo>
                    <a:pt x="48533" y="97795"/>
                    <a:pt x="49600" y="97795"/>
                    <a:pt x="49600" y="97795"/>
                  </a:cubicBezTo>
                  <a:cubicBezTo>
                    <a:pt x="50133" y="97322"/>
                    <a:pt x="51200" y="94960"/>
                    <a:pt x="51200" y="93070"/>
                  </a:cubicBezTo>
                  <a:cubicBezTo>
                    <a:pt x="51200" y="92125"/>
                    <a:pt x="51733" y="91653"/>
                    <a:pt x="52266" y="91653"/>
                  </a:cubicBezTo>
                  <a:cubicBezTo>
                    <a:pt x="53333" y="91181"/>
                    <a:pt x="54933" y="91653"/>
                    <a:pt x="56533" y="92125"/>
                  </a:cubicBezTo>
                  <a:cubicBezTo>
                    <a:pt x="57066" y="92598"/>
                    <a:pt x="57066" y="92598"/>
                    <a:pt x="57066" y="92598"/>
                  </a:cubicBezTo>
                  <a:cubicBezTo>
                    <a:pt x="59200" y="93070"/>
                    <a:pt x="59200" y="96377"/>
                    <a:pt x="59200" y="98267"/>
                  </a:cubicBezTo>
                  <a:cubicBezTo>
                    <a:pt x="59200" y="98740"/>
                    <a:pt x="59200" y="99212"/>
                    <a:pt x="59200" y="99212"/>
                  </a:cubicBezTo>
                  <a:cubicBezTo>
                    <a:pt x="59200" y="100629"/>
                    <a:pt x="59733" y="102992"/>
                    <a:pt x="60800" y="103937"/>
                  </a:cubicBezTo>
                  <a:cubicBezTo>
                    <a:pt x="61866" y="104881"/>
                    <a:pt x="64000" y="105354"/>
                    <a:pt x="65066" y="105354"/>
                  </a:cubicBezTo>
                  <a:cubicBezTo>
                    <a:pt x="66133" y="105354"/>
                    <a:pt x="67200" y="106771"/>
                    <a:pt x="68800" y="113858"/>
                  </a:cubicBezTo>
                  <a:cubicBezTo>
                    <a:pt x="68800" y="114803"/>
                    <a:pt x="69333" y="115748"/>
                    <a:pt x="69333" y="116220"/>
                  </a:cubicBezTo>
                  <a:cubicBezTo>
                    <a:pt x="69866" y="117165"/>
                    <a:pt x="72000" y="119055"/>
                    <a:pt x="73600" y="119527"/>
                  </a:cubicBezTo>
                  <a:cubicBezTo>
                    <a:pt x="74666" y="120000"/>
                    <a:pt x="74666" y="120000"/>
                    <a:pt x="76266" y="118582"/>
                  </a:cubicBezTo>
                  <a:cubicBezTo>
                    <a:pt x="76800" y="118582"/>
                    <a:pt x="76800" y="118582"/>
                    <a:pt x="76800" y="118582"/>
                  </a:cubicBezTo>
                  <a:cubicBezTo>
                    <a:pt x="78400" y="116692"/>
                    <a:pt x="80000" y="117637"/>
                    <a:pt x="81066" y="118110"/>
                  </a:cubicBezTo>
                  <a:cubicBezTo>
                    <a:pt x="81600" y="118582"/>
                    <a:pt x="82133" y="118582"/>
                    <a:pt x="82133" y="118582"/>
                  </a:cubicBezTo>
                  <a:cubicBezTo>
                    <a:pt x="82666" y="118582"/>
                    <a:pt x="84266" y="117637"/>
                    <a:pt x="88000" y="112913"/>
                  </a:cubicBezTo>
                  <a:cubicBezTo>
                    <a:pt x="88533" y="112913"/>
                    <a:pt x="88533" y="112440"/>
                    <a:pt x="88533" y="112440"/>
                  </a:cubicBezTo>
                  <a:cubicBezTo>
                    <a:pt x="89600" y="111023"/>
                    <a:pt x="91733" y="111023"/>
                    <a:pt x="95466" y="111496"/>
                  </a:cubicBezTo>
                  <a:cubicBezTo>
                    <a:pt x="96533" y="111496"/>
                    <a:pt x="97600" y="111496"/>
                    <a:pt x="98666" y="111496"/>
                  </a:cubicBezTo>
                  <a:cubicBezTo>
                    <a:pt x="99733" y="111496"/>
                    <a:pt x="101333" y="110078"/>
                    <a:pt x="102933" y="109133"/>
                  </a:cubicBezTo>
                  <a:cubicBezTo>
                    <a:pt x="103466" y="108661"/>
                    <a:pt x="104000" y="108188"/>
                    <a:pt x="104533" y="107716"/>
                  </a:cubicBezTo>
                  <a:cubicBezTo>
                    <a:pt x="105066" y="107716"/>
                    <a:pt x="106133" y="105826"/>
                    <a:pt x="106133" y="104881"/>
                  </a:cubicBezTo>
                  <a:cubicBezTo>
                    <a:pt x="107200" y="103464"/>
                    <a:pt x="107200" y="102519"/>
                    <a:pt x="107733" y="102047"/>
                  </a:cubicBezTo>
                  <a:cubicBezTo>
                    <a:pt x="108800" y="101574"/>
                    <a:pt x="108800" y="99685"/>
                    <a:pt x="108800" y="98267"/>
                  </a:cubicBezTo>
                  <a:cubicBezTo>
                    <a:pt x="108800" y="97795"/>
                    <a:pt x="108800" y="97795"/>
                    <a:pt x="108800" y="97322"/>
                  </a:cubicBezTo>
                  <a:cubicBezTo>
                    <a:pt x="108266" y="97322"/>
                    <a:pt x="106666" y="98267"/>
                    <a:pt x="105600" y="98740"/>
                  </a:cubicBezTo>
                  <a:cubicBezTo>
                    <a:pt x="104000" y="99685"/>
                    <a:pt x="101333" y="99212"/>
                    <a:pt x="99733" y="98740"/>
                  </a:cubicBezTo>
                  <a:cubicBezTo>
                    <a:pt x="97600" y="98267"/>
                    <a:pt x="98133" y="95433"/>
                    <a:pt x="98133" y="93070"/>
                  </a:cubicBezTo>
                  <a:cubicBezTo>
                    <a:pt x="98133" y="92598"/>
                    <a:pt x="98133" y="92125"/>
                    <a:pt x="98133" y="91653"/>
                  </a:cubicBezTo>
                  <a:cubicBezTo>
                    <a:pt x="97066" y="90708"/>
                    <a:pt x="91733" y="85984"/>
                    <a:pt x="90666" y="85039"/>
                  </a:cubicBezTo>
                  <a:cubicBezTo>
                    <a:pt x="90133" y="84094"/>
                    <a:pt x="89600" y="82204"/>
                    <a:pt x="89066" y="78897"/>
                  </a:cubicBezTo>
                  <a:cubicBezTo>
                    <a:pt x="89066" y="78425"/>
                    <a:pt x="89066" y="77952"/>
                    <a:pt x="89066" y="77952"/>
                  </a:cubicBezTo>
                  <a:cubicBezTo>
                    <a:pt x="88533" y="76062"/>
                    <a:pt x="90666" y="73700"/>
                    <a:pt x="91200" y="72755"/>
                  </a:cubicBezTo>
                  <a:cubicBezTo>
                    <a:pt x="91733" y="72283"/>
                    <a:pt x="91733" y="69921"/>
                    <a:pt x="91200" y="67086"/>
                  </a:cubicBezTo>
                  <a:cubicBezTo>
                    <a:pt x="90666" y="66614"/>
                    <a:pt x="88000" y="65196"/>
                    <a:pt x="86400" y="64724"/>
                  </a:cubicBezTo>
                  <a:cubicBezTo>
                    <a:pt x="85333" y="63779"/>
                    <a:pt x="84266" y="63307"/>
                    <a:pt x="83733" y="62834"/>
                  </a:cubicBezTo>
                  <a:cubicBezTo>
                    <a:pt x="83200" y="62362"/>
                    <a:pt x="83200" y="61889"/>
                    <a:pt x="83200" y="61417"/>
                  </a:cubicBezTo>
                  <a:cubicBezTo>
                    <a:pt x="83200" y="60000"/>
                    <a:pt x="84266" y="59055"/>
                    <a:pt x="85866" y="57637"/>
                  </a:cubicBezTo>
                  <a:cubicBezTo>
                    <a:pt x="85866" y="57165"/>
                    <a:pt x="86400" y="57165"/>
                    <a:pt x="86400" y="56692"/>
                  </a:cubicBezTo>
                  <a:cubicBezTo>
                    <a:pt x="86933" y="56220"/>
                    <a:pt x="87466" y="54330"/>
                    <a:pt x="87466" y="53385"/>
                  </a:cubicBezTo>
                  <a:cubicBezTo>
                    <a:pt x="87466" y="51968"/>
                    <a:pt x="89600" y="51496"/>
                    <a:pt x="92800" y="50551"/>
                  </a:cubicBezTo>
                  <a:cubicBezTo>
                    <a:pt x="93333" y="50551"/>
                    <a:pt x="93866" y="50078"/>
                    <a:pt x="94400" y="50078"/>
                  </a:cubicBezTo>
                  <a:cubicBezTo>
                    <a:pt x="96000" y="49606"/>
                    <a:pt x="97600" y="51023"/>
                    <a:pt x="99733" y="52913"/>
                  </a:cubicBezTo>
                  <a:cubicBezTo>
                    <a:pt x="100266" y="53385"/>
                    <a:pt x="100800" y="54330"/>
                    <a:pt x="100800" y="54330"/>
                  </a:cubicBezTo>
                  <a:cubicBezTo>
                    <a:pt x="101866" y="54330"/>
                    <a:pt x="105600" y="53858"/>
                    <a:pt x="106666" y="52913"/>
                  </a:cubicBezTo>
                  <a:cubicBezTo>
                    <a:pt x="106666" y="52913"/>
                    <a:pt x="108266" y="51023"/>
                    <a:pt x="110933" y="45354"/>
                  </a:cubicBezTo>
                  <a:cubicBezTo>
                    <a:pt x="111466" y="44881"/>
                    <a:pt x="111466" y="44881"/>
                    <a:pt x="111466" y="44881"/>
                  </a:cubicBezTo>
                  <a:cubicBezTo>
                    <a:pt x="112000" y="43464"/>
                    <a:pt x="109866" y="35905"/>
                    <a:pt x="109333" y="34488"/>
                  </a:cubicBezTo>
                  <a:cubicBezTo>
                    <a:pt x="108800" y="33070"/>
                    <a:pt x="109866" y="31181"/>
                    <a:pt x="115733" y="25984"/>
                  </a:cubicBezTo>
                  <a:cubicBezTo>
                    <a:pt x="116266" y="25511"/>
                    <a:pt x="117333" y="25039"/>
                    <a:pt x="117333" y="24566"/>
                  </a:cubicBezTo>
                  <a:cubicBezTo>
                    <a:pt x="117866" y="24094"/>
                    <a:pt x="119466" y="19370"/>
                    <a:pt x="120000" y="17952"/>
                  </a:cubicBezTo>
                  <a:cubicBezTo>
                    <a:pt x="120000" y="17480"/>
                    <a:pt x="116800" y="13228"/>
                    <a:pt x="115200" y="11811"/>
                  </a:cubicBezTo>
                  <a:cubicBezTo>
                    <a:pt x="114666" y="10866"/>
                    <a:pt x="114133" y="8503"/>
                    <a:pt x="114133" y="7559"/>
                  </a:cubicBezTo>
                  <a:cubicBezTo>
                    <a:pt x="113600" y="7559"/>
                    <a:pt x="112533" y="7559"/>
                    <a:pt x="111466" y="7559"/>
                  </a:cubicBezTo>
                  <a:cubicBezTo>
                    <a:pt x="109866" y="7086"/>
                    <a:pt x="107200" y="7086"/>
                    <a:pt x="106666" y="7559"/>
                  </a:cubicBezTo>
                  <a:cubicBezTo>
                    <a:pt x="105600" y="8976"/>
                    <a:pt x="101866" y="10393"/>
                    <a:pt x="100266" y="10393"/>
                  </a:cubicBezTo>
                  <a:cubicBezTo>
                    <a:pt x="99200" y="10393"/>
                    <a:pt x="98133" y="9921"/>
                    <a:pt x="97066" y="8976"/>
                  </a:cubicBezTo>
                  <a:cubicBezTo>
                    <a:pt x="96533" y="8503"/>
                    <a:pt x="95466" y="7559"/>
                    <a:pt x="94400" y="7559"/>
                  </a:cubicBezTo>
                  <a:cubicBezTo>
                    <a:pt x="91733" y="7559"/>
                    <a:pt x="86933" y="7559"/>
                    <a:pt x="86933" y="4724"/>
                  </a:cubicBezTo>
                  <a:cubicBezTo>
                    <a:pt x="86933" y="3779"/>
                    <a:pt x="86400" y="0"/>
                    <a:pt x="84800" y="0"/>
                  </a:cubicBezTo>
                  <a:cubicBezTo>
                    <a:pt x="84800" y="0"/>
                    <a:pt x="84266" y="0"/>
                    <a:pt x="84266" y="0"/>
                  </a:cubicBezTo>
                  <a:cubicBezTo>
                    <a:pt x="84266" y="0"/>
                    <a:pt x="84266" y="472"/>
                    <a:pt x="84266" y="472"/>
                  </a:cubicBezTo>
                  <a:cubicBezTo>
                    <a:pt x="83200" y="1889"/>
                    <a:pt x="81066" y="7559"/>
                    <a:pt x="80000" y="8031"/>
                  </a:cubicBezTo>
                  <a:cubicBezTo>
                    <a:pt x="78400" y="8031"/>
                    <a:pt x="66133" y="8976"/>
                    <a:pt x="66133" y="10866"/>
                  </a:cubicBezTo>
                  <a:cubicBezTo>
                    <a:pt x="66133" y="12283"/>
                    <a:pt x="67733" y="15118"/>
                    <a:pt x="65600" y="15118"/>
                  </a:cubicBezTo>
                  <a:cubicBezTo>
                    <a:pt x="64000" y="15118"/>
                    <a:pt x="63466" y="14645"/>
                    <a:pt x="61333" y="15590"/>
                  </a:cubicBezTo>
                  <a:cubicBezTo>
                    <a:pt x="59733" y="16535"/>
                    <a:pt x="55466" y="17952"/>
                    <a:pt x="56000" y="19842"/>
                  </a:cubicBezTo>
                  <a:cubicBezTo>
                    <a:pt x="56000" y="22204"/>
                    <a:pt x="58133" y="26929"/>
                    <a:pt x="56533" y="27401"/>
                  </a:cubicBezTo>
                  <a:cubicBezTo>
                    <a:pt x="54933" y="27874"/>
                    <a:pt x="48000" y="32598"/>
                    <a:pt x="46933" y="33543"/>
                  </a:cubicBezTo>
                  <a:cubicBezTo>
                    <a:pt x="45866" y="34488"/>
                    <a:pt x="43733" y="36377"/>
                    <a:pt x="41600" y="35433"/>
                  </a:cubicBezTo>
                  <a:cubicBezTo>
                    <a:pt x="40000" y="34488"/>
                    <a:pt x="30400" y="22204"/>
                    <a:pt x="28266" y="23149"/>
                  </a:cubicBezTo>
                  <a:cubicBezTo>
                    <a:pt x="26133" y="24094"/>
                    <a:pt x="22933" y="25984"/>
                    <a:pt x="20266" y="25039"/>
                  </a:cubicBezTo>
                  <a:cubicBezTo>
                    <a:pt x="17600" y="24094"/>
                    <a:pt x="14933" y="23149"/>
                    <a:pt x="13333" y="23149"/>
                  </a:cubicBezTo>
                  <a:cubicBezTo>
                    <a:pt x="11733" y="23149"/>
                    <a:pt x="8000" y="24566"/>
                    <a:pt x="6933" y="25511"/>
                  </a:cubicBezTo>
                  <a:cubicBezTo>
                    <a:pt x="5333" y="26456"/>
                    <a:pt x="0" y="30708"/>
                    <a:pt x="1600" y="31181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8" name="Shape 7002">
              <a:extLst>
                <a:ext uri="{FF2B5EF4-FFF2-40B4-BE49-F238E27FC236}">
                  <a16:creationId xmlns:a16="http://schemas.microsoft.com/office/drawing/2014/main" id="{1284567D-58D5-4CEE-A345-FC602F89B65E}"/>
                </a:ext>
              </a:extLst>
            </p:cNvPr>
            <p:cNvSpPr/>
            <p:nvPr/>
          </p:nvSpPr>
          <p:spPr>
            <a:xfrm>
              <a:off x="728550" y="4880877"/>
              <a:ext cx="150495" cy="13250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69230" y="99718"/>
                  </a:moveTo>
                  <a:cubicBezTo>
                    <a:pt x="69230" y="98028"/>
                    <a:pt x="70769" y="98028"/>
                    <a:pt x="72307" y="98028"/>
                  </a:cubicBezTo>
                  <a:cubicBezTo>
                    <a:pt x="72307" y="98028"/>
                    <a:pt x="80000" y="98028"/>
                    <a:pt x="86153" y="98028"/>
                  </a:cubicBezTo>
                  <a:cubicBezTo>
                    <a:pt x="86153" y="98028"/>
                    <a:pt x="86153" y="96338"/>
                    <a:pt x="86153" y="96338"/>
                  </a:cubicBezTo>
                  <a:cubicBezTo>
                    <a:pt x="84615" y="92957"/>
                    <a:pt x="84615" y="91267"/>
                    <a:pt x="84615" y="87887"/>
                  </a:cubicBezTo>
                  <a:cubicBezTo>
                    <a:pt x="84615" y="84507"/>
                    <a:pt x="83076" y="79436"/>
                    <a:pt x="83076" y="76056"/>
                  </a:cubicBezTo>
                  <a:cubicBezTo>
                    <a:pt x="81538" y="72676"/>
                    <a:pt x="81538" y="70985"/>
                    <a:pt x="81538" y="67605"/>
                  </a:cubicBezTo>
                  <a:cubicBezTo>
                    <a:pt x="81538" y="65915"/>
                    <a:pt x="83076" y="45633"/>
                    <a:pt x="86153" y="42253"/>
                  </a:cubicBezTo>
                  <a:cubicBezTo>
                    <a:pt x="89230" y="38873"/>
                    <a:pt x="95384" y="37183"/>
                    <a:pt x="101538" y="35492"/>
                  </a:cubicBezTo>
                  <a:cubicBezTo>
                    <a:pt x="103076" y="35492"/>
                    <a:pt x="103076" y="35492"/>
                    <a:pt x="103076" y="35492"/>
                  </a:cubicBezTo>
                  <a:cubicBezTo>
                    <a:pt x="104615" y="33802"/>
                    <a:pt x="115384" y="32112"/>
                    <a:pt x="120000" y="32112"/>
                  </a:cubicBezTo>
                  <a:cubicBezTo>
                    <a:pt x="118461" y="25352"/>
                    <a:pt x="118461" y="18591"/>
                    <a:pt x="116923" y="16901"/>
                  </a:cubicBezTo>
                  <a:cubicBezTo>
                    <a:pt x="116923" y="15211"/>
                    <a:pt x="107692" y="8450"/>
                    <a:pt x="100000" y="0"/>
                  </a:cubicBezTo>
                  <a:cubicBezTo>
                    <a:pt x="98461" y="1690"/>
                    <a:pt x="96923" y="5070"/>
                    <a:pt x="96923" y="5070"/>
                  </a:cubicBezTo>
                  <a:cubicBezTo>
                    <a:pt x="96923" y="11830"/>
                    <a:pt x="95384" y="15211"/>
                    <a:pt x="93846" y="20281"/>
                  </a:cubicBezTo>
                  <a:cubicBezTo>
                    <a:pt x="92307" y="25352"/>
                    <a:pt x="86153" y="30422"/>
                    <a:pt x="81538" y="30422"/>
                  </a:cubicBezTo>
                  <a:cubicBezTo>
                    <a:pt x="78461" y="30422"/>
                    <a:pt x="76923" y="30422"/>
                    <a:pt x="75384" y="30422"/>
                  </a:cubicBezTo>
                  <a:cubicBezTo>
                    <a:pt x="72307" y="30422"/>
                    <a:pt x="67692" y="28732"/>
                    <a:pt x="66153" y="30422"/>
                  </a:cubicBezTo>
                  <a:cubicBezTo>
                    <a:pt x="66153" y="30422"/>
                    <a:pt x="66153" y="32112"/>
                    <a:pt x="64615" y="32112"/>
                  </a:cubicBezTo>
                  <a:cubicBezTo>
                    <a:pt x="63076" y="35492"/>
                    <a:pt x="60000" y="38873"/>
                    <a:pt x="56923" y="38873"/>
                  </a:cubicBezTo>
                  <a:cubicBezTo>
                    <a:pt x="55384" y="38873"/>
                    <a:pt x="53846" y="38873"/>
                    <a:pt x="52307" y="37183"/>
                  </a:cubicBezTo>
                  <a:cubicBezTo>
                    <a:pt x="47692" y="33802"/>
                    <a:pt x="40000" y="28732"/>
                    <a:pt x="38461" y="27042"/>
                  </a:cubicBezTo>
                  <a:cubicBezTo>
                    <a:pt x="38461" y="28732"/>
                    <a:pt x="36923" y="28732"/>
                    <a:pt x="36923" y="28732"/>
                  </a:cubicBezTo>
                  <a:cubicBezTo>
                    <a:pt x="30769" y="35492"/>
                    <a:pt x="26153" y="38873"/>
                    <a:pt x="21538" y="37183"/>
                  </a:cubicBezTo>
                  <a:cubicBezTo>
                    <a:pt x="18461" y="35492"/>
                    <a:pt x="15384" y="33802"/>
                    <a:pt x="13846" y="33802"/>
                  </a:cubicBezTo>
                  <a:cubicBezTo>
                    <a:pt x="10769" y="35492"/>
                    <a:pt x="3076" y="38873"/>
                    <a:pt x="0" y="38873"/>
                  </a:cubicBezTo>
                  <a:cubicBezTo>
                    <a:pt x="0" y="38873"/>
                    <a:pt x="0" y="38873"/>
                    <a:pt x="0" y="38873"/>
                  </a:cubicBezTo>
                  <a:cubicBezTo>
                    <a:pt x="0" y="43943"/>
                    <a:pt x="0" y="65915"/>
                    <a:pt x="6153" y="76056"/>
                  </a:cubicBezTo>
                  <a:cubicBezTo>
                    <a:pt x="41538" y="60845"/>
                    <a:pt x="41538" y="60845"/>
                    <a:pt x="41538" y="60845"/>
                  </a:cubicBezTo>
                  <a:cubicBezTo>
                    <a:pt x="43076" y="59154"/>
                    <a:pt x="46153" y="60845"/>
                    <a:pt x="46153" y="62535"/>
                  </a:cubicBezTo>
                  <a:cubicBezTo>
                    <a:pt x="46153" y="64225"/>
                    <a:pt x="46153" y="65915"/>
                    <a:pt x="44615" y="65915"/>
                  </a:cubicBezTo>
                  <a:cubicBezTo>
                    <a:pt x="10769" y="81126"/>
                    <a:pt x="10769" y="81126"/>
                    <a:pt x="10769" y="81126"/>
                  </a:cubicBezTo>
                  <a:cubicBezTo>
                    <a:pt x="15384" y="86197"/>
                    <a:pt x="16923" y="86197"/>
                    <a:pt x="23076" y="89577"/>
                  </a:cubicBezTo>
                  <a:cubicBezTo>
                    <a:pt x="30769" y="92957"/>
                    <a:pt x="40000" y="94647"/>
                    <a:pt x="46153" y="99718"/>
                  </a:cubicBezTo>
                  <a:cubicBezTo>
                    <a:pt x="49230" y="104788"/>
                    <a:pt x="53846" y="114929"/>
                    <a:pt x="56923" y="120000"/>
                  </a:cubicBezTo>
                  <a:lnTo>
                    <a:pt x="69230" y="99718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9" name="Shape 7003">
              <a:extLst>
                <a:ext uri="{FF2B5EF4-FFF2-40B4-BE49-F238E27FC236}">
                  <a16:creationId xmlns:a16="http://schemas.microsoft.com/office/drawing/2014/main" id="{1410D9F7-8215-4C72-8A31-41F609D66E07}"/>
                </a:ext>
              </a:extLst>
            </p:cNvPr>
            <p:cNvSpPr/>
            <p:nvPr/>
          </p:nvSpPr>
          <p:spPr>
            <a:xfrm>
              <a:off x="830811" y="4846351"/>
              <a:ext cx="261440" cy="449786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1111" y="28500"/>
                  </a:moveTo>
                  <a:cubicBezTo>
                    <a:pt x="108444" y="27500"/>
                    <a:pt x="108444" y="25500"/>
                    <a:pt x="109333" y="23000"/>
                  </a:cubicBezTo>
                  <a:cubicBezTo>
                    <a:pt x="109333" y="21000"/>
                    <a:pt x="112000" y="20500"/>
                    <a:pt x="113777" y="20000"/>
                  </a:cubicBezTo>
                  <a:cubicBezTo>
                    <a:pt x="113777" y="19500"/>
                    <a:pt x="113777" y="19500"/>
                    <a:pt x="113777" y="19500"/>
                  </a:cubicBezTo>
                  <a:cubicBezTo>
                    <a:pt x="113777" y="19500"/>
                    <a:pt x="113777" y="19500"/>
                    <a:pt x="113777" y="19500"/>
                  </a:cubicBezTo>
                  <a:cubicBezTo>
                    <a:pt x="113777" y="19500"/>
                    <a:pt x="114666" y="14000"/>
                    <a:pt x="114666" y="13000"/>
                  </a:cubicBezTo>
                  <a:cubicBezTo>
                    <a:pt x="114666" y="12000"/>
                    <a:pt x="113777" y="9000"/>
                    <a:pt x="112888" y="8500"/>
                  </a:cubicBezTo>
                  <a:cubicBezTo>
                    <a:pt x="112000" y="8000"/>
                    <a:pt x="109333" y="7500"/>
                    <a:pt x="108444" y="7500"/>
                  </a:cubicBezTo>
                  <a:cubicBezTo>
                    <a:pt x="107555" y="7000"/>
                    <a:pt x="106666" y="7000"/>
                    <a:pt x="106666" y="7000"/>
                  </a:cubicBezTo>
                  <a:cubicBezTo>
                    <a:pt x="104000" y="6500"/>
                    <a:pt x="103111" y="5500"/>
                    <a:pt x="101333" y="3500"/>
                  </a:cubicBezTo>
                  <a:cubicBezTo>
                    <a:pt x="100444" y="2500"/>
                    <a:pt x="96888" y="1500"/>
                    <a:pt x="95111" y="1000"/>
                  </a:cubicBezTo>
                  <a:cubicBezTo>
                    <a:pt x="94222" y="500"/>
                    <a:pt x="93333" y="500"/>
                    <a:pt x="93333" y="0"/>
                  </a:cubicBezTo>
                  <a:cubicBezTo>
                    <a:pt x="89777" y="1500"/>
                    <a:pt x="79111" y="4500"/>
                    <a:pt x="75555" y="5000"/>
                  </a:cubicBezTo>
                  <a:cubicBezTo>
                    <a:pt x="71111" y="5500"/>
                    <a:pt x="67555" y="4500"/>
                    <a:pt x="66666" y="3500"/>
                  </a:cubicBezTo>
                  <a:cubicBezTo>
                    <a:pt x="65777" y="3500"/>
                    <a:pt x="64888" y="4000"/>
                    <a:pt x="64000" y="5500"/>
                  </a:cubicBezTo>
                  <a:cubicBezTo>
                    <a:pt x="63111" y="6500"/>
                    <a:pt x="63111" y="6500"/>
                    <a:pt x="64000" y="6500"/>
                  </a:cubicBezTo>
                  <a:cubicBezTo>
                    <a:pt x="64000" y="7000"/>
                    <a:pt x="64888" y="7500"/>
                    <a:pt x="64888" y="8000"/>
                  </a:cubicBezTo>
                  <a:cubicBezTo>
                    <a:pt x="64888" y="9500"/>
                    <a:pt x="62222" y="10500"/>
                    <a:pt x="59555" y="11000"/>
                  </a:cubicBezTo>
                  <a:cubicBezTo>
                    <a:pt x="57777" y="11500"/>
                    <a:pt x="56000" y="11500"/>
                    <a:pt x="53333" y="11500"/>
                  </a:cubicBezTo>
                  <a:cubicBezTo>
                    <a:pt x="54222" y="12500"/>
                    <a:pt x="56888" y="14500"/>
                    <a:pt x="57777" y="15000"/>
                  </a:cubicBezTo>
                  <a:cubicBezTo>
                    <a:pt x="58666" y="15500"/>
                    <a:pt x="59555" y="15500"/>
                    <a:pt x="59555" y="16000"/>
                  </a:cubicBezTo>
                  <a:cubicBezTo>
                    <a:pt x="59555" y="17500"/>
                    <a:pt x="57777" y="18500"/>
                    <a:pt x="56000" y="19500"/>
                  </a:cubicBezTo>
                  <a:cubicBezTo>
                    <a:pt x="56000" y="20000"/>
                    <a:pt x="55111" y="20000"/>
                    <a:pt x="55111" y="20500"/>
                  </a:cubicBezTo>
                  <a:cubicBezTo>
                    <a:pt x="57777" y="21500"/>
                    <a:pt x="64000" y="24000"/>
                    <a:pt x="65777" y="26000"/>
                  </a:cubicBezTo>
                  <a:cubicBezTo>
                    <a:pt x="66666" y="27500"/>
                    <a:pt x="71111" y="30500"/>
                    <a:pt x="72000" y="31000"/>
                  </a:cubicBezTo>
                  <a:cubicBezTo>
                    <a:pt x="72000" y="31000"/>
                    <a:pt x="73777" y="31000"/>
                    <a:pt x="75555" y="31000"/>
                  </a:cubicBezTo>
                  <a:cubicBezTo>
                    <a:pt x="80000" y="31000"/>
                    <a:pt x="85333" y="31000"/>
                    <a:pt x="85333" y="33000"/>
                  </a:cubicBezTo>
                  <a:cubicBezTo>
                    <a:pt x="86222" y="34000"/>
                    <a:pt x="86222" y="34000"/>
                    <a:pt x="86222" y="34000"/>
                  </a:cubicBezTo>
                  <a:cubicBezTo>
                    <a:pt x="87111" y="39000"/>
                    <a:pt x="88000" y="41500"/>
                    <a:pt x="84444" y="42000"/>
                  </a:cubicBezTo>
                  <a:cubicBezTo>
                    <a:pt x="80888" y="42500"/>
                    <a:pt x="72000" y="44000"/>
                    <a:pt x="70222" y="45000"/>
                  </a:cubicBezTo>
                  <a:cubicBezTo>
                    <a:pt x="58666" y="51500"/>
                    <a:pt x="57777" y="53000"/>
                    <a:pt x="57777" y="53000"/>
                  </a:cubicBezTo>
                  <a:cubicBezTo>
                    <a:pt x="57777" y="54000"/>
                    <a:pt x="56000" y="60000"/>
                    <a:pt x="52444" y="61000"/>
                  </a:cubicBezTo>
                  <a:cubicBezTo>
                    <a:pt x="52444" y="61500"/>
                    <a:pt x="51555" y="61500"/>
                    <a:pt x="50666" y="61500"/>
                  </a:cubicBezTo>
                  <a:cubicBezTo>
                    <a:pt x="49777" y="61000"/>
                    <a:pt x="48000" y="60500"/>
                    <a:pt x="47111" y="60000"/>
                  </a:cubicBezTo>
                  <a:cubicBezTo>
                    <a:pt x="46222" y="59500"/>
                    <a:pt x="43555" y="59000"/>
                    <a:pt x="42666" y="59000"/>
                  </a:cubicBezTo>
                  <a:cubicBezTo>
                    <a:pt x="41777" y="59500"/>
                    <a:pt x="33777" y="61500"/>
                    <a:pt x="32000" y="61500"/>
                  </a:cubicBezTo>
                  <a:cubicBezTo>
                    <a:pt x="32000" y="61500"/>
                    <a:pt x="31111" y="61500"/>
                    <a:pt x="30222" y="61500"/>
                  </a:cubicBezTo>
                  <a:cubicBezTo>
                    <a:pt x="28444" y="61500"/>
                    <a:pt x="24888" y="61000"/>
                    <a:pt x="24000" y="61500"/>
                  </a:cubicBezTo>
                  <a:cubicBezTo>
                    <a:pt x="24000" y="61500"/>
                    <a:pt x="23111" y="62000"/>
                    <a:pt x="22222" y="62500"/>
                  </a:cubicBezTo>
                  <a:cubicBezTo>
                    <a:pt x="20444" y="63500"/>
                    <a:pt x="17777" y="64500"/>
                    <a:pt x="16000" y="64500"/>
                  </a:cubicBezTo>
                  <a:cubicBezTo>
                    <a:pt x="13333" y="64500"/>
                    <a:pt x="5333" y="65000"/>
                    <a:pt x="5333" y="65000"/>
                  </a:cubicBezTo>
                  <a:cubicBezTo>
                    <a:pt x="5333" y="65000"/>
                    <a:pt x="5333" y="65000"/>
                    <a:pt x="4444" y="65000"/>
                  </a:cubicBezTo>
                  <a:cubicBezTo>
                    <a:pt x="4444" y="65000"/>
                    <a:pt x="4444" y="65000"/>
                    <a:pt x="3555" y="65000"/>
                  </a:cubicBezTo>
                  <a:cubicBezTo>
                    <a:pt x="1777" y="67000"/>
                    <a:pt x="0" y="69000"/>
                    <a:pt x="1777" y="69500"/>
                  </a:cubicBezTo>
                  <a:cubicBezTo>
                    <a:pt x="3555" y="71500"/>
                    <a:pt x="13333" y="78000"/>
                    <a:pt x="13333" y="79000"/>
                  </a:cubicBezTo>
                  <a:cubicBezTo>
                    <a:pt x="13333" y="80500"/>
                    <a:pt x="13333" y="86500"/>
                    <a:pt x="16888" y="87500"/>
                  </a:cubicBezTo>
                  <a:cubicBezTo>
                    <a:pt x="19555" y="89000"/>
                    <a:pt x="24888" y="89000"/>
                    <a:pt x="24888" y="92500"/>
                  </a:cubicBezTo>
                  <a:cubicBezTo>
                    <a:pt x="24888" y="96000"/>
                    <a:pt x="26666" y="101500"/>
                    <a:pt x="28444" y="104500"/>
                  </a:cubicBezTo>
                  <a:cubicBezTo>
                    <a:pt x="31111" y="107500"/>
                    <a:pt x="32888" y="117500"/>
                    <a:pt x="36444" y="118500"/>
                  </a:cubicBezTo>
                  <a:cubicBezTo>
                    <a:pt x="39111" y="119000"/>
                    <a:pt x="46222" y="119000"/>
                    <a:pt x="50666" y="119000"/>
                  </a:cubicBezTo>
                  <a:cubicBezTo>
                    <a:pt x="54222" y="119000"/>
                    <a:pt x="60444" y="117000"/>
                    <a:pt x="62222" y="118000"/>
                  </a:cubicBezTo>
                  <a:cubicBezTo>
                    <a:pt x="64000" y="118500"/>
                    <a:pt x="69333" y="120000"/>
                    <a:pt x="72888" y="119000"/>
                  </a:cubicBezTo>
                  <a:cubicBezTo>
                    <a:pt x="75555" y="118500"/>
                    <a:pt x="82666" y="116500"/>
                    <a:pt x="82666" y="116500"/>
                  </a:cubicBezTo>
                  <a:cubicBezTo>
                    <a:pt x="88000" y="115000"/>
                    <a:pt x="88000" y="115000"/>
                    <a:pt x="88000" y="115000"/>
                  </a:cubicBezTo>
                  <a:cubicBezTo>
                    <a:pt x="87111" y="113000"/>
                    <a:pt x="87111" y="108000"/>
                    <a:pt x="87111" y="106000"/>
                  </a:cubicBezTo>
                  <a:cubicBezTo>
                    <a:pt x="87111" y="103500"/>
                    <a:pt x="88888" y="98500"/>
                    <a:pt x="88888" y="96000"/>
                  </a:cubicBezTo>
                  <a:cubicBezTo>
                    <a:pt x="88888" y="93500"/>
                    <a:pt x="88888" y="93000"/>
                    <a:pt x="88000" y="89500"/>
                  </a:cubicBezTo>
                  <a:cubicBezTo>
                    <a:pt x="87111" y="85500"/>
                    <a:pt x="84444" y="76000"/>
                    <a:pt x="84444" y="74000"/>
                  </a:cubicBezTo>
                  <a:cubicBezTo>
                    <a:pt x="84444" y="72000"/>
                    <a:pt x="102222" y="60000"/>
                    <a:pt x="104888" y="58500"/>
                  </a:cubicBezTo>
                  <a:cubicBezTo>
                    <a:pt x="106666" y="57000"/>
                    <a:pt x="105777" y="56000"/>
                    <a:pt x="105777" y="54500"/>
                  </a:cubicBezTo>
                  <a:cubicBezTo>
                    <a:pt x="105777" y="53000"/>
                    <a:pt x="109333" y="52000"/>
                    <a:pt x="112888" y="51000"/>
                  </a:cubicBezTo>
                  <a:cubicBezTo>
                    <a:pt x="115555" y="49500"/>
                    <a:pt x="118222" y="42000"/>
                    <a:pt x="119111" y="39000"/>
                  </a:cubicBezTo>
                  <a:cubicBezTo>
                    <a:pt x="120000" y="36000"/>
                    <a:pt x="114666" y="30000"/>
                    <a:pt x="111111" y="28500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0" name="Shape 7004">
              <a:extLst>
                <a:ext uri="{FF2B5EF4-FFF2-40B4-BE49-F238E27FC236}">
                  <a16:creationId xmlns:a16="http://schemas.microsoft.com/office/drawing/2014/main" id="{72877C9B-9135-4662-830A-723FA2C4A871}"/>
                </a:ext>
              </a:extLst>
            </p:cNvPr>
            <p:cNvSpPr/>
            <p:nvPr/>
          </p:nvSpPr>
          <p:spPr>
            <a:xfrm>
              <a:off x="680314" y="4805290"/>
              <a:ext cx="173649" cy="11291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54666" y="116000"/>
                  </a:moveTo>
                  <a:cubicBezTo>
                    <a:pt x="56000" y="116000"/>
                    <a:pt x="60000" y="110000"/>
                    <a:pt x="61333" y="108000"/>
                  </a:cubicBezTo>
                  <a:cubicBezTo>
                    <a:pt x="62666" y="108000"/>
                    <a:pt x="62666" y="106000"/>
                    <a:pt x="64000" y="106000"/>
                  </a:cubicBezTo>
                  <a:cubicBezTo>
                    <a:pt x="69333" y="100000"/>
                    <a:pt x="81333" y="118000"/>
                    <a:pt x="81333" y="118000"/>
                  </a:cubicBezTo>
                  <a:cubicBezTo>
                    <a:pt x="82666" y="118000"/>
                    <a:pt x="84000" y="114000"/>
                    <a:pt x="85333" y="114000"/>
                  </a:cubicBezTo>
                  <a:cubicBezTo>
                    <a:pt x="86666" y="112000"/>
                    <a:pt x="86666" y="110000"/>
                    <a:pt x="88000" y="110000"/>
                  </a:cubicBezTo>
                  <a:cubicBezTo>
                    <a:pt x="90666" y="106000"/>
                    <a:pt x="94666" y="108000"/>
                    <a:pt x="98666" y="108000"/>
                  </a:cubicBezTo>
                  <a:cubicBezTo>
                    <a:pt x="101333" y="108000"/>
                    <a:pt x="102666" y="108000"/>
                    <a:pt x="104000" y="108000"/>
                  </a:cubicBezTo>
                  <a:cubicBezTo>
                    <a:pt x="105333" y="108000"/>
                    <a:pt x="108000" y="104000"/>
                    <a:pt x="109333" y="100000"/>
                  </a:cubicBezTo>
                  <a:cubicBezTo>
                    <a:pt x="110666" y="96000"/>
                    <a:pt x="112000" y="92000"/>
                    <a:pt x="112000" y="86000"/>
                  </a:cubicBezTo>
                  <a:cubicBezTo>
                    <a:pt x="112000" y="82000"/>
                    <a:pt x="114666" y="78000"/>
                    <a:pt x="117333" y="74000"/>
                  </a:cubicBezTo>
                  <a:cubicBezTo>
                    <a:pt x="117333" y="74000"/>
                    <a:pt x="117333" y="72000"/>
                    <a:pt x="117333" y="72000"/>
                  </a:cubicBezTo>
                  <a:cubicBezTo>
                    <a:pt x="117333" y="72000"/>
                    <a:pt x="117333" y="72000"/>
                    <a:pt x="118666" y="72000"/>
                  </a:cubicBezTo>
                  <a:cubicBezTo>
                    <a:pt x="118666" y="70000"/>
                    <a:pt x="120000" y="68000"/>
                    <a:pt x="120000" y="68000"/>
                  </a:cubicBezTo>
                  <a:cubicBezTo>
                    <a:pt x="120000" y="66000"/>
                    <a:pt x="116000" y="64000"/>
                    <a:pt x="114666" y="64000"/>
                  </a:cubicBezTo>
                  <a:cubicBezTo>
                    <a:pt x="114666" y="62000"/>
                    <a:pt x="113333" y="62000"/>
                    <a:pt x="112000" y="62000"/>
                  </a:cubicBezTo>
                  <a:cubicBezTo>
                    <a:pt x="110666" y="60000"/>
                    <a:pt x="109333" y="56000"/>
                    <a:pt x="106666" y="52000"/>
                  </a:cubicBezTo>
                  <a:cubicBezTo>
                    <a:pt x="105333" y="50000"/>
                    <a:pt x="104000" y="48000"/>
                    <a:pt x="104000" y="48000"/>
                  </a:cubicBezTo>
                  <a:cubicBezTo>
                    <a:pt x="102666" y="48000"/>
                    <a:pt x="101333" y="48000"/>
                    <a:pt x="100000" y="48000"/>
                  </a:cubicBezTo>
                  <a:cubicBezTo>
                    <a:pt x="97333" y="50000"/>
                    <a:pt x="96000" y="50000"/>
                    <a:pt x="94666" y="50000"/>
                  </a:cubicBezTo>
                  <a:cubicBezTo>
                    <a:pt x="88000" y="50000"/>
                    <a:pt x="74666" y="26000"/>
                    <a:pt x="73333" y="24000"/>
                  </a:cubicBezTo>
                  <a:cubicBezTo>
                    <a:pt x="72000" y="18000"/>
                    <a:pt x="70666" y="12000"/>
                    <a:pt x="69333" y="8000"/>
                  </a:cubicBezTo>
                  <a:cubicBezTo>
                    <a:pt x="66666" y="6000"/>
                    <a:pt x="53333" y="2000"/>
                    <a:pt x="41333" y="0"/>
                  </a:cubicBezTo>
                  <a:cubicBezTo>
                    <a:pt x="41333" y="0"/>
                    <a:pt x="40000" y="0"/>
                    <a:pt x="38666" y="0"/>
                  </a:cubicBezTo>
                  <a:cubicBezTo>
                    <a:pt x="36000" y="2000"/>
                    <a:pt x="33333" y="4000"/>
                    <a:pt x="30666" y="4000"/>
                  </a:cubicBezTo>
                  <a:cubicBezTo>
                    <a:pt x="29333" y="4000"/>
                    <a:pt x="28000" y="4000"/>
                    <a:pt x="26666" y="4000"/>
                  </a:cubicBezTo>
                  <a:cubicBezTo>
                    <a:pt x="24000" y="2000"/>
                    <a:pt x="22666" y="2000"/>
                    <a:pt x="22666" y="4000"/>
                  </a:cubicBezTo>
                  <a:cubicBezTo>
                    <a:pt x="21333" y="6000"/>
                    <a:pt x="21333" y="6000"/>
                    <a:pt x="21333" y="6000"/>
                  </a:cubicBezTo>
                  <a:cubicBezTo>
                    <a:pt x="18666" y="12000"/>
                    <a:pt x="17333" y="18000"/>
                    <a:pt x="12000" y="20000"/>
                  </a:cubicBezTo>
                  <a:cubicBezTo>
                    <a:pt x="6666" y="24000"/>
                    <a:pt x="0" y="28000"/>
                    <a:pt x="0" y="28000"/>
                  </a:cubicBezTo>
                  <a:cubicBezTo>
                    <a:pt x="0" y="28000"/>
                    <a:pt x="0" y="28000"/>
                    <a:pt x="0" y="28000"/>
                  </a:cubicBezTo>
                  <a:cubicBezTo>
                    <a:pt x="1333" y="38000"/>
                    <a:pt x="5333" y="56000"/>
                    <a:pt x="8000" y="60000"/>
                  </a:cubicBezTo>
                  <a:cubicBezTo>
                    <a:pt x="9333" y="60000"/>
                    <a:pt x="9333" y="60000"/>
                    <a:pt x="9333" y="60000"/>
                  </a:cubicBezTo>
                  <a:cubicBezTo>
                    <a:pt x="42666" y="50000"/>
                    <a:pt x="42666" y="50000"/>
                    <a:pt x="42666" y="50000"/>
                  </a:cubicBezTo>
                  <a:cubicBezTo>
                    <a:pt x="44000" y="48000"/>
                    <a:pt x="45333" y="50000"/>
                    <a:pt x="45333" y="52000"/>
                  </a:cubicBezTo>
                  <a:cubicBezTo>
                    <a:pt x="45333" y="54000"/>
                    <a:pt x="45333" y="56000"/>
                    <a:pt x="44000" y="56000"/>
                  </a:cubicBezTo>
                  <a:cubicBezTo>
                    <a:pt x="16000" y="66000"/>
                    <a:pt x="16000" y="66000"/>
                    <a:pt x="16000" y="66000"/>
                  </a:cubicBezTo>
                  <a:cubicBezTo>
                    <a:pt x="18666" y="68000"/>
                    <a:pt x="21333" y="72000"/>
                    <a:pt x="21333" y="76000"/>
                  </a:cubicBezTo>
                  <a:cubicBezTo>
                    <a:pt x="21333" y="84000"/>
                    <a:pt x="17333" y="98000"/>
                    <a:pt x="21333" y="104000"/>
                  </a:cubicBezTo>
                  <a:cubicBezTo>
                    <a:pt x="24000" y="108000"/>
                    <a:pt x="28000" y="114000"/>
                    <a:pt x="30666" y="120000"/>
                  </a:cubicBezTo>
                  <a:cubicBezTo>
                    <a:pt x="30666" y="120000"/>
                    <a:pt x="32000" y="120000"/>
                    <a:pt x="32000" y="120000"/>
                  </a:cubicBezTo>
                  <a:cubicBezTo>
                    <a:pt x="32000" y="118000"/>
                    <a:pt x="41333" y="114000"/>
                    <a:pt x="44000" y="114000"/>
                  </a:cubicBezTo>
                  <a:cubicBezTo>
                    <a:pt x="48000" y="112000"/>
                    <a:pt x="52000" y="114000"/>
                    <a:pt x="54666" y="116000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1" name="Shape 7005">
              <a:extLst>
                <a:ext uri="{FF2B5EF4-FFF2-40B4-BE49-F238E27FC236}">
                  <a16:creationId xmlns:a16="http://schemas.microsoft.com/office/drawing/2014/main" id="{BC1D6003-D7DE-4BFD-8C97-1278D86A6AF4}"/>
                </a:ext>
              </a:extLst>
            </p:cNvPr>
            <p:cNvSpPr/>
            <p:nvPr/>
          </p:nvSpPr>
          <p:spPr>
            <a:xfrm>
              <a:off x="591561" y="4682113"/>
              <a:ext cx="165933" cy="14370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48837" y="68571"/>
                  </a:moveTo>
                  <a:cubicBezTo>
                    <a:pt x="48837" y="68571"/>
                    <a:pt x="48837" y="68571"/>
                    <a:pt x="48837" y="68571"/>
                  </a:cubicBezTo>
                  <a:cubicBezTo>
                    <a:pt x="18139" y="63896"/>
                    <a:pt x="18139" y="63896"/>
                    <a:pt x="18139" y="63896"/>
                  </a:cubicBezTo>
                  <a:cubicBezTo>
                    <a:pt x="19534" y="65454"/>
                    <a:pt x="19534" y="67012"/>
                    <a:pt x="19534" y="68571"/>
                  </a:cubicBezTo>
                  <a:cubicBezTo>
                    <a:pt x="19534" y="73246"/>
                    <a:pt x="26511" y="95064"/>
                    <a:pt x="30697" y="101298"/>
                  </a:cubicBezTo>
                  <a:cubicBezTo>
                    <a:pt x="34883" y="105974"/>
                    <a:pt x="55813" y="113766"/>
                    <a:pt x="61395" y="120000"/>
                  </a:cubicBezTo>
                  <a:cubicBezTo>
                    <a:pt x="62790" y="118441"/>
                    <a:pt x="68372" y="115324"/>
                    <a:pt x="73953" y="113766"/>
                  </a:cubicBezTo>
                  <a:cubicBezTo>
                    <a:pt x="78139" y="110649"/>
                    <a:pt x="79534" y="109090"/>
                    <a:pt x="82325" y="104415"/>
                  </a:cubicBezTo>
                  <a:cubicBezTo>
                    <a:pt x="82325" y="102857"/>
                    <a:pt x="82325" y="102857"/>
                    <a:pt x="82325" y="102857"/>
                  </a:cubicBezTo>
                  <a:cubicBezTo>
                    <a:pt x="86511" y="96623"/>
                    <a:pt x="92093" y="98181"/>
                    <a:pt x="94883" y="99740"/>
                  </a:cubicBezTo>
                  <a:cubicBezTo>
                    <a:pt x="94883" y="99740"/>
                    <a:pt x="96279" y="99740"/>
                    <a:pt x="96279" y="99740"/>
                  </a:cubicBezTo>
                  <a:cubicBezTo>
                    <a:pt x="97674" y="99740"/>
                    <a:pt x="100465" y="98181"/>
                    <a:pt x="103255" y="98181"/>
                  </a:cubicBezTo>
                  <a:cubicBezTo>
                    <a:pt x="104651" y="96623"/>
                    <a:pt x="104651" y="96623"/>
                    <a:pt x="106046" y="96623"/>
                  </a:cubicBezTo>
                  <a:cubicBezTo>
                    <a:pt x="107441" y="95064"/>
                    <a:pt x="110232" y="90389"/>
                    <a:pt x="111627" y="84155"/>
                  </a:cubicBezTo>
                  <a:cubicBezTo>
                    <a:pt x="111627" y="82597"/>
                    <a:pt x="108837" y="77922"/>
                    <a:pt x="103255" y="71688"/>
                  </a:cubicBezTo>
                  <a:cubicBezTo>
                    <a:pt x="99069" y="65454"/>
                    <a:pt x="101860" y="59220"/>
                    <a:pt x="104651" y="56103"/>
                  </a:cubicBezTo>
                  <a:cubicBezTo>
                    <a:pt x="106046" y="51428"/>
                    <a:pt x="110232" y="51428"/>
                    <a:pt x="114418" y="51428"/>
                  </a:cubicBezTo>
                  <a:cubicBezTo>
                    <a:pt x="115813" y="51428"/>
                    <a:pt x="118604" y="52987"/>
                    <a:pt x="120000" y="52987"/>
                  </a:cubicBezTo>
                  <a:cubicBezTo>
                    <a:pt x="118604" y="51428"/>
                    <a:pt x="118604" y="49870"/>
                    <a:pt x="117209" y="48311"/>
                  </a:cubicBezTo>
                  <a:cubicBezTo>
                    <a:pt x="117209" y="46753"/>
                    <a:pt x="115813" y="45194"/>
                    <a:pt x="115813" y="45194"/>
                  </a:cubicBezTo>
                  <a:cubicBezTo>
                    <a:pt x="114418" y="42077"/>
                    <a:pt x="114418" y="40519"/>
                    <a:pt x="113023" y="38961"/>
                  </a:cubicBezTo>
                  <a:cubicBezTo>
                    <a:pt x="113023" y="37402"/>
                    <a:pt x="113023" y="35844"/>
                    <a:pt x="113023" y="34285"/>
                  </a:cubicBezTo>
                  <a:cubicBezTo>
                    <a:pt x="111627" y="31168"/>
                    <a:pt x="111627" y="31168"/>
                    <a:pt x="108837" y="31168"/>
                  </a:cubicBezTo>
                  <a:cubicBezTo>
                    <a:pt x="107441" y="31168"/>
                    <a:pt x="106046" y="31168"/>
                    <a:pt x="104651" y="29610"/>
                  </a:cubicBezTo>
                  <a:cubicBezTo>
                    <a:pt x="101860" y="26493"/>
                    <a:pt x="103255" y="15584"/>
                    <a:pt x="103255" y="9350"/>
                  </a:cubicBezTo>
                  <a:cubicBezTo>
                    <a:pt x="103255" y="7792"/>
                    <a:pt x="103255" y="7792"/>
                    <a:pt x="103255" y="7792"/>
                  </a:cubicBezTo>
                  <a:cubicBezTo>
                    <a:pt x="101860" y="6233"/>
                    <a:pt x="97674" y="6233"/>
                    <a:pt x="94883" y="6233"/>
                  </a:cubicBezTo>
                  <a:cubicBezTo>
                    <a:pt x="90697" y="14025"/>
                    <a:pt x="85116" y="24935"/>
                    <a:pt x="80930" y="26493"/>
                  </a:cubicBezTo>
                  <a:cubicBezTo>
                    <a:pt x="78139" y="28051"/>
                    <a:pt x="72558" y="29610"/>
                    <a:pt x="68372" y="29610"/>
                  </a:cubicBezTo>
                  <a:cubicBezTo>
                    <a:pt x="62790" y="29610"/>
                    <a:pt x="58604" y="28051"/>
                    <a:pt x="57209" y="24935"/>
                  </a:cubicBezTo>
                  <a:cubicBezTo>
                    <a:pt x="55813" y="23376"/>
                    <a:pt x="54418" y="20259"/>
                    <a:pt x="51627" y="17142"/>
                  </a:cubicBezTo>
                  <a:cubicBezTo>
                    <a:pt x="48837" y="12467"/>
                    <a:pt x="43255" y="3116"/>
                    <a:pt x="41860" y="0"/>
                  </a:cubicBezTo>
                  <a:cubicBezTo>
                    <a:pt x="41860" y="0"/>
                    <a:pt x="41860" y="0"/>
                    <a:pt x="41860" y="0"/>
                  </a:cubicBezTo>
                  <a:cubicBezTo>
                    <a:pt x="39069" y="1558"/>
                    <a:pt x="37674" y="1558"/>
                    <a:pt x="34883" y="4675"/>
                  </a:cubicBezTo>
                  <a:cubicBezTo>
                    <a:pt x="33488" y="4675"/>
                    <a:pt x="33488" y="4675"/>
                    <a:pt x="32093" y="6233"/>
                  </a:cubicBezTo>
                  <a:cubicBezTo>
                    <a:pt x="30697" y="7792"/>
                    <a:pt x="29302" y="10909"/>
                    <a:pt x="25116" y="10909"/>
                  </a:cubicBezTo>
                  <a:cubicBezTo>
                    <a:pt x="20930" y="10909"/>
                    <a:pt x="16744" y="10909"/>
                    <a:pt x="15348" y="10909"/>
                  </a:cubicBezTo>
                  <a:cubicBezTo>
                    <a:pt x="2790" y="26493"/>
                    <a:pt x="2790" y="26493"/>
                    <a:pt x="2790" y="26493"/>
                  </a:cubicBezTo>
                  <a:cubicBezTo>
                    <a:pt x="2790" y="28051"/>
                    <a:pt x="1395" y="28051"/>
                    <a:pt x="0" y="28051"/>
                  </a:cubicBezTo>
                  <a:cubicBezTo>
                    <a:pt x="0" y="28051"/>
                    <a:pt x="0" y="28051"/>
                    <a:pt x="0" y="28051"/>
                  </a:cubicBezTo>
                  <a:cubicBezTo>
                    <a:pt x="0" y="32727"/>
                    <a:pt x="5581" y="43636"/>
                    <a:pt x="8372" y="49870"/>
                  </a:cubicBezTo>
                  <a:cubicBezTo>
                    <a:pt x="9767" y="52987"/>
                    <a:pt x="11162" y="54545"/>
                    <a:pt x="13953" y="57662"/>
                  </a:cubicBezTo>
                  <a:cubicBezTo>
                    <a:pt x="48837" y="62337"/>
                    <a:pt x="48837" y="62337"/>
                    <a:pt x="48837" y="62337"/>
                  </a:cubicBezTo>
                  <a:cubicBezTo>
                    <a:pt x="50232" y="62337"/>
                    <a:pt x="51627" y="63896"/>
                    <a:pt x="51627" y="65454"/>
                  </a:cubicBezTo>
                  <a:cubicBezTo>
                    <a:pt x="51627" y="67012"/>
                    <a:pt x="50232" y="68571"/>
                    <a:pt x="48837" y="68571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2" name="Shape 7006">
              <a:extLst>
                <a:ext uri="{FF2B5EF4-FFF2-40B4-BE49-F238E27FC236}">
                  <a16:creationId xmlns:a16="http://schemas.microsoft.com/office/drawing/2014/main" id="{21D7C843-5758-4C4A-8982-2D73DFB8701C}"/>
                </a:ext>
              </a:extLst>
            </p:cNvPr>
            <p:cNvSpPr/>
            <p:nvPr/>
          </p:nvSpPr>
          <p:spPr>
            <a:xfrm>
              <a:off x="805729" y="4927535"/>
              <a:ext cx="79107" cy="11011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87804" y="85423"/>
                  </a:moveTo>
                  <a:cubicBezTo>
                    <a:pt x="87804" y="83389"/>
                    <a:pt x="93658" y="73220"/>
                    <a:pt x="99512" y="63050"/>
                  </a:cubicBezTo>
                  <a:cubicBezTo>
                    <a:pt x="108292" y="50847"/>
                    <a:pt x="120000" y="32542"/>
                    <a:pt x="120000" y="30508"/>
                  </a:cubicBezTo>
                  <a:cubicBezTo>
                    <a:pt x="120000" y="30508"/>
                    <a:pt x="114146" y="26440"/>
                    <a:pt x="87804" y="12203"/>
                  </a:cubicBezTo>
                  <a:cubicBezTo>
                    <a:pt x="84878" y="12203"/>
                    <a:pt x="84878" y="12203"/>
                    <a:pt x="84878" y="12203"/>
                  </a:cubicBezTo>
                  <a:cubicBezTo>
                    <a:pt x="79024" y="10169"/>
                    <a:pt x="76097" y="4067"/>
                    <a:pt x="73170" y="0"/>
                  </a:cubicBezTo>
                  <a:cubicBezTo>
                    <a:pt x="70243" y="0"/>
                    <a:pt x="58536" y="2033"/>
                    <a:pt x="58536" y="4067"/>
                  </a:cubicBezTo>
                  <a:cubicBezTo>
                    <a:pt x="55609" y="8135"/>
                    <a:pt x="49756" y="26440"/>
                    <a:pt x="49756" y="30508"/>
                  </a:cubicBezTo>
                  <a:cubicBezTo>
                    <a:pt x="49756" y="32542"/>
                    <a:pt x="49756" y="34576"/>
                    <a:pt x="52682" y="38644"/>
                  </a:cubicBezTo>
                  <a:cubicBezTo>
                    <a:pt x="52682" y="42711"/>
                    <a:pt x="55609" y="48813"/>
                    <a:pt x="55609" y="54915"/>
                  </a:cubicBezTo>
                  <a:cubicBezTo>
                    <a:pt x="55609" y="56949"/>
                    <a:pt x="55609" y="58983"/>
                    <a:pt x="58536" y="63050"/>
                  </a:cubicBezTo>
                  <a:cubicBezTo>
                    <a:pt x="58536" y="67118"/>
                    <a:pt x="61463" y="71186"/>
                    <a:pt x="55609" y="73220"/>
                  </a:cubicBezTo>
                  <a:cubicBezTo>
                    <a:pt x="55609" y="75254"/>
                    <a:pt x="52682" y="77288"/>
                    <a:pt x="46829" y="75254"/>
                  </a:cubicBezTo>
                  <a:cubicBezTo>
                    <a:pt x="40975" y="75254"/>
                    <a:pt x="29268" y="75254"/>
                    <a:pt x="23414" y="75254"/>
                  </a:cubicBezTo>
                  <a:cubicBezTo>
                    <a:pt x="0" y="99661"/>
                    <a:pt x="0" y="99661"/>
                    <a:pt x="0" y="99661"/>
                  </a:cubicBezTo>
                  <a:cubicBezTo>
                    <a:pt x="11707" y="97627"/>
                    <a:pt x="23414" y="93559"/>
                    <a:pt x="29268" y="101694"/>
                  </a:cubicBezTo>
                  <a:cubicBezTo>
                    <a:pt x="61463" y="81355"/>
                    <a:pt x="61463" y="81355"/>
                    <a:pt x="61463" y="81355"/>
                  </a:cubicBezTo>
                  <a:cubicBezTo>
                    <a:pt x="61463" y="79322"/>
                    <a:pt x="67317" y="79322"/>
                    <a:pt x="67317" y="81355"/>
                  </a:cubicBezTo>
                  <a:cubicBezTo>
                    <a:pt x="70243" y="81355"/>
                    <a:pt x="70243" y="85423"/>
                    <a:pt x="67317" y="87457"/>
                  </a:cubicBezTo>
                  <a:cubicBezTo>
                    <a:pt x="35121" y="109830"/>
                    <a:pt x="35121" y="109830"/>
                    <a:pt x="35121" y="109830"/>
                  </a:cubicBezTo>
                  <a:cubicBezTo>
                    <a:pt x="35121" y="113898"/>
                    <a:pt x="38048" y="115932"/>
                    <a:pt x="40975" y="120000"/>
                  </a:cubicBezTo>
                  <a:cubicBezTo>
                    <a:pt x="40975" y="117966"/>
                    <a:pt x="40975" y="117966"/>
                    <a:pt x="40975" y="117966"/>
                  </a:cubicBezTo>
                  <a:cubicBezTo>
                    <a:pt x="67317" y="109830"/>
                    <a:pt x="84878" y="91525"/>
                    <a:pt x="87804" y="85423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3" name="Shape 7007">
              <a:extLst>
                <a:ext uri="{FF2B5EF4-FFF2-40B4-BE49-F238E27FC236}">
                  <a16:creationId xmlns:a16="http://schemas.microsoft.com/office/drawing/2014/main" id="{DF8596CC-998B-4CBB-92CF-F754EDC1542A}"/>
                </a:ext>
              </a:extLst>
            </p:cNvPr>
            <p:cNvSpPr/>
            <p:nvPr/>
          </p:nvSpPr>
          <p:spPr>
            <a:xfrm>
              <a:off x="836599" y="4908873"/>
              <a:ext cx="175578" cy="17356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5274" y="120000"/>
                  </a:moveTo>
                  <a:cubicBezTo>
                    <a:pt x="7912" y="120000"/>
                    <a:pt x="15824" y="118709"/>
                    <a:pt x="19780" y="118709"/>
                  </a:cubicBezTo>
                  <a:cubicBezTo>
                    <a:pt x="21098" y="118709"/>
                    <a:pt x="23736" y="116129"/>
                    <a:pt x="25054" y="114838"/>
                  </a:cubicBezTo>
                  <a:cubicBezTo>
                    <a:pt x="27692" y="113548"/>
                    <a:pt x="29010" y="112258"/>
                    <a:pt x="30329" y="110967"/>
                  </a:cubicBezTo>
                  <a:cubicBezTo>
                    <a:pt x="31648" y="109677"/>
                    <a:pt x="36923" y="109677"/>
                    <a:pt x="40879" y="110967"/>
                  </a:cubicBezTo>
                  <a:cubicBezTo>
                    <a:pt x="42197" y="110967"/>
                    <a:pt x="43516" y="110967"/>
                    <a:pt x="43516" y="110967"/>
                  </a:cubicBezTo>
                  <a:cubicBezTo>
                    <a:pt x="44835" y="110967"/>
                    <a:pt x="55384" y="107096"/>
                    <a:pt x="56703" y="104516"/>
                  </a:cubicBezTo>
                  <a:cubicBezTo>
                    <a:pt x="60659" y="101935"/>
                    <a:pt x="64615" y="105806"/>
                    <a:pt x="68571" y="108387"/>
                  </a:cubicBezTo>
                  <a:cubicBezTo>
                    <a:pt x="69890" y="109677"/>
                    <a:pt x="71208" y="109677"/>
                    <a:pt x="72527" y="110967"/>
                  </a:cubicBezTo>
                  <a:cubicBezTo>
                    <a:pt x="73846" y="107096"/>
                    <a:pt x="76483" y="96774"/>
                    <a:pt x="76483" y="94193"/>
                  </a:cubicBezTo>
                  <a:cubicBezTo>
                    <a:pt x="76483" y="92903"/>
                    <a:pt x="76483" y="90322"/>
                    <a:pt x="97582" y="69677"/>
                  </a:cubicBezTo>
                  <a:cubicBezTo>
                    <a:pt x="100219" y="65806"/>
                    <a:pt x="116043" y="61935"/>
                    <a:pt x="120000" y="60645"/>
                  </a:cubicBezTo>
                  <a:cubicBezTo>
                    <a:pt x="120000" y="59354"/>
                    <a:pt x="120000" y="54193"/>
                    <a:pt x="118681" y="45161"/>
                  </a:cubicBezTo>
                  <a:cubicBezTo>
                    <a:pt x="118681" y="43870"/>
                    <a:pt x="118681" y="43870"/>
                    <a:pt x="118681" y="43870"/>
                  </a:cubicBezTo>
                  <a:cubicBezTo>
                    <a:pt x="117362" y="42580"/>
                    <a:pt x="110769" y="42580"/>
                    <a:pt x="106813" y="42580"/>
                  </a:cubicBezTo>
                  <a:cubicBezTo>
                    <a:pt x="102857" y="42580"/>
                    <a:pt x="101538" y="42580"/>
                    <a:pt x="100219" y="41290"/>
                  </a:cubicBezTo>
                  <a:cubicBezTo>
                    <a:pt x="97582" y="40000"/>
                    <a:pt x="90989" y="30967"/>
                    <a:pt x="88351" y="25806"/>
                  </a:cubicBezTo>
                  <a:cubicBezTo>
                    <a:pt x="87032" y="23225"/>
                    <a:pt x="80439" y="18064"/>
                    <a:pt x="73846" y="14193"/>
                  </a:cubicBezTo>
                  <a:cubicBezTo>
                    <a:pt x="72527" y="14193"/>
                    <a:pt x="71208" y="15483"/>
                    <a:pt x="69890" y="15483"/>
                  </a:cubicBezTo>
                  <a:cubicBezTo>
                    <a:pt x="67252" y="15483"/>
                    <a:pt x="64615" y="14193"/>
                    <a:pt x="63296" y="14193"/>
                  </a:cubicBezTo>
                  <a:cubicBezTo>
                    <a:pt x="63296" y="14193"/>
                    <a:pt x="61978" y="12903"/>
                    <a:pt x="61978" y="12903"/>
                  </a:cubicBezTo>
                  <a:cubicBezTo>
                    <a:pt x="56703" y="12903"/>
                    <a:pt x="55384" y="10322"/>
                    <a:pt x="54065" y="7741"/>
                  </a:cubicBezTo>
                  <a:cubicBezTo>
                    <a:pt x="52747" y="6451"/>
                    <a:pt x="52747" y="6451"/>
                    <a:pt x="52747" y="6451"/>
                  </a:cubicBezTo>
                  <a:cubicBezTo>
                    <a:pt x="51428" y="3870"/>
                    <a:pt x="51428" y="2580"/>
                    <a:pt x="51428" y="1290"/>
                  </a:cubicBezTo>
                  <a:cubicBezTo>
                    <a:pt x="51428" y="1290"/>
                    <a:pt x="51428" y="1290"/>
                    <a:pt x="50109" y="0"/>
                  </a:cubicBezTo>
                  <a:cubicBezTo>
                    <a:pt x="50109" y="1290"/>
                    <a:pt x="47472" y="2580"/>
                    <a:pt x="47472" y="3870"/>
                  </a:cubicBezTo>
                  <a:cubicBezTo>
                    <a:pt x="46153" y="5161"/>
                    <a:pt x="43516" y="6451"/>
                    <a:pt x="42197" y="7741"/>
                  </a:cubicBezTo>
                  <a:cubicBezTo>
                    <a:pt x="38241" y="10322"/>
                    <a:pt x="32967" y="10322"/>
                    <a:pt x="31648" y="10322"/>
                  </a:cubicBezTo>
                  <a:cubicBezTo>
                    <a:pt x="27692" y="10322"/>
                    <a:pt x="21098" y="11612"/>
                    <a:pt x="17142" y="11612"/>
                  </a:cubicBezTo>
                  <a:cubicBezTo>
                    <a:pt x="18461" y="12903"/>
                    <a:pt x="18461" y="15483"/>
                    <a:pt x="21098" y="16774"/>
                  </a:cubicBezTo>
                  <a:cubicBezTo>
                    <a:pt x="21098" y="16774"/>
                    <a:pt x="21098" y="16774"/>
                    <a:pt x="21098" y="16774"/>
                  </a:cubicBezTo>
                  <a:cubicBezTo>
                    <a:pt x="34285" y="25806"/>
                    <a:pt x="39560" y="29677"/>
                    <a:pt x="38241" y="33548"/>
                  </a:cubicBezTo>
                  <a:cubicBezTo>
                    <a:pt x="38241" y="34838"/>
                    <a:pt x="34285" y="43870"/>
                    <a:pt x="29010" y="55483"/>
                  </a:cubicBezTo>
                  <a:cubicBezTo>
                    <a:pt x="26373" y="61935"/>
                    <a:pt x="23736" y="67096"/>
                    <a:pt x="22417" y="69677"/>
                  </a:cubicBezTo>
                  <a:cubicBezTo>
                    <a:pt x="21098" y="73548"/>
                    <a:pt x="13186" y="86451"/>
                    <a:pt x="0" y="92903"/>
                  </a:cubicBezTo>
                  <a:cubicBezTo>
                    <a:pt x="0" y="92903"/>
                    <a:pt x="1318" y="94193"/>
                    <a:pt x="1318" y="95483"/>
                  </a:cubicBezTo>
                  <a:cubicBezTo>
                    <a:pt x="5274" y="99354"/>
                    <a:pt x="13186" y="104516"/>
                    <a:pt x="11868" y="108387"/>
                  </a:cubicBezTo>
                  <a:cubicBezTo>
                    <a:pt x="10549" y="109677"/>
                    <a:pt x="7912" y="114838"/>
                    <a:pt x="5274" y="120000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4" name="Shape 7008">
              <a:extLst>
                <a:ext uri="{FF2B5EF4-FFF2-40B4-BE49-F238E27FC236}">
                  <a16:creationId xmlns:a16="http://schemas.microsoft.com/office/drawing/2014/main" id="{D107860D-BA70-442C-A191-BEA210436862}"/>
                </a:ext>
              </a:extLst>
            </p:cNvPr>
            <p:cNvSpPr/>
            <p:nvPr/>
          </p:nvSpPr>
          <p:spPr>
            <a:xfrm>
              <a:off x="728550" y="4538404"/>
              <a:ext cx="303888" cy="38539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97834" y="44271"/>
                  </a:moveTo>
                  <a:cubicBezTo>
                    <a:pt x="98598" y="43689"/>
                    <a:pt x="96305" y="41359"/>
                    <a:pt x="95541" y="40194"/>
                  </a:cubicBezTo>
                  <a:cubicBezTo>
                    <a:pt x="94777" y="39611"/>
                    <a:pt x="94012" y="39029"/>
                    <a:pt x="94012" y="38446"/>
                  </a:cubicBezTo>
                  <a:cubicBezTo>
                    <a:pt x="94012" y="37864"/>
                    <a:pt x="92484" y="36699"/>
                    <a:pt x="91719" y="35533"/>
                  </a:cubicBezTo>
                  <a:cubicBezTo>
                    <a:pt x="90191" y="34368"/>
                    <a:pt x="88662" y="33203"/>
                    <a:pt x="87898" y="32038"/>
                  </a:cubicBezTo>
                  <a:cubicBezTo>
                    <a:pt x="86369" y="29708"/>
                    <a:pt x="86369" y="27961"/>
                    <a:pt x="86369" y="26796"/>
                  </a:cubicBezTo>
                  <a:cubicBezTo>
                    <a:pt x="86369" y="26796"/>
                    <a:pt x="86369" y="26213"/>
                    <a:pt x="82547" y="23883"/>
                  </a:cubicBezTo>
                  <a:cubicBezTo>
                    <a:pt x="80254" y="22718"/>
                    <a:pt x="80254" y="20970"/>
                    <a:pt x="80254" y="19805"/>
                  </a:cubicBezTo>
                  <a:cubicBezTo>
                    <a:pt x="80254" y="19223"/>
                    <a:pt x="80254" y="18640"/>
                    <a:pt x="80254" y="18640"/>
                  </a:cubicBezTo>
                  <a:cubicBezTo>
                    <a:pt x="79490" y="18058"/>
                    <a:pt x="79490" y="18058"/>
                    <a:pt x="78726" y="18058"/>
                  </a:cubicBezTo>
                  <a:cubicBezTo>
                    <a:pt x="77961" y="18058"/>
                    <a:pt x="76433" y="17475"/>
                    <a:pt x="75668" y="17475"/>
                  </a:cubicBezTo>
                  <a:cubicBezTo>
                    <a:pt x="74904" y="16893"/>
                    <a:pt x="70318" y="17475"/>
                    <a:pt x="68789" y="18058"/>
                  </a:cubicBezTo>
                  <a:cubicBezTo>
                    <a:pt x="68025" y="18058"/>
                    <a:pt x="67261" y="18058"/>
                    <a:pt x="66496" y="18058"/>
                  </a:cubicBezTo>
                  <a:cubicBezTo>
                    <a:pt x="64968" y="18058"/>
                    <a:pt x="64203" y="16893"/>
                    <a:pt x="61146" y="12815"/>
                  </a:cubicBezTo>
                  <a:cubicBezTo>
                    <a:pt x="60382" y="12233"/>
                    <a:pt x="59617" y="11067"/>
                    <a:pt x="58853" y="10485"/>
                  </a:cubicBezTo>
                  <a:cubicBezTo>
                    <a:pt x="58853" y="9902"/>
                    <a:pt x="55796" y="10485"/>
                    <a:pt x="54267" y="10485"/>
                  </a:cubicBezTo>
                  <a:cubicBezTo>
                    <a:pt x="52738" y="11067"/>
                    <a:pt x="51974" y="11067"/>
                    <a:pt x="50445" y="11067"/>
                  </a:cubicBezTo>
                  <a:cubicBezTo>
                    <a:pt x="47388" y="10485"/>
                    <a:pt x="47388" y="8155"/>
                    <a:pt x="46624" y="6407"/>
                  </a:cubicBezTo>
                  <a:cubicBezTo>
                    <a:pt x="46624" y="5825"/>
                    <a:pt x="46624" y="5825"/>
                    <a:pt x="46624" y="5242"/>
                  </a:cubicBezTo>
                  <a:cubicBezTo>
                    <a:pt x="46624" y="5242"/>
                    <a:pt x="45859" y="4660"/>
                    <a:pt x="42038" y="4077"/>
                  </a:cubicBezTo>
                  <a:cubicBezTo>
                    <a:pt x="42038" y="4077"/>
                    <a:pt x="42038" y="4077"/>
                    <a:pt x="42038" y="4077"/>
                  </a:cubicBezTo>
                  <a:cubicBezTo>
                    <a:pt x="42038" y="4077"/>
                    <a:pt x="42038" y="4077"/>
                    <a:pt x="42038" y="4077"/>
                  </a:cubicBezTo>
                  <a:cubicBezTo>
                    <a:pt x="39745" y="3495"/>
                    <a:pt x="38980" y="2330"/>
                    <a:pt x="38216" y="1747"/>
                  </a:cubicBezTo>
                  <a:cubicBezTo>
                    <a:pt x="38216" y="1165"/>
                    <a:pt x="38216" y="582"/>
                    <a:pt x="37452" y="582"/>
                  </a:cubicBezTo>
                  <a:cubicBezTo>
                    <a:pt x="36687" y="0"/>
                    <a:pt x="34394" y="0"/>
                    <a:pt x="32101" y="582"/>
                  </a:cubicBezTo>
                  <a:cubicBezTo>
                    <a:pt x="30573" y="1747"/>
                    <a:pt x="28280" y="3495"/>
                    <a:pt x="26751" y="4077"/>
                  </a:cubicBezTo>
                  <a:cubicBezTo>
                    <a:pt x="23694" y="5242"/>
                    <a:pt x="19108" y="4660"/>
                    <a:pt x="17579" y="2912"/>
                  </a:cubicBezTo>
                  <a:cubicBezTo>
                    <a:pt x="16815" y="1747"/>
                    <a:pt x="13757" y="1165"/>
                    <a:pt x="13757" y="1165"/>
                  </a:cubicBezTo>
                  <a:cubicBezTo>
                    <a:pt x="12993" y="1165"/>
                    <a:pt x="12993" y="1165"/>
                    <a:pt x="12993" y="1165"/>
                  </a:cubicBezTo>
                  <a:cubicBezTo>
                    <a:pt x="12229" y="1165"/>
                    <a:pt x="11464" y="1747"/>
                    <a:pt x="11464" y="2330"/>
                  </a:cubicBezTo>
                  <a:cubicBezTo>
                    <a:pt x="11464" y="4077"/>
                    <a:pt x="10700" y="5825"/>
                    <a:pt x="9936" y="6990"/>
                  </a:cubicBezTo>
                  <a:cubicBezTo>
                    <a:pt x="9171" y="8155"/>
                    <a:pt x="9171" y="8155"/>
                    <a:pt x="9171" y="8155"/>
                  </a:cubicBezTo>
                  <a:cubicBezTo>
                    <a:pt x="9171" y="8737"/>
                    <a:pt x="8407" y="9320"/>
                    <a:pt x="8407" y="9902"/>
                  </a:cubicBezTo>
                  <a:cubicBezTo>
                    <a:pt x="7643" y="10485"/>
                    <a:pt x="6878" y="12233"/>
                    <a:pt x="6878" y="12815"/>
                  </a:cubicBezTo>
                  <a:cubicBezTo>
                    <a:pt x="10700" y="13980"/>
                    <a:pt x="12229" y="15145"/>
                    <a:pt x="12229" y="16893"/>
                  </a:cubicBezTo>
                  <a:cubicBezTo>
                    <a:pt x="12229" y="18058"/>
                    <a:pt x="11464" y="19223"/>
                    <a:pt x="10700" y="20388"/>
                  </a:cubicBezTo>
                  <a:cubicBezTo>
                    <a:pt x="9171" y="22135"/>
                    <a:pt x="7643" y="23300"/>
                    <a:pt x="9171" y="23883"/>
                  </a:cubicBezTo>
                  <a:cubicBezTo>
                    <a:pt x="9171" y="24466"/>
                    <a:pt x="9936" y="25048"/>
                    <a:pt x="10700" y="25631"/>
                  </a:cubicBezTo>
                  <a:cubicBezTo>
                    <a:pt x="12229" y="26796"/>
                    <a:pt x="13757" y="27961"/>
                    <a:pt x="13757" y="29126"/>
                  </a:cubicBezTo>
                  <a:cubicBezTo>
                    <a:pt x="13757" y="29708"/>
                    <a:pt x="13757" y="30291"/>
                    <a:pt x="12993" y="30873"/>
                  </a:cubicBezTo>
                  <a:cubicBezTo>
                    <a:pt x="12229" y="30873"/>
                    <a:pt x="11464" y="31456"/>
                    <a:pt x="11464" y="32038"/>
                  </a:cubicBezTo>
                  <a:cubicBezTo>
                    <a:pt x="6878" y="34951"/>
                    <a:pt x="4585" y="36116"/>
                    <a:pt x="3057" y="36116"/>
                  </a:cubicBezTo>
                  <a:cubicBezTo>
                    <a:pt x="3057" y="36116"/>
                    <a:pt x="2292" y="36116"/>
                    <a:pt x="1528" y="36116"/>
                  </a:cubicBezTo>
                  <a:cubicBezTo>
                    <a:pt x="1528" y="36116"/>
                    <a:pt x="764" y="36116"/>
                    <a:pt x="0" y="36116"/>
                  </a:cubicBezTo>
                  <a:cubicBezTo>
                    <a:pt x="764" y="38446"/>
                    <a:pt x="1528" y="41941"/>
                    <a:pt x="0" y="43689"/>
                  </a:cubicBezTo>
                  <a:cubicBezTo>
                    <a:pt x="0" y="43689"/>
                    <a:pt x="0" y="44271"/>
                    <a:pt x="0" y="44854"/>
                  </a:cubicBezTo>
                  <a:cubicBezTo>
                    <a:pt x="1528" y="44854"/>
                    <a:pt x="3057" y="45436"/>
                    <a:pt x="4585" y="46019"/>
                  </a:cubicBezTo>
                  <a:cubicBezTo>
                    <a:pt x="5350" y="46601"/>
                    <a:pt x="5350" y="47766"/>
                    <a:pt x="5350" y="48349"/>
                  </a:cubicBezTo>
                  <a:cubicBezTo>
                    <a:pt x="5350" y="51262"/>
                    <a:pt x="5350" y="53592"/>
                    <a:pt x="5350" y="54174"/>
                  </a:cubicBezTo>
                  <a:cubicBezTo>
                    <a:pt x="6878" y="54174"/>
                    <a:pt x="9171" y="54174"/>
                    <a:pt x="9936" y="56504"/>
                  </a:cubicBezTo>
                  <a:cubicBezTo>
                    <a:pt x="10700" y="57669"/>
                    <a:pt x="10700" y="58252"/>
                    <a:pt x="10700" y="58834"/>
                  </a:cubicBezTo>
                  <a:cubicBezTo>
                    <a:pt x="11464" y="59417"/>
                    <a:pt x="11464" y="60000"/>
                    <a:pt x="11464" y="60582"/>
                  </a:cubicBezTo>
                  <a:cubicBezTo>
                    <a:pt x="11464" y="60582"/>
                    <a:pt x="12229" y="61165"/>
                    <a:pt x="12229" y="61747"/>
                  </a:cubicBezTo>
                  <a:cubicBezTo>
                    <a:pt x="13757" y="62912"/>
                    <a:pt x="15286" y="64077"/>
                    <a:pt x="14522" y="65242"/>
                  </a:cubicBezTo>
                  <a:cubicBezTo>
                    <a:pt x="13757" y="65825"/>
                    <a:pt x="13757" y="66407"/>
                    <a:pt x="12229" y="66407"/>
                  </a:cubicBezTo>
                  <a:cubicBezTo>
                    <a:pt x="10700" y="66990"/>
                    <a:pt x="9171" y="66407"/>
                    <a:pt x="8407" y="66407"/>
                  </a:cubicBezTo>
                  <a:cubicBezTo>
                    <a:pt x="6878" y="66407"/>
                    <a:pt x="6114" y="66407"/>
                    <a:pt x="5350" y="66407"/>
                  </a:cubicBezTo>
                  <a:cubicBezTo>
                    <a:pt x="5350" y="66407"/>
                    <a:pt x="5350" y="66990"/>
                    <a:pt x="5350" y="66990"/>
                  </a:cubicBezTo>
                  <a:cubicBezTo>
                    <a:pt x="3821" y="68737"/>
                    <a:pt x="3821" y="69320"/>
                    <a:pt x="4585" y="69902"/>
                  </a:cubicBezTo>
                  <a:cubicBezTo>
                    <a:pt x="8407" y="72815"/>
                    <a:pt x="9936" y="75145"/>
                    <a:pt x="9171" y="76893"/>
                  </a:cubicBezTo>
                  <a:cubicBezTo>
                    <a:pt x="9171" y="77475"/>
                    <a:pt x="9171" y="79805"/>
                    <a:pt x="7643" y="80970"/>
                  </a:cubicBezTo>
                  <a:cubicBezTo>
                    <a:pt x="22929" y="83300"/>
                    <a:pt x="23694" y="84466"/>
                    <a:pt x="23694" y="85048"/>
                  </a:cubicBezTo>
                  <a:cubicBezTo>
                    <a:pt x="23694" y="85631"/>
                    <a:pt x="24458" y="87378"/>
                    <a:pt x="25987" y="89126"/>
                  </a:cubicBezTo>
                  <a:cubicBezTo>
                    <a:pt x="26751" y="90873"/>
                    <a:pt x="32866" y="95533"/>
                    <a:pt x="35159" y="95533"/>
                  </a:cubicBezTo>
                  <a:cubicBezTo>
                    <a:pt x="35159" y="95533"/>
                    <a:pt x="35923" y="95533"/>
                    <a:pt x="36687" y="95533"/>
                  </a:cubicBezTo>
                  <a:cubicBezTo>
                    <a:pt x="38216" y="94951"/>
                    <a:pt x="40509" y="94368"/>
                    <a:pt x="42038" y="95533"/>
                  </a:cubicBezTo>
                  <a:cubicBezTo>
                    <a:pt x="42802" y="96116"/>
                    <a:pt x="43566" y="96699"/>
                    <a:pt x="44331" y="96699"/>
                  </a:cubicBezTo>
                  <a:cubicBezTo>
                    <a:pt x="45095" y="97864"/>
                    <a:pt x="46624" y="99029"/>
                    <a:pt x="47388" y="99029"/>
                  </a:cubicBezTo>
                  <a:cubicBezTo>
                    <a:pt x="47388" y="99029"/>
                    <a:pt x="47388" y="99611"/>
                    <a:pt x="48152" y="99611"/>
                  </a:cubicBezTo>
                  <a:cubicBezTo>
                    <a:pt x="49681" y="100194"/>
                    <a:pt x="52738" y="100776"/>
                    <a:pt x="52738" y="102524"/>
                  </a:cubicBezTo>
                  <a:cubicBezTo>
                    <a:pt x="52738" y="103106"/>
                    <a:pt x="53503" y="103689"/>
                    <a:pt x="52738" y="104271"/>
                  </a:cubicBezTo>
                  <a:cubicBezTo>
                    <a:pt x="51974" y="104854"/>
                    <a:pt x="51974" y="104854"/>
                    <a:pt x="51974" y="104854"/>
                  </a:cubicBezTo>
                  <a:cubicBezTo>
                    <a:pt x="55031" y="107184"/>
                    <a:pt x="60382" y="110679"/>
                    <a:pt x="61146" y="111844"/>
                  </a:cubicBezTo>
                  <a:cubicBezTo>
                    <a:pt x="61910" y="112427"/>
                    <a:pt x="62675" y="115922"/>
                    <a:pt x="62675" y="117669"/>
                  </a:cubicBezTo>
                  <a:cubicBezTo>
                    <a:pt x="63439" y="117669"/>
                    <a:pt x="64968" y="117669"/>
                    <a:pt x="65732" y="117087"/>
                  </a:cubicBezTo>
                  <a:cubicBezTo>
                    <a:pt x="66496" y="116504"/>
                    <a:pt x="67261" y="115922"/>
                    <a:pt x="68025" y="115339"/>
                  </a:cubicBezTo>
                  <a:cubicBezTo>
                    <a:pt x="69554" y="114174"/>
                    <a:pt x="70318" y="113009"/>
                    <a:pt x="71847" y="113009"/>
                  </a:cubicBezTo>
                  <a:cubicBezTo>
                    <a:pt x="71847" y="113009"/>
                    <a:pt x="72611" y="113009"/>
                    <a:pt x="72611" y="113009"/>
                  </a:cubicBezTo>
                  <a:cubicBezTo>
                    <a:pt x="72611" y="113009"/>
                    <a:pt x="73375" y="113009"/>
                    <a:pt x="74140" y="113592"/>
                  </a:cubicBezTo>
                  <a:cubicBezTo>
                    <a:pt x="74904" y="114757"/>
                    <a:pt x="75668" y="115339"/>
                    <a:pt x="75668" y="115922"/>
                  </a:cubicBezTo>
                  <a:cubicBezTo>
                    <a:pt x="75668" y="115922"/>
                    <a:pt x="75668" y="116504"/>
                    <a:pt x="76433" y="117087"/>
                  </a:cubicBezTo>
                  <a:cubicBezTo>
                    <a:pt x="76433" y="117087"/>
                    <a:pt x="76433" y="117087"/>
                    <a:pt x="76433" y="117087"/>
                  </a:cubicBezTo>
                  <a:cubicBezTo>
                    <a:pt x="77961" y="118834"/>
                    <a:pt x="77961" y="118834"/>
                    <a:pt x="78726" y="118834"/>
                  </a:cubicBezTo>
                  <a:cubicBezTo>
                    <a:pt x="79490" y="119417"/>
                    <a:pt x="80254" y="119417"/>
                    <a:pt x="80254" y="119417"/>
                  </a:cubicBezTo>
                  <a:cubicBezTo>
                    <a:pt x="82547" y="120000"/>
                    <a:pt x="83312" y="120000"/>
                    <a:pt x="84076" y="119417"/>
                  </a:cubicBezTo>
                  <a:cubicBezTo>
                    <a:pt x="84840" y="118834"/>
                    <a:pt x="85605" y="118252"/>
                    <a:pt x="86369" y="117669"/>
                  </a:cubicBezTo>
                  <a:cubicBezTo>
                    <a:pt x="87133" y="117087"/>
                    <a:pt x="88662" y="115922"/>
                    <a:pt x="88662" y="115339"/>
                  </a:cubicBezTo>
                  <a:cubicBezTo>
                    <a:pt x="87133" y="114757"/>
                    <a:pt x="82547" y="110679"/>
                    <a:pt x="83312" y="108349"/>
                  </a:cubicBezTo>
                  <a:cubicBezTo>
                    <a:pt x="84076" y="107766"/>
                    <a:pt x="84840" y="107184"/>
                    <a:pt x="85605" y="107184"/>
                  </a:cubicBezTo>
                  <a:cubicBezTo>
                    <a:pt x="87898" y="107184"/>
                    <a:pt x="89426" y="107184"/>
                    <a:pt x="90955" y="106601"/>
                  </a:cubicBezTo>
                  <a:cubicBezTo>
                    <a:pt x="91719" y="106019"/>
                    <a:pt x="93248" y="106019"/>
                    <a:pt x="93248" y="105436"/>
                  </a:cubicBezTo>
                  <a:cubicBezTo>
                    <a:pt x="93248" y="105436"/>
                    <a:pt x="92484" y="105436"/>
                    <a:pt x="92484" y="104854"/>
                  </a:cubicBezTo>
                  <a:cubicBezTo>
                    <a:pt x="92484" y="104271"/>
                    <a:pt x="91719" y="103689"/>
                    <a:pt x="92484" y="101941"/>
                  </a:cubicBezTo>
                  <a:cubicBezTo>
                    <a:pt x="93248" y="100194"/>
                    <a:pt x="94777" y="97864"/>
                    <a:pt x="97070" y="97864"/>
                  </a:cubicBezTo>
                  <a:cubicBezTo>
                    <a:pt x="97834" y="97864"/>
                    <a:pt x="98598" y="97864"/>
                    <a:pt x="99363" y="98446"/>
                  </a:cubicBezTo>
                  <a:cubicBezTo>
                    <a:pt x="100891" y="99611"/>
                    <a:pt x="103184" y="99611"/>
                    <a:pt x="105477" y="99611"/>
                  </a:cubicBezTo>
                  <a:cubicBezTo>
                    <a:pt x="107006" y="99611"/>
                    <a:pt x="113885" y="96699"/>
                    <a:pt x="119235" y="94368"/>
                  </a:cubicBezTo>
                  <a:cubicBezTo>
                    <a:pt x="118471" y="93203"/>
                    <a:pt x="119235" y="91456"/>
                    <a:pt x="119235" y="89708"/>
                  </a:cubicBezTo>
                  <a:cubicBezTo>
                    <a:pt x="120000" y="88543"/>
                    <a:pt x="120000" y="87378"/>
                    <a:pt x="120000" y="86213"/>
                  </a:cubicBezTo>
                  <a:cubicBezTo>
                    <a:pt x="120000" y="84466"/>
                    <a:pt x="120000" y="83883"/>
                    <a:pt x="116942" y="82135"/>
                  </a:cubicBezTo>
                  <a:cubicBezTo>
                    <a:pt x="112356" y="80388"/>
                    <a:pt x="113121" y="77475"/>
                    <a:pt x="113885" y="75728"/>
                  </a:cubicBezTo>
                  <a:cubicBezTo>
                    <a:pt x="113885" y="75145"/>
                    <a:pt x="113885" y="74563"/>
                    <a:pt x="113885" y="74563"/>
                  </a:cubicBezTo>
                  <a:cubicBezTo>
                    <a:pt x="113885" y="73980"/>
                    <a:pt x="111592" y="72233"/>
                    <a:pt x="109299" y="71067"/>
                  </a:cubicBezTo>
                  <a:cubicBezTo>
                    <a:pt x="107006" y="69902"/>
                    <a:pt x="107006" y="67572"/>
                    <a:pt x="107006" y="65242"/>
                  </a:cubicBezTo>
                  <a:cubicBezTo>
                    <a:pt x="107006" y="64660"/>
                    <a:pt x="107770" y="64660"/>
                    <a:pt x="107770" y="64077"/>
                  </a:cubicBezTo>
                  <a:cubicBezTo>
                    <a:pt x="107006" y="63495"/>
                    <a:pt x="104713" y="61747"/>
                    <a:pt x="99363" y="58834"/>
                  </a:cubicBezTo>
                  <a:cubicBezTo>
                    <a:pt x="96305" y="57087"/>
                    <a:pt x="95541" y="54174"/>
                    <a:pt x="94777" y="51844"/>
                  </a:cubicBezTo>
                  <a:cubicBezTo>
                    <a:pt x="94777" y="51262"/>
                    <a:pt x="94777" y="50679"/>
                    <a:pt x="94777" y="50097"/>
                  </a:cubicBezTo>
                  <a:cubicBezTo>
                    <a:pt x="94012" y="47766"/>
                    <a:pt x="95541" y="46601"/>
                    <a:pt x="97070" y="45436"/>
                  </a:cubicBezTo>
                  <a:cubicBezTo>
                    <a:pt x="97070" y="44854"/>
                    <a:pt x="97834" y="44854"/>
                    <a:pt x="97834" y="44271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5" name="Shape 7009">
              <a:extLst>
                <a:ext uri="{FF2B5EF4-FFF2-40B4-BE49-F238E27FC236}">
                  <a16:creationId xmlns:a16="http://schemas.microsoft.com/office/drawing/2014/main" id="{B63624CA-29A9-4640-B1ED-4078453D12F5}"/>
                </a:ext>
              </a:extLst>
            </p:cNvPr>
            <p:cNvSpPr/>
            <p:nvPr/>
          </p:nvSpPr>
          <p:spPr>
            <a:xfrm>
              <a:off x="1076813" y="3758277"/>
              <a:ext cx="231532" cy="20529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85000" y="68727"/>
                  </a:moveTo>
                  <a:cubicBezTo>
                    <a:pt x="86000" y="64363"/>
                    <a:pt x="90000" y="64363"/>
                    <a:pt x="94000" y="64363"/>
                  </a:cubicBezTo>
                  <a:cubicBezTo>
                    <a:pt x="95000" y="64363"/>
                    <a:pt x="96000" y="64363"/>
                    <a:pt x="97000" y="64363"/>
                  </a:cubicBezTo>
                  <a:cubicBezTo>
                    <a:pt x="98000" y="64363"/>
                    <a:pt x="102000" y="58909"/>
                    <a:pt x="104000" y="56727"/>
                  </a:cubicBezTo>
                  <a:cubicBezTo>
                    <a:pt x="105000" y="54545"/>
                    <a:pt x="107000" y="52363"/>
                    <a:pt x="108000" y="51272"/>
                  </a:cubicBezTo>
                  <a:cubicBezTo>
                    <a:pt x="111000" y="48000"/>
                    <a:pt x="117000" y="43636"/>
                    <a:pt x="120000" y="41454"/>
                  </a:cubicBezTo>
                  <a:cubicBezTo>
                    <a:pt x="119000" y="38181"/>
                    <a:pt x="118000" y="28363"/>
                    <a:pt x="117000" y="25090"/>
                  </a:cubicBezTo>
                  <a:cubicBezTo>
                    <a:pt x="116000" y="21818"/>
                    <a:pt x="112000" y="18545"/>
                    <a:pt x="110000" y="17454"/>
                  </a:cubicBezTo>
                  <a:cubicBezTo>
                    <a:pt x="109000" y="17454"/>
                    <a:pt x="107000" y="18545"/>
                    <a:pt x="106000" y="19636"/>
                  </a:cubicBezTo>
                  <a:cubicBezTo>
                    <a:pt x="105000" y="20727"/>
                    <a:pt x="103000" y="20727"/>
                    <a:pt x="102000" y="21818"/>
                  </a:cubicBezTo>
                  <a:cubicBezTo>
                    <a:pt x="100000" y="22909"/>
                    <a:pt x="99000" y="21818"/>
                    <a:pt x="98000" y="21818"/>
                  </a:cubicBezTo>
                  <a:cubicBezTo>
                    <a:pt x="96000" y="20727"/>
                    <a:pt x="95000" y="17454"/>
                    <a:pt x="95000" y="14181"/>
                  </a:cubicBezTo>
                  <a:cubicBezTo>
                    <a:pt x="94000" y="9818"/>
                    <a:pt x="95000" y="7636"/>
                    <a:pt x="97000" y="4363"/>
                  </a:cubicBezTo>
                  <a:cubicBezTo>
                    <a:pt x="97000" y="3272"/>
                    <a:pt x="98000" y="2181"/>
                    <a:pt x="98000" y="1090"/>
                  </a:cubicBezTo>
                  <a:cubicBezTo>
                    <a:pt x="98000" y="1090"/>
                    <a:pt x="97000" y="1090"/>
                    <a:pt x="97000" y="1090"/>
                  </a:cubicBezTo>
                  <a:cubicBezTo>
                    <a:pt x="96000" y="1090"/>
                    <a:pt x="96000" y="1090"/>
                    <a:pt x="96000" y="1090"/>
                  </a:cubicBezTo>
                  <a:cubicBezTo>
                    <a:pt x="95000" y="1090"/>
                    <a:pt x="95000" y="1090"/>
                    <a:pt x="95000" y="1090"/>
                  </a:cubicBezTo>
                  <a:cubicBezTo>
                    <a:pt x="92000" y="1090"/>
                    <a:pt x="88000" y="2181"/>
                    <a:pt x="87000" y="4363"/>
                  </a:cubicBezTo>
                  <a:cubicBezTo>
                    <a:pt x="84000" y="6545"/>
                    <a:pt x="80000" y="8727"/>
                    <a:pt x="76000" y="8727"/>
                  </a:cubicBezTo>
                  <a:cubicBezTo>
                    <a:pt x="74000" y="8727"/>
                    <a:pt x="73000" y="9818"/>
                    <a:pt x="71000" y="14181"/>
                  </a:cubicBezTo>
                  <a:cubicBezTo>
                    <a:pt x="70000" y="15272"/>
                    <a:pt x="70000" y="15272"/>
                    <a:pt x="70000" y="15272"/>
                  </a:cubicBezTo>
                  <a:cubicBezTo>
                    <a:pt x="67000" y="19636"/>
                    <a:pt x="64000" y="18545"/>
                    <a:pt x="62000" y="17454"/>
                  </a:cubicBezTo>
                  <a:cubicBezTo>
                    <a:pt x="61000" y="16363"/>
                    <a:pt x="60000" y="16363"/>
                    <a:pt x="60000" y="16363"/>
                  </a:cubicBezTo>
                  <a:cubicBezTo>
                    <a:pt x="56000" y="15272"/>
                    <a:pt x="51000" y="6545"/>
                    <a:pt x="47000" y="0"/>
                  </a:cubicBezTo>
                  <a:cubicBezTo>
                    <a:pt x="46000" y="0"/>
                    <a:pt x="45000" y="0"/>
                    <a:pt x="44000" y="0"/>
                  </a:cubicBezTo>
                  <a:cubicBezTo>
                    <a:pt x="42000" y="1090"/>
                    <a:pt x="40000" y="1090"/>
                    <a:pt x="39000" y="2181"/>
                  </a:cubicBezTo>
                  <a:cubicBezTo>
                    <a:pt x="39000" y="4363"/>
                    <a:pt x="37000" y="14181"/>
                    <a:pt x="33000" y="15272"/>
                  </a:cubicBezTo>
                  <a:cubicBezTo>
                    <a:pt x="32000" y="15272"/>
                    <a:pt x="32000" y="15272"/>
                    <a:pt x="32000" y="15272"/>
                  </a:cubicBezTo>
                  <a:cubicBezTo>
                    <a:pt x="25000" y="18545"/>
                    <a:pt x="23000" y="19636"/>
                    <a:pt x="22000" y="19636"/>
                  </a:cubicBezTo>
                  <a:cubicBezTo>
                    <a:pt x="22000" y="20727"/>
                    <a:pt x="22000" y="20727"/>
                    <a:pt x="22000" y="20727"/>
                  </a:cubicBezTo>
                  <a:cubicBezTo>
                    <a:pt x="24000" y="25090"/>
                    <a:pt x="27000" y="30545"/>
                    <a:pt x="24000" y="32727"/>
                  </a:cubicBezTo>
                  <a:cubicBezTo>
                    <a:pt x="23000" y="32727"/>
                    <a:pt x="23000" y="33818"/>
                    <a:pt x="22000" y="34909"/>
                  </a:cubicBezTo>
                  <a:cubicBezTo>
                    <a:pt x="21000" y="37090"/>
                    <a:pt x="19000" y="39272"/>
                    <a:pt x="16000" y="39272"/>
                  </a:cubicBezTo>
                  <a:cubicBezTo>
                    <a:pt x="15000" y="39272"/>
                    <a:pt x="13000" y="39272"/>
                    <a:pt x="12000" y="39272"/>
                  </a:cubicBezTo>
                  <a:cubicBezTo>
                    <a:pt x="10000" y="38181"/>
                    <a:pt x="9000" y="38181"/>
                    <a:pt x="9000" y="39272"/>
                  </a:cubicBezTo>
                  <a:cubicBezTo>
                    <a:pt x="6000" y="40363"/>
                    <a:pt x="2000" y="44727"/>
                    <a:pt x="0" y="45818"/>
                  </a:cubicBezTo>
                  <a:cubicBezTo>
                    <a:pt x="1000" y="54545"/>
                    <a:pt x="1000" y="54545"/>
                    <a:pt x="1000" y="54545"/>
                  </a:cubicBezTo>
                  <a:cubicBezTo>
                    <a:pt x="3000" y="54545"/>
                    <a:pt x="9000" y="55636"/>
                    <a:pt x="11000" y="57818"/>
                  </a:cubicBezTo>
                  <a:cubicBezTo>
                    <a:pt x="14000" y="61090"/>
                    <a:pt x="16000" y="62181"/>
                    <a:pt x="17000" y="63272"/>
                  </a:cubicBezTo>
                  <a:cubicBezTo>
                    <a:pt x="20000" y="62181"/>
                    <a:pt x="30000" y="61090"/>
                    <a:pt x="32000" y="66545"/>
                  </a:cubicBezTo>
                  <a:cubicBezTo>
                    <a:pt x="32000" y="67636"/>
                    <a:pt x="33000" y="68727"/>
                    <a:pt x="33000" y="69818"/>
                  </a:cubicBezTo>
                  <a:cubicBezTo>
                    <a:pt x="34000" y="73090"/>
                    <a:pt x="35000" y="76363"/>
                    <a:pt x="38000" y="77454"/>
                  </a:cubicBezTo>
                  <a:cubicBezTo>
                    <a:pt x="40000" y="77454"/>
                    <a:pt x="49000" y="79636"/>
                    <a:pt x="49000" y="86181"/>
                  </a:cubicBezTo>
                  <a:cubicBezTo>
                    <a:pt x="49000" y="87272"/>
                    <a:pt x="49000" y="89454"/>
                    <a:pt x="49000" y="90545"/>
                  </a:cubicBezTo>
                  <a:cubicBezTo>
                    <a:pt x="49000" y="93818"/>
                    <a:pt x="48000" y="96000"/>
                    <a:pt x="49000" y="98181"/>
                  </a:cubicBezTo>
                  <a:cubicBezTo>
                    <a:pt x="49000" y="100363"/>
                    <a:pt x="51000" y="102545"/>
                    <a:pt x="54000" y="103636"/>
                  </a:cubicBezTo>
                  <a:cubicBezTo>
                    <a:pt x="55000" y="103636"/>
                    <a:pt x="56000" y="103636"/>
                    <a:pt x="57000" y="103636"/>
                  </a:cubicBezTo>
                  <a:cubicBezTo>
                    <a:pt x="60000" y="104727"/>
                    <a:pt x="63000" y="104727"/>
                    <a:pt x="65000" y="106909"/>
                  </a:cubicBezTo>
                  <a:cubicBezTo>
                    <a:pt x="66000" y="108000"/>
                    <a:pt x="69000" y="111272"/>
                    <a:pt x="71000" y="113454"/>
                  </a:cubicBezTo>
                  <a:cubicBezTo>
                    <a:pt x="73000" y="115636"/>
                    <a:pt x="75000" y="118909"/>
                    <a:pt x="77000" y="120000"/>
                  </a:cubicBezTo>
                  <a:cubicBezTo>
                    <a:pt x="80000" y="116727"/>
                    <a:pt x="84000" y="114545"/>
                    <a:pt x="91000" y="114545"/>
                  </a:cubicBezTo>
                  <a:cubicBezTo>
                    <a:pt x="91000" y="114545"/>
                    <a:pt x="91000" y="114545"/>
                    <a:pt x="91000" y="114545"/>
                  </a:cubicBezTo>
                  <a:cubicBezTo>
                    <a:pt x="92000" y="114545"/>
                    <a:pt x="92000" y="111272"/>
                    <a:pt x="92000" y="109090"/>
                  </a:cubicBezTo>
                  <a:cubicBezTo>
                    <a:pt x="92000" y="108000"/>
                    <a:pt x="92000" y="108000"/>
                    <a:pt x="92000" y="108000"/>
                  </a:cubicBezTo>
                  <a:cubicBezTo>
                    <a:pt x="92000" y="105818"/>
                    <a:pt x="90000" y="104727"/>
                    <a:pt x="88000" y="102545"/>
                  </a:cubicBezTo>
                  <a:cubicBezTo>
                    <a:pt x="87000" y="102545"/>
                    <a:pt x="86000" y="102545"/>
                    <a:pt x="86000" y="101454"/>
                  </a:cubicBezTo>
                  <a:cubicBezTo>
                    <a:pt x="82000" y="99272"/>
                    <a:pt x="84000" y="92727"/>
                    <a:pt x="86000" y="89454"/>
                  </a:cubicBezTo>
                  <a:cubicBezTo>
                    <a:pt x="87000" y="88363"/>
                    <a:pt x="87000" y="86181"/>
                    <a:pt x="87000" y="86181"/>
                  </a:cubicBezTo>
                  <a:cubicBezTo>
                    <a:pt x="88000" y="85090"/>
                    <a:pt x="87000" y="85090"/>
                    <a:pt x="85000" y="84000"/>
                  </a:cubicBezTo>
                  <a:cubicBezTo>
                    <a:pt x="85000" y="82909"/>
                    <a:pt x="84000" y="81818"/>
                    <a:pt x="83000" y="81818"/>
                  </a:cubicBezTo>
                  <a:cubicBezTo>
                    <a:pt x="81000" y="78545"/>
                    <a:pt x="83000" y="74181"/>
                    <a:pt x="84000" y="69818"/>
                  </a:cubicBezTo>
                  <a:cubicBezTo>
                    <a:pt x="84000" y="69818"/>
                    <a:pt x="85000" y="68727"/>
                    <a:pt x="85000" y="68727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6" name="Shape 7010">
              <a:extLst>
                <a:ext uri="{FF2B5EF4-FFF2-40B4-BE49-F238E27FC236}">
                  <a16:creationId xmlns:a16="http://schemas.microsoft.com/office/drawing/2014/main" id="{53A6346B-D37C-4212-86CC-12E495508EF3}"/>
                </a:ext>
              </a:extLst>
            </p:cNvPr>
            <p:cNvSpPr/>
            <p:nvPr/>
          </p:nvSpPr>
          <p:spPr>
            <a:xfrm>
              <a:off x="1640211" y="3399007"/>
              <a:ext cx="472712" cy="25008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89632" y="111044"/>
                  </a:moveTo>
                  <a:cubicBezTo>
                    <a:pt x="90612" y="109253"/>
                    <a:pt x="95510" y="105671"/>
                    <a:pt x="97469" y="105671"/>
                  </a:cubicBezTo>
                  <a:cubicBezTo>
                    <a:pt x="99428" y="105671"/>
                    <a:pt x="100897" y="107462"/>
                    <a:pt x="102367" y="109253"/>
                  </a:cubicBezTo>
                  <a:cubicBezTo>
                    <a:pt x="102857" y="109253"/>
                    <a:pt x="102857" y="109253"/>
                    <a:pt x="102857" y="109253"/>
                  </a:cubicBezTo>
                  <a:cubicBezTo>
                    <a:pt x="103346" y="110149"/>
                    <a:pt x="104326" y="107462"/>
                    <a:pt x="104816" y="106567"/>
                  </a:cubicBezTo>
                  <a:cubicBezTo>
                    <a:pt x="105306" y="105671"/>
                    <a:pt x="105306" y="104776"/>
                    <a:pt x="105795" y="103880"/>
                  </a:cubicBezTo>
                  <a:cubicBezTo>
                    <a:pt x="106775" y="102089"/>
                    <a:pt x="109224" y="102089"/>
                    <a:pt x="114122" y="103880"/>
                  </a:cubicBezTo>
                  <a:cubicBezTo>
                    <a:pt x="114612" y="103880"/>
                    <a:pt x="114612" y="103880"/>
                    <a:pt x="115102" y="103880"/>
                  </a:cubicBezTo>
                  <a:cubicBezTo>
                    <a:pt x="115591" y="99402"/>
                    <a:pt x="116081" y="81492"/>
                    <a:pt x="116081" y="76119"/>
                  </a:cubicBezTo>
                  <a:cubicBezTo>
                    <a:pt x="116081" y="73432"/>
                    <a:pt x="118530" y="68955"/>
                    <a:pt x="120000" y="66268"/>
                  </a:cubicBezTo>
                  <a:cubicBezTo>
                    <a:pt x="117551" y="62686"/>
                    <a:pt x="114122" y="57313"/>
                    <a:pt x="113142" y="56417"/>
                  </a:cubicBezTo>
                  <a:cubicBezTo>
                    <a:pt x="113142" y="57313"/>
                    <a:pt x="112653" y="59104"/>
                    <a:pt x="112163" y="60000"/>
                  </a:cubicBezTo>
                  <a:cubicBezTo>
                    <a:pt x="111673" y="62686"/>
                    <a:pt x="111183" y="64477"/>
                    <a:pt x="110204" y="66268"/>
                  </a:cubicBezTo>
                  <a:cubicBezTo>
                    <a:pt x="108734" y="68955"/>
                    <a:pt x="105795" y="67164"/>
                    <a:pt x="104326" y="65373"/>
                  </a:cubicBezTo>
                  <a:cubicBezTo>
                    <a:pt x="103836" y="65373"/>
                    <a:pt x="103836" y="65373"/>
                    <a:pt x="103346" y="65373"/>
                  </a:cubicBezTo>
                  <a:cubicBezTo>
                    <a:pt x="102857" y="64477"/>
                    <a:pt x="101877" y="65373"/>
                    <a:pt x="100897" y="67164"/>
                  </a:cubicBezTo>
                  <a:cubicBezTo>
                    <a:pt x="99918" y="68059"/>
                    <a:pt x="99428" y="68059"/>
                    <a:pt x="98448" y="68955"/>
                  </a:cubicBezTo>
                  <a:cubicBezTo>
                    <a:pt x="98448" y="68955"/>
                    <a:pt x="98448" y="68955"/>
                    <a:pt x="97959" y="68955"/>
                  </a:cubicBezTo>
                  <a:cubicBezTo>
                    <a:pt x="96489" y="68955"/>
                    <a:pt x="95510" y="65373"/>
                    <a:pt x="94530" y="61791"/>
                  </a:cubicBezTo>
                  <a:cubicBezTo>
                    <a:pt x="94040" y="60000"/>
                    <a:pt x="93551" y="59104"/>
                    <a:pt x="93061" y="58208"/>
                  </a:cubicBezTo>
                  <a:cubicBezTo>
                    <a:pt x="92571" y="56417"/>
                    <a:pt x="89632" y="53731"/>
                    <a:pt x="87183" y="51044"/>
                  </a:cubicBezTo>
                  <a:cubicBezTo>
                    <a:pt x="84734" y="49253"/>
                    <a:pt x="82285" y="46567"/>
                    <a:pt x="81306" y="44776"/>
                  </a:cubicBezTo>
                  <a:cubicBezTo>
                    <a:pt x="79346" y="41194"/>
                    <a:pt x="78857" y="36716"/>
                    <a:pt x="77877" y="33134"/>
                  </a:cubicBezTo>
                  <a:cubicBezTo>
                    <a:pt x="77877" y="30447"/>
                    <a:pt x="75918" y="26865"/>
                    <a:pt x="74448" y="24179"/>
                  </a:cubicBezTo>
                  <a:cubicBezTo>
                    <a:pt x="73959" y="23283"/>
                    <a:pt x="73469" y="22388"/>
                    <a:pt x="72979" y="21492"/>
                  </a:cubicBezTo>
                  <a:cubicBezTo>
                    <a:pt x="72489" y="19701"/>
                    <a:pt x="66612" y="18805"/>
                    <a:pt x="65142" y="17910"/>
                  </a:cubicBezTo>
                  <a:cubicBezTo>
                    <a:pt x="63673" y="17910"/>
                    <a:pt x="63673" y="17910"/>
                    <a:pt x="63673" y="17910"/>
                  </a:cubicBezTo>
                  <a:cubicBezTo>
                    <a:pt x="62204" y="17910"/>
                    <a:pt x="60734" y="12537"/>
                    <a:pt x="58775" y="6268"/>
                  </a:cubicBezTo>
                  <a:cubicBezTo>
                    <a:pt x="58285" y="3582"/>
                    <a:pt x="57795" y="1791"/>
                    <a:pt x="57306" y="895"/>
                  </a:cubicBezTo>
                  <a:cubicBezTo>
                    <a:pt x="57306" y="0"/>
                    <a:pt x="56326" y="0"/>
                    <a:pt x="52897" y="4477"/>
                  </a:cubicBezTo>
                  <a:cubicBezTo>
                    <a:pt x="52408" y="5373"/>
                    <a:pt x="51918" y="5373"/>
                    <a:pt x="51918" y="6268"/>
                  </a:cubicBezTo>
                  <a:cubicBezTo>
                    <a:pt x="50448" y="7164"/>
                    <a:pt x="48489" y="5373"/>
                    <a:pt x="46530" y="3582"/>
                  </a:cubicBezTo>
                  <a:cubicBezTo>
                    <a:pt x="45551" y="2686"/>
                    <a:pt x="44081" y="1791"/>
                    <a:pt x="43591" y="895"/>
                  </a:cubicBezTo>
                  <a:cubicBezTo>
                    <a:pt x="42122" y="895"/>
                    <a:pt x="34285" y="5373"/>
                    <a:pt x="31836" y="8059"/>
                  </a:cubicBezTo>
                  <a:cubicBezTo>
                    <a:pt x="30857" y="8059"/>
                    <a:pt x="29877" y="8059"/>
                    <a:pt x="28897" y="8059"/>
                  </a:cubicBezTo>
                  <a:cubicBezTo>
                    <a:pt x="28897" y="10746"/>
                    <a:pt x="28897" y="16119"/>
                    <a:pt x="28408" y="18805"/>
                  </a:cubicBezTo>
                  <a:cubicBezTo>
                    <a:pt x="27918" y="21492"/>
                    <a:pt x="24979" y="21492"/>
                    <a:pt x="22530" y="22388"/>
                  </a:cubicBezTo>
                  <a:cubicBezTo>
                    <a:pt x="21551" y="22388"/>
                    <a:pt x="21061" y="22388"/>
                    <a:pt x="20571" y="22388"/>
                  </a:cubicBezTo>
                  <a:cubicBezTo>
                    <a:pt x="20081" y="22388"/>
                    <a:pt x="19591" y="23283"/>
                    <a:pt x="19102" y="24179"/>
                  </a:cubicBezTo>
                  <a:cubicBezTo>
                    <a:pt x="18612" y="25074"/>
                    <a:pt x="18122" y="25970"/>
                    <a:pt x="17632" y="26865"/>
                  </a:cubicBezTo>
                  <a:cubicBezTo>
                    <a:pt x="16163" y="29552"/>
                    <a:pt x="15183" y="30447"/>
                    <a:pt x="12244" y="30447"/>
                  </a:cubicBezTo>
                  <a:cubicBezTo>
                    <a:pt x="11265" y="30447"/>
                    <a:pt x="9795" y="34029"/>
                    <a:pt x="8326" y="36716"/>
                  </a:cubicBezTo>
                  <a:cubicBezTo>
                    <a:pt x="7836" y="38507"/>
                    <a:pt x="7346" y="39402"/>
                    <a:pt x="6857" y="41194"/>
                  </a:cubicBezTo>
                  <a:cubicBezTo>
                    <a:pt x="5387" y="43880"/>
                    <a:pt x="3918" y="43880"/>
                    <a:pt x="1959" y="43880"/>
                  </a:cubicBezTo>
                  <a:cubicBezTo>
                    <a:pt x="1959" y="43880"/>
                    <a:pt x="1469" y="43880"/>
                    <a:pt x="979" y="43880"/>
                  </a:cubicBezTo>
                  <a:cubicBezTo>
                    <a:pt x="979" y="43880"/>
                    <a:pt x="489" y="43880"/>
                    <a:pt x="489" y="43880"/>
                  </a:cubicBezTo>
                  <a:cubicBezTo>
                    <a:pt x="0" y="45671"/>
                    <a:pt x="0" y="48358"/>
                    <a:pt x="0" y="50149"/>
                  </a:cubicBezTo>
                  <a:cubicBezTo>
                    <a:pt x="489" y="51044"/>
                    <a:pt x="979" y="51940"/>
                    <a:pt x="1959" y="52835"/>
                  </a:cubicBezTo>
                  <a:cubicBezTo>
                    <a:pt x="4408" y="56417"/>
                    <a:pt x="5387" y="56417"/>
                    <a:pt x="5877" y="56417"/>
                  </a:cubicBezTo>
                  <a:cubicBezTo>
                    <a:pt x="6367" y="56417"/>
                    <a:pt x="9795" y="57313"/>
                    <a:pt x="11265" y="60895"/>
                  </a:cubicBezTo>
                  <a:cubicBezTo>
                    <a:pt x="11755" y="60895"/>
                    <a:pt x="11755" y="61791"/>
                    <a:pt x="12244" y="61791"/>
                  </a:cubicBezTo>
                  <a:cubicBezTo>
                    <a:pt x="13224" y="61791"/>
                    <a:pt x="14204" y="60895"/>
                    <a:pt x="14693" y="60000"/>
                  </a:cubicBezTo>
                  <a:cubicBezTo>
                    <a:pt x="15183" y="59104"/>
                    <a:pt x="15673" y="58208"/>
                    <a:pt x="16163" y="57313"/>
                  </a:cubicBezTo>
                  <a:cubicBezTo>
                    <a:pt x="16653" y="55522"/>
                    <a:pt x="17632" y="52835"/>
                    <a:pt x="19102" y="53731"/>
                  </a:cubicBezTo>
                  <a:cubicBezTo>
                    <a:pt x="21061" y="54626"/>
                    <a:pt x="21551" y="56417"/>
                    <a:pt x="22530" y="60895"/>
                  </a:cubicBezTo>
                  <a:cubicBezTo>
                    <a:pt x="23020" y="64477"/>
                    <a:pt x="25469" y="68955"/>
                    <a:pt x="25959" y="70746"/>
                  </a:cubicBezTo>
                  <a:cubicBezTo>
                    <a:pt x="26938" y="71641"/>
                    <a:pt x="29877" y="74328"/>
                    <a:pt x="30857" y="74328"/>
                  </a:cubicBezTo>
                  <a:cubicBezTo>
                    <a:pt x="31346" y="74328"/>
                    <a:pt x="31836" y="74328"/>
                    <a:pt x="31836" y="74328"/>
                  </a:cubicBezTo>
                  <a:cubicBezTo>
                    <a:pt x="33306" y="74328"/>
                    <a:pt x="34285" y="74328"/>
                    <a:pt x="35265" y="75223"/>
                  </a:cubicBezTo>
                  <a:cubicBezTo>
                    <a:pt x="35755" y="76119"/>
                    <a:pt x="35755" y="77014"/>
                    <a:pt x="35755" y="77910"/>
                  </a:cubicBezTo>
                  <a:cubicBezTo>
                    <a:pt x="35755" y="78805"/>
                    <a:pt x="35755" y="80597"/>
                    <a:pt x="35755" y="81492"/>
                  </a:cubicBezTo>
                  <a:cubicBezTo>
                    <a:pt x="35755" y="84179"/>
                    <a:pt x="35755" y="89552"/>
                    <a:pt x="36244" y="90447"/>
                  </a:cubicBezTo>
                  <a:cubicBezTo>
                    <a:pt x="36244" y="90447"/>
                    <a:pt x="37224" y="91343"/>
                    <a:pt x="37714" y="91343"/>
                  </a:cubicBezTo>
                  <a:cubicBezTo>
                    <a:pt x="40163" y="92238"/>
                    <a:pt x="42612" y="93134"/>
                    <a:pt x="42612" y="97611"/>
                  </a:cubicBezTo>
                  <a:cubicBezTo>
                    <a:pt x="42612" y="100298"/>
                    <a:pt x="42612" y="106567"/>
                    <a:pt x="42612" y="108358"/>
                  </a:cubicBezTo>
                  <a:cubicBezTo>
                    <a:pt x="45061" y="108358"/>
                    <a:pt x="48000" y="108358"/>
                    <a:pt x="48000" y="108358"/>
                  </a:cubicBezTo>
                  <a:cubicBezTo>
                    <a:pt x="48000" y="108358"/>
                    <a:pt x="57795" y="106567"/>
                    <a:pt x="59755" y="105671"/>
                  </a:cubicBezTo>
                  <a:cubicBezTo>
                    <a:pt x="60244" y="105671"/>
                    <a:pt x="61224" y="103880"/>
                    <a:pt x="62204" y="102089"/>
                  </a:cubicBezTo>
                  <a:cubicBezTo>
                    <a:pt x="62693" y="101194"/>
                    <a:pt x="63183" y="100298"/>
                    <a:pt x="63183" y="99402"/>
                  </a:cubicBezTo>
                  <a:cubicBezTo>
                    <a:pt x="64653" y="97611"/>
                    <a:pt x="66612" y="98507"/>
                    <a:pt x="67591" y="98507"/>
                  </a:cubicBezTo>
                  <a:cubicBezTo>
                    <a:pt x="68081" y="99402"/>
                    <a:pt x="68571" y="99402"/>
                    <a:pt x="68571" y="99402"/>
                  </a:cubicBezTo>
                  <a:cubicBezTo>
                    <a:pt x="70040" y="99402"/>
                    <a:pt x="71020" y="100298"/>
                    <a:pt x="72000" y="102985"/>
                  </a:cubicBezTo>
                  <a:cubicBezTo>
                    <a:pt x="72000" y="103880"/>
                    <a:pt x="72489" y="103880"/>
                    <a:pt x="72979" y="105671"/>
                  </a:cubicBezTo>
                  <a:cubicBezTo>
                    <a:pt x="73959" y="108358"/>
                    <a:pt x="75428" y="112835"/>
                    <a:pt x="76408" y="115522"/>
                  </a:cubicBezTo>
                  <a:cubicBezTo>
                    <a:pt x="76897" y="116417"/>
                    <a:pt x="77877" y="116417"/>
                    <a:pt x="79346" y="116417"/>
                  </a:cubicBezTo>
                  <a:cubicBezTo>
                    <a:pt x="79836" y="116417"/>
                    <a:pt x="80816" y="116417"/>
                    <a:pt x="81795" y="116417"/>
                  </a:cubicBezTo>
                  <a:cubicBezTo>
                    <a:pt x="83755" y="117313"/>
                    <a:pt x="84734" y="118208"/>
                    <a:pt x="85224" y="119104"/>
                  </a:cubicBezTo>
                  <a:cubicBezTo>
                    <a:pt x="85224" y="120000"/>
                    <a:pt x="85224" y="120000"/>
                    <a:pt x="85714" y="120000"/>
                  </a:cubicBezTo>
                  <a:cubicBezTo>
                    <a:pt x="86204" y="119104"/>
                    <a:pt x="87183" y="115522"/>
                    <a:pt x="88163" y="114626"/>
                  </a:cubicBezTo>
                  <a:cubicBezTo>
                    <a:pt x="88653" y="112835"/>
                    <a:pt x="89142" y="111940"/>
                    <a:pt x="89632" y="111044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7" name="Shape 7011">
              <a:extLst>
                <a:ext uri="{FF2B5EF4-FFF2-40B4-BE49-F238E27FC236}">
                  <a16:creationId xmlns:a16="http://schemas.microsoft.com/office/drawing/2014/main" id="{27DA4194-8C5D-4AD4-8F48-7AE04EFCEB0A}"/>
                </a:ext>
              </a:extLst>
            </p:cNvPr>
            <p:cNvSpPr/>
            <p:nvPr/>
          </p:nvSpPr>
          <p:spPr>
            <a:xfrm>
              <a:off x="1549525" y="3490457"/>
              <a:ext cx="250828" cy="21369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33230" y="119999"/>
                  </a:moveTo>
                  <a:cubicBezTo>
                    <a:pt x="36923" y="118947"/>
                    <a:pt x="41538" y="116842"/>
                    <a:pt x="43384" y="115789"/>
                  </a:cubicBezTo>
                  <a:cubicBezTo>
                    <a:pt x="45230" y="114736"/>
                    <a:pt x="48000" y="114736"/>
                    <a:pt x="53538" y="113684"/>
                  </a:cubicBezTo>
                  <a:cubicBezTo>
                    <a:pt x="55384" y="113684"/>
                    <a:pt x="57230" y="113684"/>
                    <a:pt x="58153" y="113684"/>
                  </a:cubicBezTo>
                  <a:cubicBezTo>
                    <a:pt x="60923" y="112631"/>
                    <a:pt x="64615" y="108421"/>
                    <a:pt x="66461" y="105263"/>
                  </a:cubicBezTo>
                  <a:cubicBezTo>
                    <a:pt x="67384" y="103157"/>
                    <a:pt x="69230" y="98947"/>
                    <a:pt x="71076" y="94736"/>
                  </a:cubicBezTo>
                  <a:cubicBezTo>
                    <a:pt x="72000" y="91578"/>
                    <a:pt x="72923" y="89473"/>
                    <a:pt x="73846" y="87368"/>
                  </a:cubicBezTo>
                  <a:cubicBezTo>
                    <a:pt x="75692" y="83157"/>
                    <a:pt x="76615" y="82105"/>
                    <a:pt x="79384" y="81052"/>
                  </a:cubicBezTo>
                  <a:cubicBezTo>
                    <a:pt x="79384" y="81052"/>
                    <a:pt x="79384" y="81052"/>
                    <a:pt x="80307" y="81052"/>
                  </a:cubicBezTo>
                  <a:cubicBezTo>
                    <a:pt x="83076" y="78947"/>
                    <a:pt x="86769" y="83157"/>
                    <a:pt x="89538" y="87368"/>
                  </a:cubicBezTo>
                  <a:cubicBezTo>
                    <a:pt x="90461" y="87368"/>
                    <a:pt x="91384" y="88421"/>
                    <a:pt x="91384" y="88421"/>
                  </a:cubicBezTo>
                  <a:cubicBezTo>
                    <a:pt x="92307" y="90526"/>
                    <a:pt x="96923" y="89473"/>
                    <a:pt x="98769" y="89473"/>
                  </a:cubicBezTo>
                  <a:cubicBezTo>
                    <a:pt x="100615" y="89473"/>
                    <a:pt x="101538" y="88421"/>
                    <a:pt x="103384" y="88421"/>
                  </a:cubicBezTo>
                  <a:cubicBezTo>
                    <a:pt x="104307" y="88421"/>
                    <a:pt x="104307" y="85263"/>
                    <a:pt x="104307" y="83157"/>
                  </a:cubicBezTo>
                  <a:cubicBezTo>
                    <a:pt x="105230" y="81052"/>
                    <a:pt x="105230" y="78947"/>
                    <a:pt x="105230" y="77894"/>
                  </a:cubicBezTo>
                  <a:cubicBezTo>
                    <a:pt x="107076" y="72631"/>
                    <a:pt x="109846" y="73684"/>
                    <a:pt x="113538" y="73684"/>
                  </a:cubicBezTo>
                  <a:cubicBezTo>
                    <a:pt x="114461" y="74736"/>
                    <a:pt x="115384" y="74736"/>
                    <a:pt x="116307" y="74736"/>
                  </a:cubicBezTo>
                  <a:cubicBezTo>
                    <a:pt x="117230" y="74736"/>
                    <a:pt x="118153" y="75789"/>
                    <a:pt x="120000" y="75789"/>
                  </a:cubicBezTo>
                  <a:cubicBezTo>
                    <a:pt x="120000" y="73684"/>
                    <a:pt x="120000" y="66315"/>
                    <a:pt x="120000" y="63157"/>
                  </a:cubicBezTo>
                  <a:cubicBezTo>
                    <a:pt x="120000" y="62105"/>
                    <a:pt x="115384" y="59999"/>
                    <a:pt x="113538" y="59999"/>
                  </a:cubicBezTo>
                  <a:cubicBezTo>
                    <a:pt x="111692" y="58947"/>
                    <a:pt x="110769" y="58947"/>
                    <a:pt x="109846" y="58947"/>
                  </a:cubicBezTo>
                  <a:cubicBezTo>
                    <a:pt x="107076" y="56842"/>
                    <a:pt x="107076" y="51578"/>
                    <a:pt x="107076" y="44210"/>
                  </a:cubicBezTo>
                  <a:cubicBezTo>
                    <a:pt x="107076" y="42105"/>
                    <a:pt x="107076" y="41052"/>
                    <a:pt x="107076" y="40000"/>
                  </a:cubicBezTo>
                  <a:cubicBezTo>
                    <a:pt x="107076" y="40000"/>
                    <a:pt x="107076" y="40000"/>
                    <a:pt x="107076" y="40000"/>
                  </a:cubicBezTo>
                  <a:cubicBezTo>
                    <a:pt x="107076" y="40000"/>
                    <a:pt x="105230" y="40000"/>
                    <a:pt x="104307" y="40000"/>
                  </a:cubicBezTo>
                  <a:cubicBezTo>
                    <a:pt x="103384" y="40000"/>
                    <a:pt x="102461" y="40000"/>
                    <a:pt x="101538" y="40000"/>
                  </a:cubicBezTo>
                  <a:cubicBezTo>
                    <a:pt x="98769" y="40000"/>
                    <a:pt x="92307" y="36842"/>
                    <a:pt x="90461" y="34736"/>
                  </a:cubicBezTo>
                  <a:cubicBezTo>
                    <a:pt x="87692" y="31578"/>
                    <a:pt x="84000" y="26315"/>
                    <a:pt x="82153" y="21052"/>
                  </a:cubicBezTo>
                  <a:cubicBezTo>
                    <a:pt x="81230" y="16842"/>
                    <a:pt x="80307" y="15789"/>
                    <a:pt x="78461" y="15789"/>
                  </a:cubicBezTo>
                  <a:cubicBezTo>
                    <a:pt x="78461" y="15789"/>
                    <a:pt x="77538" y="16842"/>
                    <a:pt x="76615" y="17894"/>
                  </a:cubicBezTo>
                  <a:cubicBezTo>
                    <a:pt x="75692" y="20000"/>
                    <a:pt x="74769" y="21052"/>
                    <a:pt x="73846" y="22105"/>
                  </a:cubicBezTo>
                  <a:cubicBezTo>
                    <a:pt x="71076" y="24210"/>
                    <a:pt x="68307" y="25263"/>
                    <a:pt x="66461" y="25263"/>
                  </a:cubicBezTo>
                  <a:cubicBezTo>
                    <a:pt x="64615" y="24210"/>
                    <a:pt x="62769" y="23157"/>
                    <a:pt x="61846" y="22105"/>
                  </a:cubicBezTo>
                  <a:cubicBezTo>
                    <a:pt x="60000" y="20000"/>
                    <a:pt x="57230" y="18947"/>
                    <a:pt x="54461" y="18947"/>
                  </a:cubicBezTo>
                  <a:cubicBezTo>
                    <a:pt x="51692" y="18947"/>
                    <a:pt x="48923" y="17894"/>
                    <a:pt x="44307" y="13684"/>
                  </a:cubicBezTo>
                  <a:cubicBezTo>
                    <a:pt x="40615" y="10526"/>
                    <a:pt x="38769" y="9473"/>
                    <a:pt x="37846" y="9473"/>
                  </a:cubicBezTo>
                  <a:cubicBezTo>
                    <a:pt x="36923" y="9473"/>
                    <a:pt x="36000" y="9473"/>
                    <a:pt x="24000" y="3157"/>
                  </a:cubicBezTo>
                  <a:cubicBezTo>
                    <a:pt x="22153" y="2105"/>
                    <a:pt x="12000" y="0"/>
                    <a:pt x="7384" y="1052"/>
                  </a:cubicBezTo>
                  <a:cubicBezTo>
                    <a:pt x="4615" y="1052"/>
                    <a:pt x="3692" y="2105"/>
                    <a:pt x="2769" y="5263"/>
                  </a:cubicBezTo>
                  <a:cubicBezTo>
                    <a:pt x="2769" y="6315"/>
                    <a:pt x="1846" y="6315"/>
                    <a:pt x="1846" y="7368"/>
                  </a:cubicBezTo>
                  <a:cubicBezTo>
                    <a:pt x="4615" y="9473"/>
                    <a:pt x="9230" y="15789"/>
                    <a:pt x="6461" y="20000"/>
                  </a:cubicBezTo>
                  <a:cubicBezTo>
                    <a:pt x="6461" y="21052"/>
                    <a:pt x="5538" y="22105"/>
                    <a:pt x="5538" y="23157"/>
                  </a:cubicBezTo>
                  <a:cubicBezTo>
                    <a:pt x="3692" y="24210"/>
                    <a:pt x="2769" y="26315"/>
                    <a:pt x="2769" y="28421"/>
                  </a:cubicBezTo>
                  <a:cubicBezTo>
                    <a:pt x="2769" y="29473"/>
                    <a:pt x="1846" y="30526"/>
                    <a:pt x="1846" y="31578"/>
                  </a:cubicBezTo>
                  <a:cubicBezTo>
                    <a:pt x="923" y="33684"/>
                    <a:pt x="0" y="38947"/>
                    <a:pt x="0" y="40000"/>
                  </a:cubicBezTo>
                  <a:cubicBezTo>
                    <a:pt x="1846" y="40000"/>
                    <a:pt x="1846" y="40000"/>
                    <a:pt x="1846" y="40000"/>
                  </a:cubicBezTo>
                  <a:cubicBezTo>
                    <a:pt x="6461" y="41052"/>
                    <a:pt x="16615" y="42105"/>
                    <a:pt x="20307" y="46315"/>
                  </a:cubicBezTo>
                  <a:cubicBezTo>
                    <a:pt x="24000" y="50526"/>
                    <a:pt x="38769" y="68421"/>
                    <a:pt x="40615" y="71578"/>
                  </a:cubicBezTo>
                  <a:cubicBezTo>
                    <a:pt x="41538" y="72631"/>
                    <a:pt x="41538" y="72631"/>
                    <a:pt x="41538" y="72631"/>
                  </a:cubicBezTo>
                  <a:cubicBezTo>
                    <a:pt x="43384" y="75789"/>
                    <a:pt x="46153" y="78947"/>
                    <a:pt x="43384" y="83157"/>
                  </a:cubicBezTo>
                  <a:cubicBezTo>
                    <a:pt x="42461" y="86315"/>
                    <a:pt x="35076" y="111578"/>
                    <a:pt x="33230" y="119999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8" name="Shape 7012">
              <a:extLst>
                <a:ext uri="{FF2B5EF4-FFF2-40B4-BE49-F238E27FC236}">
                  <a16:creationId xmlns:a16="http://schemas.microsoft.com/office/drawing/2014/main" id="{DB3FD081-5C2B-4ED3-86E3-A969C3775196}"/>
                </a:ext>
              </a:extLst>
            </p:cNvPr>
            <p:cNvSpPr/>
            <p:nvPr/>
          </p:nvSpPr>
          <p:spPr>
            <a:xfrm>
              <a:off x="1335357" y="3484858"/>
              <a:ext cx="59812" cy="6345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38709" y="98823"/>
                  </a:moveTo>
                  <a:cubicBezTo>
                    <a:pt x="38709" y="98823"/>
                    <a:pt x="42580" y="98823"/>
                    <a:pt x="46451" y="102352"/>
                  </a:cubicBezTo>
                  <a:cubicBezTo>
                    <a:pt x="50322" y="102352"/>
                    <a:pt x="54193" y="105882"/>
                    <a:pt x="54193" y="109411"/>
                  </a:cubicBezTo>
                  <a:cubicBezTo>
                    <a:pt x="58064" y="112941"/>
                    <a:pt x="61935" y="116470"/>
                    <a:pt x="73548" y="116470"/>
                  </a:cubicBezTo>
                  <a:cubicBezTo>
                    <a:pt x="77419" y="120000"/>
                    <a:pt x="85161" y="120000"/>
                    <a:pt x="89032" y="120000"/>
                  </a:cubicBezTo>
                  <a:cubicBezTo>
                    <a:pt x="92903" y="120000"/>
                    <a:pt x="92903" y="120000"/>
                    <a:pt x="92903" y="120000"/>
                  </a:cubicBezTo>
                  <a:cubicBezTo>
                    <a:pt x="92903" y="120000"/>
                    <a:pt x="92903" y="116470"/>
                    <a:pt x="92903" y="116470"/>
                  </a:cubicBezTo>
                  <a:cubicBezTo>
                    <a:pt x="92903" y="112941"/>
                    <a:pt x="92903" y="109411"/>
                    <a:pt x="89032" y="109411"/>
                  </a:cubicBezTo>
                  <a:cubicBezTo>
                    <a:pt x="89032" y="102352"/>
                    <a:pt x="81290" y="95294"/>
                    <a:pt x="96774" y="84705"/>
                  </a:cubicBezTo>
                  <a:cubicBezTo>
                    <a:pt x="108387" y="74117"/>
                    <a:pt x="120000" y="60000"/>
                    <a:pt x="120000" y="52941"/>
                  </a:cubicBezTo>
                  <a:cubicBezTo>
                    <a:pt x="120000" y="49411"/>
                    <a:pt x="116129" y="45882"/>
                    <a:pt x="108387" y="45882"/>
                  </a:cubicBezTo>
                  <a:cubicBezTo>
                    <a:pt x="96774" y="45882"/>
                    <a:pt x="81290" y="28235"/>
                    <a:pt x="73548" y="21176"/>
                  </a:cubicBezTo>
                  <a:cubicBezTo>
                    <a:pt x="73548" y="21176"/>
                    <a:pt x="73548" y="17647"/>
                    <a:pt x="73548" y="17647"/>
                  </a:cubicBezTo>
                  <a:cubicBezTo>
                    <a:pt x="73548" y="10588"/>
                    <a:pt x="69677" y="0"/>
                    <a:pt x="65806" y="0"/>
                  </a:cubicBezTo>
                  <a:cubicBezTo>
                    <a:pt x="65806" y="0"/>
                    <a:pt x="61935" y="0"/>
                    <a:pt x="58064" y="0"/>
                  </a:cubicBezTo>
                  <a:cubicBezTo>
                    <a:pt x="50322" y="3529"/>
                    <a:pt x="46451" y="3529"/>
                    <a:pt x="46451" y="7058"/>
                  </a:cubicBezTo>
                  <a:cubicBezTo>
                    <a:pt x="46451" y="7058"/>
                    <a:pt x="46451" y="52941"/>
                    <a:pt x="27096" y="52941"/>
                  </a:cubicBezTo>
                  <a:cubicBezTo>
                    <a:pt x="15483" y="52941"/>
                    <a:pt x="11612" y="56470"/>
                    <a:pt x="7741" y="56470"/>
                  </a:cubicBezTo>
                  <a:cubicBezTo>
                    <a:pt x="7741" y="56470"/>
                    <a:pt x="7741" y="60000"/>
                    <a:pt x="7741" y="60000"/>
                  </a:cubicBezTo>
                  <a:cubicBezTo>
                    <a:pt x="7741" y="67058"/>
                    <a:pt x="7741" y="67058"/>
                    <a:pt x="7741" y="67058"/>
                  </a:cubicBezTo>
                  <a:cubicBezTo>
                    <a:pt x="11612" y="77647"/>
                    <a:pt x="11612" y="84705"/>
                    <a:pt x="11612" y="95294"/>
                  </a:cubicBezTo>
                  <a:cubicBezTo>
                    <a:pt x="7741" y="102352"/>
                    <a:pt x="3870" y="105882"/>
                    <a:pt x="0" y="109411"/>
                  </a:cubicBezTo>
                  <a:cubicBezTo>
                    <a:pt x="0" y="112941"/>
                    <a:pt x="0" y="112941"/>
                    <a:pt x="0" y="112941"/>
                  </a:cubicBezTo>
                  <a:cubicBezTo>
                    <a:pt x="7741" y="112941"/>
                    <a:pt x="11612" y="109411"/>
                    <a:pt x="19354" y="105882"/>
                  </a:cubicBezTo>
                  <a:cubicBezTo>
                    <a:pt x="23225" y="102352"/>
                    <a:pt x="30967" y="98823"/>
                    <a:pt x="38709" y="98823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9" name="Shape 7013">
              <a:extLst>
                <a:ext uri="{FF2B5EF4-FFF2-40B4-BE49-F238E27FC236}">
                  <a16:creationId xmlns:a16="http://schemas.microsoft.com/office/drawing/2014/main" id="{A24E9FB0-784D-4CFE-8B71-60CDF8195011}"/>
                </a:ext>
              </a:extLst>
            </p:cNvPr>
            <p:cNvSpPr/>
            <p:nvPr/>
          </p:nvSpPr>
          <p:spPr>
            <a:xfrm>
              <a:off x="1435687" y="3479258"/>
              <a:ext cx="200662" cy="264086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25384" y="74042"/>
                  </a:moveTo>
                  <a:cubicBezTo>
                    <a:pt x="24230" y="74893"/>
                    <a:pt x="21923" y="75744"/>
                    <a:pt x="21923" y="77446"/>
                  </a:cubicBezTo>
                  <a:cubicBezTo>
                    <a:pt x="21923" y="79148"/>
                    <a:pt x="20769" y="82553"/>
                    <a:pt x="20769" y="84255"/>
                  </a:cubicBezTo>
                  <a:cubicBezTo>
                    <a:pt x="23076" y="85106"/>
                    <a:pt x="27692" y="86808"/>
                    <a:pt x="28846" y="88510"/>
                  </a:cubicBezTo>
                  <a:cubicBezTo>
                    <a:pt x="28846" y="89361"/>
                    <a:pt x="28846" y="90212"/>
                    <a:pt x="27692" y="91063"/>
                  </a:cubicBezTo>
                  <a:cubicBezTo>
                    <a:pt x="27692" y="91063"/>
                    <a:pt x="27692" y="91914"/>
                    <a:pt x="26538" y="92765"/>
                  </a:cubicBezTo>
                  <a:cubicBezTo>
                    <a:pt x="26538" y="93617"/>
                    <a:pt x="25384" y="94468"/>
                    <a:pt x="25384" y="94468"/>
                  </a:cubicBezTo>
                  <a:cubicBezTo>
                    <a:pt x="25384" y="94468"/>
                    <a:pt x="25384" y="94468"/>
                    <a:pt x="25384" y="94468"/>
                  </a:cubicBezTo>
                  <a:cubicBezTo>
                    <a:pt x="25384" y="94468"/>
                    <a:pt x="25384" y="94468"/>
                    <a:pt x="25384" y="94468"/>
                  </a:cubicBezTo>
                  <a:cubicBezTo>
                    <a:pt x="26538" y="95319"/>
                    <a:pt x="28846" y="95319"/>
                    <a:pt x="30000" y="96170"/>
                  </a:cubicBezTo>
                  <a:cubicBezTo>
                    <a:pt x="33461" y="96170"/>
                    <a:pt x="38076" y="97021"/>
                    <a:pt x="38076" y="100425"/>
                  </a:cubicBezTo>
                  <a:cubicBezTo>
                    <a:pt x="38076" y="101276"/>
                    <a:pt x="38076" y="102127"/>
                    <a:pt x="38076" y="102127"/>
                  </a:cubicBezTo>
                  <a:cubicBezTo>
                    <a:pt x="38076" y="104680"/>
                    <a:pt x="38076" y="107234"/>
                    <a:pt x="39230" y="107234"/>
                  </a:cubicBezTo>
                  <a:cubicBezTo>
                    <a:pt x="40384" y="107234"/>
                    <a:pt x="40384" y="107234"/>
                    <a:pt x="41538" y="107234"/>
                  </a:cubicBezTo>
                  <a:cubicBezTo>
                    <a:pt x="45000" y="107234"/>
                    <a:pt x="48461" y="107234"/>
                    <a:pt x="50769" y="110638"/>
                  </a:cubicBezTo>
                  <a:cubicBezTo>
                    <a:pt x="51923" y="112340"/>
                    <a:pt x="55384" y="117446"/>
                    <a:pt x="57692" y="120000"/>
                  </a:cubicBezTo>
                  <a:cubicBezTo>
                    <a:pt x="60000" y="117446"/>
                    <a:pt x="63461" y="114893"/>
                    <a:pt x="64615" y="114042"/>
                  </a:cubicBezTo>
                  <a:cubicBezTo>
                    <a:pt x="68076" y="112340"/>
                    <a:pt x="75000" y="111489"/>
                    <a:pt x="79615" y="111489"/>
                  </a:cubicBezTo>
                  <a:cubicBezTo>
                    <a:pt x="80769" y="111489"/>
                    <a:pt x="81923" y="109787"/>
                    <a:pt x="85384" y="106382"/>
                  </a:cubicBezTo>
                  <a:cubicBezTo>
                    <a:pt x="85384" y="105531"/>
                    <a:pt x="86538" y="104680"/>
                    <a:pt x="86538" y="104680"/>
                  </a:cubicBezTo>
                  <a:cubicBezTo>
                    <a:pt x="88846" y="102127"/>
                    <a:pt x="92307" y="102978"/>
                    <a:pt x="95769" y="102978"/>
                  </a:cubicBezTo>
                  <a:cubicBezTo>
                    <a:pt x="98076" y="102978"/>
                    <a:pt x="99230" y="102978"/>
                    <a:pt x="100384" y="102978"/>
                  </a:cubicBezTo>
                  <a:cubicBezTo>
                    <a:pt x="101538" y="102978"/>
                    <a:pt x="102692" y="102978"/>
                    <a:pt x="103846" y="102978"/>
                  </a:cubicBezTo>
                  <a:cubicBezTo>
                    <a:pt x="106153" y="96170"/>
                    <a:pt x="116538" y="74042"/>
                    <a:pt x="118846" y="70638"/>
                  </a:cubicBezTo>
                  <a:cubicBezTo>
                    <a:pt x="120000" y="69787"/>
                    <a:pt x="118846" y="68085"/>
                    <a:pt x="116538" y="65531"/>
                  </a:cubicBezTo>
                  <a:cubicBezTo>
                    <a:pt x="115384" y="64680"/>
                    <a:pt x="115384" y="64680"/>
                    <a:pt x="115384" y="64680"/>
                  </a:cubicBezTo>
                  <a:cubicBezTo>
                    <a:pt x="113076" y="62978"/>
                    <a:pt x="94615" y="49361"/>
                    <a:pt x="90000" y="45106"/>
                  </a:cubicBezTo>
                  <a:cubicBezTo>
                    <a:pt x="86538" y="42553"/>
                    <a:pt x="73846" y="41702"/>
                    <a:pt x="69230" y="40851"/>
                  </a:cubicBezTo>
                  <a:cubicBezTo>
                    <a:pt x="68076" y="40851"/>
                    <a:pt x="68076" y="40851"/>
                    <a:pt x="68076" y="40851"/>
                  </a:cubicBezTo>
                  <a:cubicBezTo>
                    <a:pt x="65769" y="40851"/>
                    <a:pt x="64615" y="40000"/>
                    <a:pt x="64615" y="39148"/>
                  </a:cubicBezTo>
                  <a:cubicBezTo>
                    <a:pt x="62307" y="36595"/>
                    <a:pt x="64615" y="33191"/>
                    <a:pt x="65769" y="29787"/>
                  </a:cubicBezTo>
                  <a:cubicBezTo>
                    <a:pt x="66923" y="28936"/>
                    <a:pt x="66923" y="28085"/>
                    <a:pt x="66923" y="27234"/>
                  </a:cubicBezTo>
                  <a:cubicBezTo>
                    <a:pt x="68076" y="24680"/>
                    <a:pt x="69230" y="22978"/>
                    <a:pt x="70384" y="21276"/>
                  </a:cubicBezTo>
                  <a:cubicBezTo>
                    <a:pt x="71538" y="20425"/>
                    <a:pt x="71538" y="20425"/>
                    <a:pt x="72692" y="19574"/>
                  </a:cubicBezTo>
                  <a:cubicBezTo>
                    <a:pt x="72692" y="18723"/>
                    <a:pt x="71538" y="16170"/>
                    <a:pt x="68076" y="13617"/>
                  </a:cubicBezTo>
                  <a:cubicBezTo>
                    <a:pt x="64615" y="15319"/>
                    <a:pt x="61153" y="14468"/>
                    <a:pt x="58846" y="13617"/>
                  </a:cubicBezTo>
                  <a:cubicBezTo>
                    <a:pt x="57692" y="13617"/>
                    <a:pt x="56538" y="13617"/>
                    <a:pt x="56538" y="13617"/>
                  </a:cubicBezTo>
                  <a:cubicBezTo>
                    <a:pt x="54230" y="13617"/>
                    <a:pt x="53076" y="14468"/>
                    <a:pt x="50769" y="15319"/>
                  </a:cubicBezTo>
                  <a:cubicBezTo>
                    <a:pt x="49615" y="15319"/>
                    <a:pt x="49615" y="16170"/>
                    <a:pt x="48461" y="16170"/>
                  </a:cubicBezTo>
                  <a:cubicBezTo>
                    <a:pt x="43846" y="18723"/>
                    <a:pt x="36923" y="13617"/>
                    <a:pt x="31153" y="8510"/>
                  </a:cubicBezTo>
                  <a:cubicBezTo>
                    <a:pt x="30000" y="7659"/>
                    <a:pt x="30000" y="7659"/>
                    <a:pt x="28846" y="7659"/>
                  </a:cubicBezTo>
                  <a:cubicBezTo>
                    <a:pt x="26538" y="5106"/>
                    <a:pt x="24230" y="4255"/>
                    <a:pt x="24230" y="1702"/>
                  </a:cubicBezTo>
                  <a:cubicBezTo>
                    <a:pt x="24230" y="851"/>
                    <a:pt x="24230" y="851"/>
                    <a:pt x="24230" y="0"/>
                  </a:cubicBezTo>
                  <a:cubicBezTo>
                    <a:pt x="23076" y="0"/>
                    <a:pt x="19615" y="0"/>
                    <a:pt x="19615" y="851"/>
                  </a:cubicBezTo>
                  <a:cubicBezTo>
                    <a:pt x="18461" y="5106"/>
                    <a:pt x="17307" y="8510"/>
                    <a:pt x="13846" y="10212"/>
                  </a:cubicBezTo>
                  <a:cubicBezTo>
                    <a:pt x="13846" y="10212"/>
                    <a:pt x="12692" y="11063"/>
                    <a:pt x="12692" y="11063"/>
                  </a:cubicBezTo>
                  <a:cubicBezTo>
                    <a:pt x="10384" y="11914"/>
                    <a:pt x="8076" y="12765"/>
                    <a:pt x="8076" y="13617"/>
                  </a:cubicBezTo>
                  <a:cubicBezTo>
                    <a:pt x="9230" y="14468"/>
                    <a:pt x="9230" y="14468"/>
                    <a:pt x="9230" y="14468"/>
                  </a:cubicBezTo>
                  <a:cubicBezTo>
                    <a:pt x="10384" y="17021"/>
                    <a:pt x="11538" y="19574"/>
                    <a:pt x="10384" y="21276"/>
                  </a:cubicBezTo>
                  <a:cubicBezTo>
                    <a:pt x="9230" y="22127"/>
                    <a:pt x="9230" y="22978"/>
                    <a:pt x="6923" y="23829"/>
                  </a:cubicBezTo>
                  <a:cubicBezTo>
                    <a:pt x="4615" y="23829"/>
                    <a:pt x="3461" y="24680"/>
                    <a:pt x="1153" y="25531"/>
                  </a:cubicBezTo>
                  <a:cubicBezTo>
                    <a:pt x="0" y="26382"/>
                    <a:pt x="0" y="26382"/>
                    <a:pt x="1153" y="27234"/>
                  </a:cubicBezTo>
                  <a:cubicBezTo>
                    <a:pt x="1153" y="27234"/>
                    <a:pt x="1153" y="28085"/>
                    <a:pt x="1153" y="28936"/>
                  </a:cubicBezTo>
                  <a:cubicBezTo>
                    <a:pt x="2307" y="30638"/>
                    <a:pt x="3461" y="34042"/>
                    <a:pt x="5769" y="34893"/>
                  </a:cubicBezTo>
                  <a:cubicBezTo>
                    <a:pt x="6923" y="34893"/>
                    <a:pt x="6923" y="35744"/>
                    <a:pt x="8076" y="35744"/>
                  </a:cubicBezTo>
                  <a:cubicBezTo>
                    <a:pt x="10384" y="36595"/>
                    <a:pt x="12692" y="38297"/>
                    <a:pt x="12692" y="40851"/>
                  </a:cubicBezTo>
                  <a:cubicBezTo>
                    <a:pt x="12692" y="42553"/>
                    <a:pt x="12692" y="43404"/>
                    <a:pt x="12692" y="44255"/>
                  </a:cubicBezTo>
                  <a:cubicBezTo>
                    <a:pt x="11538" y="46808"/>
                    <a:pt x="11538" y="46808"/>
                    <a:pt x="13846" y="47659"/>
                  </a:cubicBezTo>
                  <a:cubicBezTo>
                    <a:pt x="13846" y="47659"/>
                    <a:pt x="15000" y="48510"/>
                    <a:pt x="16153" y="48510"/>
                  </a:cubicBezTo>
                  <a:cubicBezTo>
                    <a:pt x="21923" y="50212"/>
                    <a:pt x="28846" y="52765"/>
                    <a:pt x="28846" y="56170"/>
                  </a:cubicBezTo>
                  <a:cubicBezTo>
                    <a:pt x="28846" y="56170"/>
                    <a:pt x="28846" y="57021"/>
                    <a:pt x="28846" y="58723"/>
                  </a:cubicBezTo>
                  <a:cubicBezTo>
                    <a:pt x="28846" y="68085"/>
                    <a:pt x="28846" y="72340"/>
                    <a:pt x="25384" y="74042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0" name="Shape 7014">
              <a:extLst>
                <a:ext uri="{FF2B5EF4-FFF2-40B4-BE49-F238E27FC236}">
                  <a16:creationId xmlns:a16="http://schemas.microsoft.com/office/drawing/2014/main" id="{60FBB6A1-7B00-4567-A6F6-F6DDCB81BF68}"/>
                </a:ext>
              </a:extLst>
            </p:cNvPr>
            <p:cNvSpPr/>
            <p:nvPr/>
          </p:nvSpPr>
          <p:spPr>
            <a:xfrm>
              <a:off x="1265896" y="3666827"/>
              <a:ext cx="285556" cy="20902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21081" y="92142"/>
                  </a:moveTo>
                  <a:cubicBezTo>
                    <a:pt x="23513" y="92142"/>
                    <a:pt x="27567" y="92142"/>
                    <a:pt x="29189" y="93214"/>
                  </a:cubicBezTo>
                  <a:cubicBezTo>
                    <a:pt x="30000" y="94285"/>
                    <a:pt x="30810" y="94285"/>
                    <a:pt x="31621" y="94285"/>
                  </a:cubicBezTo>
                  <a:cubicBezTo>
                    <a:pt x="34864" y="94285"/>
                    <a:pt x="38918" y="95357"/>
                    <a:pt x="40540" y="99642"/>
                  </a:cubicBezTo>
                  <a:cubicBezTo>
                    <a:pt x="40540" y="100714"/>
                    <a:pt x="41351" y="101785"/>
                    <a:pt x="41351" y="102857"/>
                  </a:cubicBezTo>
                  <a:cubicBezTo>
                    <a:pt x="42162" y="106071"/>
                    <a:pt x="42972" y="107142"/>
                    <a:pt x="43783" y="108214"/>
                  </a:cubicBezTo>
                  <a:cubicBezTo>
                    <a:pt x="45405" y="109285"/>
                    <a:pt x="45405" y="109285"/>
                    <a:pt x="45405" y="109285"/>
                  </a:cubicBezTo>
                  <a:cubicBezTo>
                    <a:pt x="47027" y="111428"/>
                    <a:pt x="50270" y="113571"/>
                    <a:pt x="51081" y="112499"/>
                  </a:cubicBezTo>
                  <a:cubicBezTo>
                    <a:pt x="51891" y="111428"/>
                    <a:pt x="52702" y="111428"/>
                    <a:pt x="52702" y="110357"/>
                  </a:cubicBezTo>
                  <a:cubicBezTo>
                    <a:pt x="55945" y="106071"/>
                    <a:pt x="57567" y="102857"/>
                    <a:pt x="60000" y="102857"/>
                  </a:cubicBezTo>
                  <a:cubicBezTo>
                    <a:pt x="60810" y="102857"/>
                    <a:pt x="61621" y="102857"/>
                    <a:pt x="62432" y="103928"/>
                  </a:cubicBezTo>
                  <a:cubicBezTo>
                    <a:pt x="63243" y="104999"/>
                    <a:pt x="63243" y="106071"/>
                    <a:pt x="64054" y="107142"/>
                  </a:cubicBezTo>
                  <a:cubicBezTo>
                    <a:pt x="64864" y="109285"/>
                    <a:pt x="65675" y="110357"/>
                    <a:pt x="66486" y="110357"/>
                  </a:cubicBezTo>
                  <a:cubicBezTo>
                    <a:pt x="67297" y="110357"/>
                    <a:pt x="67297" y="110357"/>
                    <a:pt x="68108" y="110357"/>
                  </a:cubicBezTo>
                  <a:cubicBezTo>
                    <a:pt x="69729" y="109285"/>
                    <a:pt x="71351" y="109285"/>
                    <a:pt x="73783" y="111428"/>
                  </a:cubicBezTo>
                  <a:cubicBezTo>
                    <a:pt x="75405" y="112499"/>
                    <a:pt x="77837" y="117857"/>
                    <a:pt x="78648" y="118928"/>
                  </a:cubicBezTo>
                  <a:cubicBezTo>
                    <a:pt x="79459" y="119999"/>
                    <a:pt x="81081" y="119999"/>
                    <a:pt x="82702" y="119999"/>
                  </a:cubicBezTo>
                  <a:cubicBezTo>
                    <a:pt x="83513" y="119999"/>
                    <a:pt x="86756" y="117857"/>
                    <a:pt x="90000" y="114642"/>
                  </a:cubicBezTo>
                  <a:cubicBezTo>
                    <a:pt x="90810" y="111428"/>
                    <a:pt x="93243" y="107142"/>
                    <a:pt x="93243" y="104999"/>
                  </a:cubicBezTo>
                  <a:cubicBezTo>
                    <a:pt x="93243" y="103928"/>
                    <a:pt x="93243" y="103928"/>
                    <a:pt x="94054" y="102857"/>
                  </a:cubicBezTo>
                  <a:cubicBezTo>
                    <a:pt x="94864" y="100714"/>
                    <a:pt x="97297" y="100714"/>
                    <a:pt x="100540" y="101785"/>
                  </a:cubicBezTo>
                  <a:cubicBezTo>
                    <a:pt x="101351" y="101785"/>
                    <a:pt x="102972" y="101785"/>
                    <a:pt x="103783" y="100714"/>
                  </a:cubicBezTo>
                  <a:cubicBezTo>
                    <a:pt x="104594" y="100714"/>
                    <a:pt x="104594" y="100714"/>
                    <a:pt x="105405" y="98571"/>
                  </a:cubicBezTo>
                  <a:cubicBezTo>
                    <a:pt x="106216" y="97499"/>
                    <a:pt x="107027" y="95357"/>
                    <a:pt x="107837" y="94285"/>
                  </a:cubicBezTo>
                  <a:cubicBezTo>
                    <a:pt x="109459" y="92142"/>
                    <a:pt x="111891" y="89999"/>
                    <a:pt x="114324" y="88928"/>
                  </a:cubicBezTo>
                  <a:cubicBezTo>
                    <a:pt x="115945" y="87857"/>
                    <a:pt x="118378" y="86785"/>
                    <a:pt x="119189" y="85714"/>
                  </a:cubicBezTo>
                  <a:cubicBezTo>
                    <a:pt x="119189" y="85714"/>
                    <a:pt x="120000" y="83571"/>
                    <a:pt x="120000" y="81428"/>
                  </a:cubicBezTo>
                  <a:cubicBezTo>
                    <a:pt x="120000" y="81428"/>
                    <a:pt x="120000" y="81428"/>
                    <a:pt x="120000" y="81428"/>
                  </a:cubicBezTo>
                  <a:cubicBezTo>
                    <a:pt x="119189" y="80357"/>
                    <a:pt x="119189" y="79285"/>
                    <a:pt x="120000" y="78214"/>
                  </a:cubicBezTo>
                  <a:cubicBezTo>
                    <a:pt x="120000" y="76071"/>
                    <a:pt x="119189" y="73928"/>
                    <a:pt x="119189" y="72857"/>
                  </a:cubicBezTo>
                  <a:cubicBezTo>
                    <a:pt x="118378" y="70714"/>
                    <a:pt x="116756" y="68571"/>
                    <a:pt x="115135" y="66428"/>
                  </a:cubicBezTo>
                  <a:cubicBezTo>
                    <a:pt x="114324" y="65357"/>
                    <a:pt x="113513" y="64285"/>
                    <a:pt x="113513" y="63214"/>
                  </a:cubicBezTo>
                  <a:cubicBezTo>
                    <a:pt x="111891" y="59999"/>
                    <a:pt x="109459" y="56785"/>
                    <a:pt x="109459" y="52499"/>
                  </a:cubicBezTo>
                  <a:cubicBezTo>
                    <a:pt x="108648" y="50357"/>
                    <a:pt x="109459" y="49285"/>
                    <a:pt x="109459" y="48214"/>
                  </a:cubicBezTo>
                  <a:cubicBezTo>
                    <a:pt x="109459" y="46071"/>
                    <a:pt x="105405" y="37500"/>
                    <a:pt x="103783" y="33214"/>
                  </a:cubicBezTo>
                  <a:cubicBezTo>
                    <a:pt x="102972" y="32142"/>
                    <a:pt x="102972" y="32142"/>
                    <a:pt x="100540" y="32142"/>
                  </a:cubicBezTo>
                  <a:cubicBezTo>
                    <a:pt x="99729" y="32142"/>
                    <a:pt x="98918" y="32142"/>
                    <a:pt x="98108" y="32142"/>
                  </a:cubicBezTo>
                  <a:cubicBezTo>
                    <a:pt x="94054" y="31071"/>
                    <a:pt x="94864" y="25714"/>
                    <a:pt x="94864" y="21428"/>
                  </a:cubicBezTo>
                  <a:cubicBezTo>
                    <a:pt x="94864" y="19285"/>
                    <a:pt x="94864" y="19285"/>
                    <a:pt x="94864" y="19285"/>
                  </a:cubicBezTo>
                  <a:cubicBezTo>
                    <a:pt x="94864" y="19285"/>
                    <a:pt x="94054" y="18214"/>
                    <a:pt x="91621" y="17142"/>
                  </a:cubicBezTo>
                  <a:cubicBezTo>
                    <a:pt x="90000" y="17142"/>
                    <a:pt x="89189" y="17142"/>
                    <a:pt x="87567" y="16071"/>
                  </a:cubicBezTo>
                  <a:cubicBezTo>
                    <a:pt x="86756" y="14999"/>
                    <a:pt x="85945" y="13928"/>
                    <a:pt x="85945" y="12857"/>
                  </a:cubicBezTo>
                  <a:cubicBezTo>
                    <a:pt x="85945" y="10714"/>
                    <a:pt x="86756" y="8571"/>
                    <a:pt x="87567" y="7499"/>
                  </a:cubicBezTo>
                  <a:cubicBezTo>
                    <a:pt x="87567" y="6428"/>
                    <a:pt x="87567" y="6428"/>
                    <a:pt x="88378" y="5357"/>
                  </a:cubicBezTo>
                  <a:cubicBezTo>
                    <a:pt x="87567" y="4285"/>
                    <a:pt x="85945" y="3214"/>
                    <a:pt x="83513" y="2142"/>
                  </a:cubicBezTo>
                  <a:cubicBezTo>
                    <a:pt x="78648" y="1071"/>
                    <a:pt x="73783" y="0"/>
                    <a:pt x="72162" y="1071"/>
                  </a:cubicBezTo>
                  <a:cubicBezTo>
                    <a:pt x="70540" y="4285"/>
                    <a:pt x="65675" y="7499"/>
                    <a:pt x="64054" y="7499"/>
                  </a:cubicBezTo>
                  <a:cubicBezTo>
                    <a:pt x="63243" y="7499"/>
                    <a:pt x="61621" y="6428"/>
                    <a:pt x="57567" y="4285"/>
                  </a:cubicBezTo>
                  <a:cubicBezTo>
                    <a:pt x="55135" y="3214"/>
                    <a:pt x="51081" y="0"/>
                    <a:pt x="49459" y="0"/>
                  </a:cubicBezTo>
                  <a:cubicBezTo>
                    <a:pt x="49459" y="0"/>
                    <a:pt x="48648" y="1071"/>
                    <a:pt x="48648" y="1071"/>
                  </a:cubicBezTo>
                  <a:cubicBezTo>
                    <a:pt x="47837" y="3214"/>
                    <a:pt x="47027" y="6428"/>
                    <a:pt x="43783" y="6428"/>
                  </a:cubicBezTo>
                  <a:cubicBezTo>
                    <a:pt x="41351" y="7499"/>
                    <a:pt x="38108" y="6428"/>
                    <a:pt x="36486" y="5357"/>
                  </a:cubicBezTo>
                  <a:cubicBezTo>
                    <a:pt x="35675" y="4285"/>
                    <a:pt x="34054" y="4285"/>
                    <a:pt x="34054" y="4285"/>
                  </a:cubicBezTo>
                  <a:cubicBezTo>
                    <a:pt x="33243" y="4285"/>
                    <a:pt x="33243" y="4285"/>
                    <a:pt x="31621" y="3214"/>
                  </a:cubicBezTo>
                  <a:cubicBezTo>
                    <a:pt x="30810" y="3214"/>
                    <a:pt x="28378" y="3214"/>
                    <a:pt x="28378" y="3214"/>
                  </a:cubicBezTo>
                  <a:cubicBezTo>
                    <a:pt x="28378" y="4285"/>
                    <a:pt x="28378" y="4285"/>
                    <a:pt x="28378" y="5357"/>
                  </a:cubicBezTo>
                  <a:cubicBezTo>
                    <a:pt x="28378" y="8571"/>
                    <a:pt x="28378" y="12857"/>
                    <a:pt x="26756" y="13928"/>
                  </a:cubicBezTo>
                  <a:cubicBezTo>
                    <a:pt x="26756" y="14999"/>
                    <a:pt x="25945" y="14999"/>
                    <a:pt x="25135" y="14999"/>
                  </a:cubicBezTo>
                  <a:cubicBezTo>
                    <a:pt x="23513" y="14999"/>
                    <a:pt x="18648" y="16071"/>
                    <a:pt x="17027" y="16071"/>
                  </a:cubicBezTo>
                  <a:cubicBezTo>
                    <a:pt x="17027" y="17142"/>
                    <a:pt x="16216" y="17142"/>
                    <a:pt x="16216" y="18214"/>
                  </a:cubicBezTo>
                  <a:cubicBezTo>
                    <a:pt x="15405" y="20357"/>
                    <a:pt x="13783" y="22499"/>
                    <a:pt x="13783" y="23571"/>
                  </a:cubicBezTo>
                  <a:cubicBezTo>
                    <a:pt x="13783" y="27857"/>
                    <a:pt x="13783" y="31071"/>
                    <a:pt x="12162" y="35357"/>
                  </a:cubicBezTo>
                  <a:cubicBezTo>
                    <a:pt x="11351" y="38571"/>
                    <a:pt x="8108" y="40714"/>
                    <a:pt x="6486" y="42857"/>
                  </a:cubicBezTo>
                  <a:cubicBezTo>
                    <a:pt x="5675" y="43928"/>
                    <a:pt x="4864" y="43928"/>
                    <a:pt x="4864" y="43928"/>
                  </a:cubicBezTo>
                  <a:cubicBezTo>
                    <a:pt x="4054" y="44999"/>
                    <a:pt x="2432" y="47142"/>
                    <a:pt x="1621" y="49285"/>
                  </a:cubicBezTo>
                  <a:cubicBezTo>
                    <a:pt x="1621" y="49285"/>
                    <a:pt x="2432" y="49285"/>
                    <a:pt x="2432" y="49285"/>
                  </a:cubicBezTo>
                  <a:cubicBezTo>
                    <a:pt x="2432" y="50357"/>
                    <a:pt x="4054" y="51428"/>
                    <a:pt x="3243" y="54642"/>
                  </a:cubicBezTo>
                  <a:cubicBezTo>
                    <a:pt x="2432" y="56785"/>
                    <a:pt x="2432" y="57857"/>
                    <a:pt x="1621" y="58928"/>
                  </a:cubicBezTo>
                  <a:cubicBezTo>
                    <a:pt x="810" y="62142"/>
                    <a:pt x="0" y="63214"/>
                    <a:pt x="810" y="65357"/>
                  </a:cubicBezTo>
                  <a:cubicBezTo>
                    <a:pt x="810" y="66428"/>
                    <a:pt x="810" y="69642"/>
                    <a:pt x="1621" y="69642"/>
                  </a:cubicBezTo>
                  <a:cubicBezTo>
                    <a:pt x="1621" y="69642"/>
                    <a:pt x="1621" y="69642"/>
                    <a:pt x="1621" y="69642"/>
                  </a:cubicBezTo>
                  <a:cubicBezTo>
                    <a:pt x="1621" y="69642"/>
                    <a:pt x="1621" y="69642"/>
                    <a:pt x="2432" y="69642"/>
                  </a:cubicBezTo>
                  <a:cubicBezTo>
                    <a:pt x="3243" y="69642"/>
                    <a:pt x="4054" y="68571"/>
                    <a:pt x="4864" y="67500"/>
                  </a:cubicBezTo>
                  <a:cubicBezTo>
                    <a:pt x="6486" y="66428"/>
                    <a:pt x="8918" y="64285"/>
                    <a:pt x="11351" y="65357"/>
                  </a:cubicBezTo>
                  <a:cubicBezTo>
                    <a:pt x="13783" y="67500"/>
                    <a:pt x="17027" y="71785"/>
                    <a:pt x="18648" y="76071"/>
                  </a:cubicBezTo>
                  <a:cubicBezTo>
                    <a:pt x="19459" y="79285"/>
                    <a:pt x="20270" y="87857"/>
                    <a:pt x="21081" y="92142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1" name="Shape 7015">
              <a:extLst>
                <a:ext uri="{FF2B5EF4-FFF2-40B4-BE49-F238E27FC236}">
                  <a16:creationId xmlns:a16="http://schemas.microsoft.com/office/drawing/2014/main" id="{B44C26FA-DABC-4B8D-8502-CC6B0C8FA33A}"/>
                </a:ext>
              </a:extLst>
            </p:cNvPr>
            <p:cNvSpPr/>
            <p:nvPr/>
          </p:nvSpPr>
          <p:spPr>
            <a:xfrm>
              <a:off x="1123119" y="3583774"/>
              <a:ext cx="183296" cy="19876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29052" y="86037"/>
                  </a:moveTo>
                  <a:cubicBezTo>
                    <a:pt x="29052" y="87169"/>
                    <a:pt x="30315" y="89433"/>
                    <a:pt x="30315" y="90566"/>
                  </a:cubicBezTo>
                  <a:cubicBezTo>
                    <a:pt x="32842" y="95094"/>
                    <a:pt x="35368" y="99622"/>
                    <a:pt x="34105" y="101886"/>
                  </a:cubicBezTo>
                  <a:cubicBezTo>
                    <a:pt x="34105" y="101886"/>
                    <a:pt x="34105" y="103018"/>
                    <a:pt x="34105" y="103018"/>
                  </a:cubicBezTo>
                  <a:cubicBezTo>
                    <a:pt x="37894" y="109811"/>
                    <a:pt x="44210" y="116603"/>
                    <a:pt x="45473" y="117735"/>
                  </a:cubicBezTo>
                  <a:cubicBezTo>
                    <a:pt x="48000" y="117735"/>
                    <a:pt x="49263" y="118867"/>
                    <a:pt x="50526" y="118867"/>
                  </a:cubicBezTo>
                  <a:cubicBezTo>
                    <a:pt x="53052" y="120000"/>
                    <a:pt x="53052" y="120000"/>
                    <a:pt x="54315" y="118867"/>
                  </a:cubicBezTo>
                  <a:cubicBezTo>
                    <a:pt x="55578" y="116603"/>
                    <a:pt x="55578" y="116603"/>
                    <a:pt x="55578" y="116603"/>
                  </a:cubicBezTo>
                  <a:cubicBezTo>
                    <a:pt x="58105" y="113207"/>
                    <a:pt x="60631" y="109811"/>
                    <a:pt x="65684" y="109811"/>
                  </a:cubicBezTo>
                  <a:cubicBezTo>
                    <a:pt x="69473" y="109811"/>
                    <a:pt x="73263" y="108679"/>
                    <a:pt x="75789" y="106415"/>
                  </a:cubicBezTo>
                  <a:cubicBezTo>
                    <a:pt x="78315" y="104150"/>
                    <a:pt x="84631" y="101886"/>
                    <a:pt x="90947" y="100754"/>
                  </a:cubicBezTo>
                  <a:cubicBezTo>
                    <a:pt x="92210" y="98490"/>
                    <a:pt x="94736" y="95094"/>
                    <a:pt x="97263" y="92830"/>
                  </a:cubicBezTo>
                  <a:cubicBezTo>
                    <a:pt x="98526" y="92830"/>
                    <a:pt x="99789" y="91698"/>
                    <a:pt x="99789" y="91698"/>
                  </a:cubicBezTo>
                  <a:cubicBezTo>
                    <a:pt x="103578" y="89433"/>
                    <a:pt x="107368" y="87169"/>
                    <a:pt x="107368" y="84905"/>
                  </a:cubicBezTo>
                  <a:cubicBezTo>
                    <a:pt x="109894" y="81509"/>
                    <a:pt x="109894" y="78113"/>
                    <a:pt x="109894" y="74716"/>
                  </a:cubicBezTo>
                  <a:cubicBezTo>
                    <a:pt x="109894" y="72452"/>
                    <a:pt x="112421" y="69056"/>
                    <a:pt x="114947" y="66792"/>
                  </a:cubicBezTo>
                  <a:cubicBezTo>
                    <a:pt x="114947" y="65660"/>
                    <a:pt x="116210" y="64528"/>
                    <a:pt x="116210" y="63396"/>
                  </a:cubicBezTo>
                  <a:cubicBezTo>
                    <a:pt x="117473" y="62264"/>
                    <a:pt x="116210" y="57735"/>
                    <a:pt x="114947" y="55471"/>
                  </a:cubicBezTo>
                  <a:cubicBezTo>
                    <a:pt x="114947" y="54339"/>
                    <a:pt x="114947" y="53207"/>
                    <a:pt x="114947" y="52075"/>
                  </a:cubicBezTo>
                  <a:cubicBezTo>
                    <a:pt x="113684" y="49811"/>
                    <a:pt x="114947" y="46415"/>
                    <a:pt x="116210" y="44150"/>
                  </a:cubicBezTo>
                  <a:cubicBezTo>
                    <a:pt x="117473" y="41886"/>
                    <a:pt x="117473" y="40754"/>
                    <a:pt x="117473" y="39622"/>
                  </a:cubicBezTo>
                  <a:cubicBezTo>
                    <a:pt x="117473" y="36226"/>
                    <a:pt x="117473" y="32830"/>
                    <a:pt x="114947" y="29433"/>
                  </a:cubicBezTo>
                  <a:cubicBezTo>
                    <a:pt x="112421" y="26037"/>
                    <a:pt x="114947" y="21509"/>
                    <a:pt x="117473" y="18113"/>
                  </a:cubicBezTo>
                  <a:cubicBezTo>
                    <a:pt x="118736" y="16981"/>
                    <a:pt x="120000" y="14716"/>
                    <a:pt x="120000" y="13584"/>
                  </a:cubicBezTo>
                  <a:cubicBezTo>
                    <a:pt x="120000" y="12452"/>
                    <a:pt x="114947" y="11320"/>
                    <a:pt x="112421" y="10188"/>
                  </a:cubicBezTo>
                  <a:cubicBezTo>
                    <a:pt x="109894" y="10188"/>
                    <a:pt x="107368" y="9056"/>
                    <a:pt x="104842" y="7924"/>
                  </a:cubicBezTo>
                  <a:cubicBezTo>
                    <a:pt x="101052" y="5660"/>
                    <a:pt x="101052" y="3396"/>
                    <a:pt x="101052" y="2264"/>
                  </a:cubicBezTo>
                  <a:cubicBezTo>
                    <a:pt x="96000" y="4528"/>
                    <a:pt x="89684" y="7924"/>
                    <a:pt x="88421" y="9056"/>
                  </a:cubicBezTo>
                  <a:cubicBezTo>
                    <a:pt x="85894" y="9056"/>
                    <a:pt x="82105" y="6792"/>
                    <a:pt x="79578" y="4528"/>
                  </a:cubicBezTo>
                  <a:cubicBezTo>
                    <a:pt x="77052" y="3396"/>
                    <a:pt x="75789" y="1132"/>
                    <a:pt x="73263" y="0"/>
                  </a:cubicBezTo>
                  <a:cubicBezTo>
                    <a:pt x="73263" y="0"/>
                    <a:pt x="73263" y="0"/>
                    <a:pt x="73263" y="0"/>
                  </a:cubicBezTo>
                  <a:cubicBezTo>
                    <a:pt x="72000" y="1132"/>
                    <a:pt x="72000" y="4528"/>
                    <a:pt x="72000" y="9056"/>
                  </a:cubicBezTo>
                  <a:cubicBezTo>
                    <a:pt x="72000" y="10188"/>
                    <a:pt x="72000" y="10188"/>
                    <a:pt x="72000" y="10188"/>
                  </a:cubicBezTo>
                  <a:cubicBezTo>
                    <a:pt x="72000" y="12452"/>
                    <a:pt x="72000" y="13584"/>
                    <a:pt x="70736" y="13584"/>
                  </a:cubicBezTo>
                  <a:cubicBezTo>
                    <a:pt x="68210" y="15849"/>
                    <a:pt x="64421" y="15849"/>
                    <a:pt x="61894" y="15849"/>
                  </a:cubicBezTo>
                  <a:cubicBezTo>
                    <a:pt x="60631" y="15849"/>
                    <a:pt x="60631" y="15849"/>
                    <a:pt x="60631" y="15849"/>
                  </a:cubicBezTo>
                  <a:cubicBezTo>
                    <a:pt x="56842" y="15849"/>
                    <a:pt x="53052" y="12452"/>
                    <a:pt x="48000" y="6792"/>
                  </a:cubicBezTo>
                  <a:cubicBezTo>
                    <a:pt x="46736" y="5660"/>
                    <a:pt x="46736" y="4528"/>
                    <a:pt x="45473" y="4528"/>
                  </a:cubicBezTo>
                  <a:cubicBezTo>
                    <a:pt x="44210" y="3396"/>
                    <a:pt x="39157" y="3396"/>
                    <a:pt x="35368" y="3396"/>
                  </a:cubicBezTo>
                  <a:cubicBezTo>
                    <a:pt x="34105" y="4528"/>
                    <a:pt x="32842" y="4528"/>
                    <a:pt x="31578" y="4528"/>
                  </a:cubicBezTo>
                  <a:cubicBezTo>
                    <a:pt x="27789" y="4528"/>
                    <a:pt x="24000" y="6792"/>
                    <a:pt x="21473" y="10188"/>
                  </a:cubicBezTo>
                  <a:cubicBezTo>
                    <a:pt x="17684" y="14716"/>
                    <a:pt x="12631" y="12452"/>
                    <a:pt x="11368" y="11320"/>
                  </a:cubicBezTo>
                  <a:cubicBezTo>
                    <a:pt x="10105" y="11320"/>
                    <a:pt x="8842" y="11320"/>
                    <a:pt x="8842" y="11320"/>
                  </a:cubicBezTo>
                  <a:cubicBezTo>
                    <a:pt x="7578" y="11320"/>
                    <a:pt x="2526" y="19245"/>
                    <a:pt x="1263" y="21509"/>
                  </a:cubicBezTo>
                  <a:cubicBezTo>
                    <a:pt x="0" y="21509"/>
                    <a:pt x="0" y="21509"/>
                    <a:pt x="0" y="21509"/>
                  </a:cubicBezTo>
                  <a:cubicBezTo>
                    <a:pt x="1263" y="26037"/>
                    <a:pt x="5052" y="46415"/>
                    <a:pt x="6315" y="50943"/>
                  </a:cubicBezTo>
                  <a:cubicBezTo>
                    <a:pt x="8842" y="58867"/>
                    <a:pt x="13894" y="67924"/>
                    <a:pt x="16421" y="69056"/>
                  </a:cubicBezTo>
                  <a:cubicBezTo>
                    <a:pt x="16421" y="69056"/>
                    <a:pt x="31578" y="74716"/>
                    <a:pt x="32842" y="79245"/>
                  </a:cubicBezTo>
                  <a:cubicBezTo>
                    <a:pt x="32842" y="80377"/>
                    <a:pt x="31578" y="81509"/>
                    <a:pt x="30315" y="81509"/>
                  </a:cubicBezTo>
                  <a:cubicBezTo>
                    <a:pt x="30315" y="82641"/>
                    <a:pt x="29052" y="83773"/>
                    <a:pt x="29052" y="86037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2" name="Shape 7016">
              <a:extLst>
                <a:ext uri="{FF2B5EF4-FFF2-40B4-BE49-F238E27FC236}">
                  <a16:creationId xmlns:a16="http://schemas.microsoft.com/office/drawing/2014/main" id="{B4779298-D432-4DA6-8611-BD5BF6B3EA59}"/>
                </a:ext>
              </a:extLst>
            </p:cNvPr>
            <p:cNvSpPr/>
            <p:nvPr/>
          </p:nvSpPr>
          <p:spPr>
            <a:xfrm>
              <a:off x="1480063" y="3287027"/>
              <a:ext cx="266262" cy="22209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21739" y="71596"/>
                  </a:moveTo>
                  <a:cubicBezTo>
                    <a:pt x="20000" y="72605"/>
                    <a:pt x="10434" y="80672"/>
                    <a:pt x="6086" y="84705"/>
                  </a:cubicBezTo>
                  <a:cubicBezTo>
                    <a:pt x="4347" y="86722"/>
                    <a:pt x="4347" y="86722"/>
                    <a:pt x="4347" y="86722"/>
                  </a:cubicBezTo>
                  <a:cubicBezTo>
                    <a:pt x="1739" y="88739"/>
                    <a:pt x="0" y="92773"/>
                    <a:pt x="0" y="94789"/>
                  </a:cubicBezTo>
                  <a:cubicBezTo>
                    <a:pt x="0" y="94789"/>
                    <a:pt x="1739" y="102857"/>
                    <a:pt x="1739" y="105882"/>
                  </a:cubicBezTo>
                  <a:cubicBezTo>
                    <a:pt x="1739" y="106890"/>
                    <a:pt x="2608" y="107899"/>
                    <a:pt x="4347" y="109915"/>
                  </a:cubicBezTo>
                  <a:cubicBezTo>
                    <a:pt x="4347" y="109915"/>
                    <a:pt x="5217" y="110924"/>
                    <a:pt x="6086" y="110924"/>
                  </a:cubicBezTo>
                  <a:cubicBezTo>
                    <a:pt x="12173" y="118991"/>
                    <a:pt x="13913" y="120000"/>
                    <a:pt x="14782" y="120000"/>
                  </a:cubicBezTo>
                  <a:cubicBezTo>
                    <a:pt x="15652" y="120000"/>
                    <a:pt x="15652" y="118991"/>
                    <a:pt x="16521" y="118991"/>
                  </a:cubicBezTo>
                  <a:cubicBezTo>
                    <a:pt x="18260" y="116974"/>
                    <a:pt x="20000" y="115966"/>
                    <a:pt x="22608" y="115966"/>
                  </a:cubicBezTo>
                  <a:cubicBezTo>
                    <a:pt x="23478" y="115966"/>
                    <a:pt x="24347" y="115966"/>
                    <a:pt x="25217" y="116974"/>
                  </a:cubicBezTo>
                  <a:cubicBezTo>
                    <a:pt x="27826" y="117983"/>
                    <a:pt x="28695" y="117983"/>
                    <a:pt x="29565" y="115966"/>
                  </a:cubicBezTo>
                  <a:cubicBezTo>
                    <a:pt x="29565" y="114957"/>
                    <a:pt x="30434" y="113949"/>
                    <a:pt x="30434" y="113949"/>
                  </a:cubicBezTo>
                  <a:cubicBezTo>
                    <a:pt x="32173" y="109915"/>
                    <a:pt x="33043" y="107899"/>
                    <a:pt x="37391" y="106890"/>
                  </a:cubicBezTo>
                  <a:cubicBezTo>
                    <a:pt x="42608" y="105882"/>
                    <a:pt x="53043" y="107899"/>
                    <a:pt x="55652" y="108907"/>
                  </a:cubicBezTo>
                  <a:cubicBezTo>
                    <a:pt x="65217" y="114957"/>
                    <a:pt x="66956" y="114957"/>
                    <a:pt x="66956" y="114957"/>
                  </a:cubicBezTo>
                  <a:cubicBezTo>
                    <a:pt x="66956" y="114957"/>
                    <a:pt x="66956" y="114957"/>
                    <a:pt x="66956" y="114957"/>
                  </a:cubicBezTo>
                  <a:cubicBezTo>
                    <a:pt x="67826" y="114957"/>
                    <a:pt x="67826" y="114957"/>
                    <a:pt x="68695" y="114957"/>
                  </a:cubicBezTo>
                  <a:cubicBezTo>
                    <a:pt x="68695" y="112941"/>
                    <a:pt x="68695" y="109915"/>
                    <a:pt x="70434" y="107899"/>
                  </a:cubicBezTo>
                  <a:cubicBezTo>
                    <a:pt x="71304" y="105882"/>
                    <a:pt x="72173" y="105882"/>
                    <a:pt x="73913" y="105882"/>
                  </a:cubicBezTo>
                  <a:cubicBezTo>
                    <a:pt x="74782" y="105882"/>
                    <a:pt x="75652" y="105882"/>
                    <a:pt x="75652" y="105882"/>
                  </a:cubicBezTo>
                  <a:cubicBezTo>
                    <a:pt x="79130" y="105882"/>
                    <a:pt x="80000" y="105882"/>
                    <a:pt x="81739" y="103865"/>
                  </a:cubicBezTo>
                  <a:cubicBezTo>
                    <a:pt x="82608" y="102857"/>
                    <a:pt x="83478" y="100840"/>
                    <a:pt x="84347" y="99831"/>
                  </a:cubicBezTo>
                  <a:cubicBezTo>
                    <a:pt x="86956" y="95798"/>
                    <a:pt x="90434" y="90756"/>
                    <a:pt x="93913" y="90756"/>
                  </a:cubicBezTo>
                  <a:cubicBezTo>
                    <a:pt x="97391" y="90756"/>
                    <a:pt x="99130" y="89747"/>
                    <a:pt x="100869" y="87731"/>
                  </a:cubicBezTo>
                  <a:cubicBezTo>
                    <a:pt x="101739" y="87731"/>
                    <a:pt x="102608" y="86722"/>
                    <a:pt x="103478" y="85714"/>
                  </a:cubicBezTo>
                  <a:cubicBezTo>
                    <a:pt x="104347" y="83697"/>
                    <a:pt x="105217" y="81680"/>
                    <a:pt x="107826" y="81680"/>
                  </a:cubicBezTo>
                  <a:cubicBezTo>
                    <a:pt x="108695" y="81680"/>
                    <a:pt x="110434" y="81680"/>
                    <a:pt x="112173" y="81680"/>
                  </a:cubicBezTo>
                  <a:cubicBezTo>
                    <a:pt x="113913" y="81680"/>
                    <a:pt x="118260" y="80672"/>
                    <a:pt x="119130" y="80672"/>
                  </a:cubicBezTo>
                  <a:cubicBezTo>
                    <a:pt x="120000" y="77647"/>
                    <a:pt x="120000" y="70588"/>
                    <a:pt x="120000" y="68571"/>
                  </a:cubicBezTo>
                  <a:cubicBezTo>
                    <a:pt x="117391" y="67563"/>
                    <a:pt x="115652" y="66554"/>
                    <a:pt x="114782" y="65546"/>
                  </a:cubicBezTo>
                  <a:cubicBezTo>
                    <a:pt x="114782" y="64537"/>
                    <a:pt x="113043" y="62521"/>
                    <a:pt x="105217" y="53445"/>
                  </a:cubicBezTo>
                  <a:cubicBezTo>
                    <a:pt x="103478" y="51428"/>
                    <a:pt x="103478" y="47394"/>
                    <a:pt x="104347" y="36302"/>
                  </a:cubicBezTo>
                  <a:cubicBezTo>
                    <a:pt x="104347" y="32268"/>
                    <a:pt x="104347" y="28235"/>
                    <a:pt x="104347" y="26218"/>
                  </a:cubicBezTo>
                  <a:cubicBezTo>
                    <a:pt x="103478" y="21176"/>
                    <a:pt x="98260" y="16134"/>
                    <a:pt x="94782" y="14117"/>
                  </a:cubicBezTo>
                  <a:cubicBezTo>
                    <a:pt x="94782" y="13109"/>
                    <a:pt x="94782" y="13109"/>
                    <a:pt x="93043" y="15126"/>
                  </a:cubicBezTo>
                  <a:cubicBezTo>
                    <a:pt x="92173" y="16134"/>
                    <a:pt x="91304" y="17142"/>
                    <a:pt x="89565" y="18151"/>
                  </a:cubicBezTo>
                  <a:cubicBezTo>
                    <a:pt x="86956" y="19159"/>
                    <a:pt x="83478" y="19159"/>
                    <a:pt x="77391" y="11092"/>
                  </a:cubicBezTo>
                  <a:cubicBezTo>
                    <a:pt x="75652" y="9075"/>
                    <a:pt x="69565" y="3025"/>
                    <a:pt x="67826" y="1008"/>
                  </a:cubicBezTo>
                  <a:cubicBezTo>
                    <a:pt x="67826" y="1008"/>
                    <a:pt x="67826" y="1008"/>
                    <a:pt x="66956" y="1008"/>
                  </a:cubicBezTo>
                  <a:cubicBezTo>
                    <a:pt x="66086" y="0"/>
                    <a:pt x="61739" y="1008"/>
                    <a:pt x="59130" y="2016"/>
                  </a:cubicBezTo>
                  <a:cubicBezTo>
                    <a:pt x="55652" y="2016"/>
                    <a:pt x="53043" y="3025"/>
                    <a:pt x="51304" y="3025"/>
                  </a:cubicBezTo>
                  <a:cubicBezTo>
                    <a:pt x="46086" y="5042"/>
                    <a:pt x="40000" y="9075"/>
                    <a:pt x="39130" y="10084"/>
                  </a:cubicBezTo>
                  <a:cubicBezTo>
                    <a:pt x="39130" y="11092"/>
                    <a:pt x="38260" y="12100"/>
                    <a:pt x="38260" y="12100"/>
                  </a:cubicBezTo>
                  <a:cubicBezTo>
                    <a:pt x="36521" y="17142"/>
                    <a:pt x="34782" y="23193"/>
                    <a:pt x="30434" y="23193"/>
                  </a:cubicBezTo>
                  <a:cubicBezTo>
                    <a:pt x="29565" y="24201"/>
                    <a:pt x="29565" y="24201"/>
                    <a:pt x="28695" y="24201"/>
                  </a:cubicBezTo>
                  <a:cubicBezTo>
                    <a:pt x="26956" y="24201"/>
                    <a:pt x="23478" y="24201"/>
                    <a:pt x="23478" y="25210"/>
                  </a:cubicBezTo>
                  <a:cubicBezTo>
                    <a:pt x="23478" y="26218"/>
                    <a:pt x="24347" y="29243"/>
                    <a:pt x="24347" y="32268"/>
                  </a:cubicBezTo>
                  <a:cubicBezTo>
                    <a:pt x="26086" y="40336"/>
                    <a:pt x="26086" y="43361"/>
                    <a:pt x="24347" y="45378"/>
                  </a:cubicBezTo>
                  <a:cubicBezTo>
                    <a:pt x="24347" y="46386"/>
                    <a:pt x="22608" y="46386"/>
                    <a:pt x="21739" y="47394"/>
                  </a:cubicBezTo>
                  <a:cubicBezTo>
                    <a:pt x="19130" y="49411"/>
                    <a:pt x="18260" y="49411"/>
                    <a:pt x="19130" y="51428"/>
                  </a:cubicBezTo>
                  <a:cubicBezTo>
                    <a:pt x="19130" y="52436"/>
                    <a:pt x="19130" y="54453"/>
                    <a:pt x="20000" y="55462"/>
                  </a:cubicBezTo>
                  <a:cubicBezTo>
                    <a:pt x="22608" y="64537"/>
                    <a:pt x="24347" y="70588"/>
                    <a:pt x="21739" y="71596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3" name="Shape 7017">
              <a:extLst>
                <a:ext uri="{FF2B5EF4-FFF2-40B4-BE49-F238E27FC236}">
                  <a16:creationId xmlns:a16="http://schemas.microsoft.com/office/drawing/2014/main" id="{DA200C1D-814A-4218-957D-C94CBCBD0D0B}"/>
                </a:ext>
              </a:extLst>
            </p:cNvPr>
            <p:cNvSpPr/>
            <p:nvPr/>
          </p:nvSpPr>
          <p:spPr>
            <a:xfrm>
              <a:off x="1221518" y="3371012"/>
              <a:ext cx="254687" cy="31634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818" y="24142"/>
                  </a:moveTo>
                  <a:cubicBezTo>
                    <a:pt x="11818" y="24852"/>
                    <a:pt x="10909" y="25562"/>
                    <a:pt x="9090" y="26272"/>
                  </a:cubicBezTo>
                  <a:cubicBezTo>
                    <a:pt x="6363" y="28402"/>
                    <a:pt x="1818" y="32662"/>
                    <a:pt x="0" y="36213"/>
                  </a:cubicBezTo>
                  <a:cubicBezTo>
                    <a:pt x="909" y="36213"/>
                    <a:pt x="1818" y="36213"/>
                    <a:pt x="1818" y="36213"/>
                  </a:cubicBezTo>
                  <a:cubicBezTo>
                    <a:pt x="4545" y="36923"/>
                    <a:pt x="9090" y="39763"/>
                    <a:pt x="10000" y="42603"/>
                  </a:cubicBezTo>
                  <a:cubicBezTo>
                    <a:pt x="11818" y="44733"/>
                    <a:pt x="16363" y="48994"/>
                    <a:pt x="17272" y="48994"/>
                  </a:cubicBezTo>
                  <a:cubicBezTo>
                    <a:pt x="18181" y="48994"/>
                    <a:pt x="18181" y="48994"/>
                    <a:pt x="19090" y="48994"/>
                  </a:cubicBezTo>
                  <a:cubicBezTo>
                    <a:pt x="21818" y="48994"/>
                    <a:pt x="25454" y="48284"/>
                    <a:pt x="28181" y="50414"/>
                  </a:cubicBezTo>
                  <a:cubicBezTo>
                    <a:pt x="30909" y="51834"/>
                    <a:pt x="39090" y="60355"/>
                    <a:pt x="36363" y="63905"/>
                  </a:cubicBezTo>
                  <a:cubicBezTo>
                    <a:pt x="35454" y="64615"/>
                    <a:pt x="34545" y="66035"/>
                    <a:pt x="33636" y="66745"/>
                  </a:cubicBezTo>
                  <a:cubicBezTo>
                    <a:pt x="32727" y="68165"/>
                    <a:pt x="30909" y="69585"/>
                    <a:pt x="30909" y="71005"/>
                  </a:cubicBezTo>
                  <a:cubicBezTo>
                    <a:pt x="30909" y="71715"/>
                    <a:pt x="30000" y="73136"/>
                    <a:pt x="30000" y="74556"/>
                  </a:cubicBezTo>
                  <a:cubicBezTo>
                    <a:pt x="30000" y="75976"/>
                    <a:pt x="30000" y="78106"/>
                    <a:pt x="30000" y="78816"/>
                  </a:cubicBezTo>
                  <a:cubicBezTo>
                    <a:pt x="30000" y="78816"/>
                    <a:pt x="30000" y="78816"/>
                    <a:pt x="30000" y="78816"/>
                  </a:cubicBezTo>
                  <a:cubicBezTo>
                    <a:pt x="30000" y="78816"/>
                    <a:pt x="30000" y="78816"/>
                    <a:pt x="30000" y="79526"/>
                  </a:cubicBezTo>
                  <a:cubicBezTo>
                    <a:pt x="30000" y="80236"/>
                    <a:pt x="30000" y="80946"/>
                    <a:pt x="30000" y="81656"/>
                  </a:cubicBezTo>
                  <a:cubicBezTo>
                    <a:pt x="30000" y="82366"/>
                    <a:pt x="30000" y="82366"/>
                    <a:pt x="30909" y="83076"/>
                  </a:cubicBezTo>
                  <a:cubicBezTo>
                    <a:pt x="31818" y="83786"/>
                    <a:pt x="33636" y="84497"/>
                    <a:pt x="35454" y="84497"/>
                  </a:cubicBezTo>
                  <a:cubicBezTo>
                    <a:pt x="39090" y="85917"/>
                    <a:pt x="43636" y="86627"/>
                    <a:pt x="43636" y="89467"/>
                  </a:cubicBezTo>
                  <a:cubicBezTo>
                    <a:pt x="43636" y="90887"/>
                    <a:pt x="41818" y="92307"/>
                    <a:pt x="40909" y="93727"/>
                  </a:cubicBezTo>
                  <a:cubicBezTo>
                    <a:pt x="40000" y="95857"/>
                    <a:pt x="39090" y="97278"/>
                    <a:pt x="39090" y="97988"/>
                  </a:cubicBezTo>
                  <a:cubicBezTo>
                    <a:pt x="40909" y="100828"/>
                    <a:pt x="41818" y="103668"/>
                    <a:pt x="41818" y="105798"/>
                  </a:cubicBezTo>
                  <a:cubicBezTo>
                    <a:pt x="41818" y="107218"/>
                    <a:pt x="41818" y="107928"/>
                    <a:pt x="40909" y="109349"/>
                  </a:cubicBezTo>
                  <a:cubicBezTo>
                    <a:pt x="40000" y="110769"/>
                    <a:pt x="39090" y="112189"/>
                    <a:pt x="40000" y="112899"/>
                  </a:cubicBezTo>
                  <a:cubicBezTo>
                    <a:pt x="40000" y="113609"/>
                    <a:pt x="40000" y="114319"/>
                    <a:pt x="40000" y="115029"/>
                  </a:cubicBezTo>
                  <a:cubicBezTo>
                    <a:pt x="40909" y="116449"/>
                    <a:pt x="40909" y="118579"/>
                    <a:pt x="40909" y="120000"/>
                  </a:cubicBezTo>
                  <a:cubicBezTo>
                    <a:pt x="43636" y="120000"/>
                    <a:pt x="47272" y="119289"/>
                    <a:pt x="49090" y="119289"/>
                  </a:cubicBezTo>
                  <a:cubicBezTo>
                    <a:pt x="49090" y="119289"/>
                    <a:pt x="49090" y="117159"/>
                    <a:pt x="49090" y="115739"/>
                  </a:cubicBezTo>
                  <a:cubicBezTo>
                    <a:pt x="49090" y="115739"/>
                    <a:pt x="49090" y="115029"/>
                    <a:pt x="49090" y="114319"/>
                  </a:cubicBezTo>
                  <a:cubicBezTo>
                    <a:pt x="49090" y="112899"/>
                    <a:pt x="49090" y="112899"/>
                    <a:pt x="50000" y="112189"/>
                  </a:cubicBezTo>
                  <a:cubicBezTo>
                    <a:pt x="51818" y="110769"/>
                    <a:pt x="54545" y="111479"/>
                    <a:pt x="57272" y="111479"/>
                  </a:cubicBezTo>
                  <a:cubicBezTo>
                    <a:pt x="58181" y="112189"/>
                    <a:pt x="59090" y="112189"/>
                    <a:pt x="59090" y="112189"/>
                  </a:cubicBezTo>
                  <a:cubicBezTo>
                    <a:pt x="60000" y="112189"/>
                    <a:pt x="60909" y="112189"/>
                    <a:pt x="62727" y="112899"/>
                  </a:cubicBezTo>
                  <a:cubicBezTo>
                    <a:pt x="64545" y="113609"/>
                    <a:pt x="67272" y="114319"/>
                    <a:pt x="69090" y="113609"/>
                  </a:cubicBezTo>
                  <a:cubicBezTo>
                    <a:pt x="70909" y="113609"/>
                    <a:pt x="71818" y="112899"/>
                    <a:pt x="72727" y="111479"/>
                  </a:cubicBezTo>
                  <a:cubicBezTo>
                    <a:pt x="72727" y="110769"/>
                    <a:pt x="72727" y="110769"/>
                    <a:pt x="73636" y="110059"/>
                  </a:cubicBezTo>
                  <a:cubicBezTo>
                    <a:pt x="74545" y="108639"/>
                    <a:pt x="78181" y="109349"/>
                    <a:pt x="87272" y="112899"/>
                  </a:cubicBezTo>
                  <a:cubicBezTo>
                    <a:pt x="89090" y="113609"/>
                    <a:pt x="91818" y="114319"/>
                    <a:pt x="92727" y="114319"/>
                  </a:cubicBezTo>
                  <a:cubicBezTo>
                    <a:pt x="93636" y="114319"/>
                    <a:pt x="98181" y="112899"/>
                    <a:pt x="99090" y="111479"/>
                  </a:cubicBezTo>
                  <a:cubicBezTo>
                    <a:pt x="100909" y="109349"/>
                    <a:pt x="108181" y="110059"/>
                    <a:pt x="113636" y="110769"/>
                  </a:cubicBezTo>
                  <a:cubicBezTo>
                    <a:pt x="113636" y="109349"/>
                    <a:pt x="114545" y="107218"/>
                    <a:pt x="114545" y="105798"/>
                  </a:cubicBezTo>
                  <a:cubicBezTo>
                    <a:pt x="114545" y="103668"/>
                    <a:pt x="116363" y="101538"/>
                    <a:pt x="119090" y="100118"/>
                  </a:cubicBezTo>
                  <a:cubicBezTo>
                    <a:pt x="120000" y="99408"/>
                    <a:pt x="120000" y="92307"/>
                    <a:pt x="120000" y="90177"/>
                  </a:cubicBezTo>
                  <a:cubicBezTo>
                    <a:pt x="120000" y="89467"/>
                    <a:pt x="120000" y="88047"/>
                    <a:pt x="120000" y="88047"/>
                  </a:cubicBezTo>
                  <a:cubicBezTo>
                    <a:pt x="120000" y="86627"/>
                    <a:pt x="114545" y="85207"/>
                    <a:pt x="112727" y="84497"/>
                  </a:cubicBezTo>
                  <a:cubicBezTo>
                    <a:pt x="111818" y="83786"/>
                    <a:pt x="110909" y="83786"/>
                    <a:pt x="110000" y="83786"/>
                  </a:cubicBezTo>
                  <a:cubicBezTo>
                    <a:pt x="106363" y="81656"/>
                    <a:pt x="106363" y="79526"/>
                    <a:pt x="107272" y="77396"/>
                  </a:cubicBezTo>
                  <a:cubicBezTo>
                    <a:pt x="107272" y="76686"/>
                    <a:pt x="107272" y="75976"/>
                    <a:pt x="107272" y="75266"/>
                  </a:cubicBezTo>
                  <a:cubicBezTo>
                    <a:pt x="107272" y="74556"/>
                    <a:pt x="107272" y="74556"/>
                    <a:pt x="105454" y="73136"/>
                  </a:cubicBezTo>
                  <a:cubicBezTo>
                    <a:pt x="104545" y="73136"/>
                    <a:pt x="103636" y="73136"/>
                    <a:pt x="103636" y="72426"/>
                  </a:cubicBezTo>
                  <a:cubicBezTo>
                    <a:pt x="100909" y="71005"/>
                    <a:pt x="100000" y="68165"/>
                    <a:pt x="99090" y="66035"/>
                  </a:cubicBezTo>
                  <a:cubicBezTo>
                    <a:pt x="98181" y="65325"/>
                    <a:pt x="98181" y="65325"/>
                    <a:pt x="98181" y="64615"/>
                  </a:cubicBezTo>
                  <a:cubicBezTo>
                    <a:pt x="97272" y="63905"/>
                    <a:pt x="97272" y="61775"/>
                    <a:pt x="100000" y="60355"/>
                  </a:cubicBezTo>
                  <a:cubicBezTo>
                    <a:pt x="101818" y="59644"/>
                    <a:pt x="103636" y="58934"/>
                    <a:pt x="105454" y="58224"/>
                  </a:cubicBezTo>
                  <a:cubicBezTo>
                    <a:pt x="105454" y="58224"/>
                    <a:pt x="105454" y="58224"/>
                    <a:pt x="105454" y="58224"/>
                  </a:cubicBezTo>
                  <a:cubicBezTo>
                    <a:pt x="105454" y="57514"/>
                    <a:pt x="104545" y="55384"/>
                    <a:pt x="104545" y="54674"/>
                  </a:cubicBezTo>
                  <a:cubicBezTo>
                    <a:pt x="103636" y="53964"/>
                    <a:pt x="103636" y="53964"/>
                    <a:pt x="103636" y="53964"/>
                  </a:cubicBezTo>
                  <a:cubicBezTo>
                    <a:pt x="102727" y="51124"/>
                    <a:pt x="106363" y="48994"/>
                    <a:pt x="109090" y="48284"/>
                  </a:cubicBezTo>
                  <a:cubicBezTo>
                    <a:pt x="109090" y="47573"/>
                    <a:pt x="110000" y="47573"/>
                    <a:pt x="110000" y="47573"/>
                  </a:cubicBezTo>
                  <a:cubicBezTo>
                    <a:pt x="111818" y="46863"/>
                    <a:pt x="111818" y="44023"/>
                    <a:pt x="112727" y="41893"/>
                  </a:cubicBezTo>
                  <a:cubicBezTo>
                    <a:pt x="112727" y="39053"/>
                    <a:pt x="116363" y="38343"/>
                    <a:pt x="119090" y="38343"/>
                  </a:cubicBezTo>
                  <a:cubicBezTo>
                    <a:pt x="119090" y="36923"/>
                    <a:pt x="119090" y="36213"/>
                    <a:pt x="118181" y="35502"/>
                  </a:cubicBezTo>
                  <a:cubicBezTo>
                    <a:pt x="118181" y="34082"/>
                    <a:pt x="119090" y="31952"/>
                    <a:pt x="120000" y="30532"/>
                  </a:cubicBezTo>
                  <a:cubicBezTo>
                    <a:pt x="118181" y="29822"/>
                    <a:pt x="113636" y="28402"/>
                    <a:pt x="111818" y="26272"/>
                  </a:cubicBezTo>
                  <a:cubicBezTo>
                    <a:pt x="110000" y="24852"/>
                    <a:pt x="103636" y="24852"/>
                    <a:pt x="100909" y="25562"/>
                  </a:cubicBezTo>
                  <a:cubicBezTo>
                    <a:pt x="100000" y="25562"/>
                    <a:pt x="99090" y="25562"/>
                    <a:pt x="98181" y="25562"/>
                  </a:cubicBezTo>
                  <a:cubicBezTo>
                    <a:pt x="94545" y="25562"/>
                    <a:pt x="90909" y="22721"/>
                    <a:pt x="89090" y="19881"/>
                  </a:cubicBezTo>
                  <a:cubicBezTo>
                    <a:pt x="88181" y="19171"/>
                    <a:pt x="84545" y="19171"/>
                    <a:pt x="81818" y="19171"/>
                  </a:cubicBezTo>
                  <a:cubicBezTo>
                    <a:pt x="80909" y="19171"/>
                    <a:pt x="80000" y="19171"/>
                    <a:pt x="80000" y="19171"/>
                  </a:cubicBezTo>
                  <a:cubicBezTo>
                    <a:pt x="77272" y="19171"/>
                    <a:pt x="72727" y="17041"/>
                    <a:pt x="67272" y="14201"/>
                  </a:cubicBezTo>
                  <a:cubicBezTo>
                    <a:pt x="66363" y="13491"/>
                    <a:pt x="66363" y="13491"/>
                    <a:pt x="66363" y="13491"/>
                  </a:cubicBezTo>
                  <a:cubicBezTo>
                    <a:pt x="64545" y="12781"/>
                    <a:pt x="59090" y="12071"/>
                    <a:pt x="57272" y="12071"/>
                  </a:cubicBezTo>
                  <a:cubicBezTo>
                    <a:pt x="54545" y="12071"/>
                    <a:pt x="52727" y="9230"/>
                    <a:pt x="52727" y="5680"/>
                  </a:cubicBezTo>
                  <a:cubicBezTo>
                    <a:pt x="52727" y="5680"/>
                    <a:pt x="51818" y="4970"/>
                    <a:pt x="51818" y="4260"/>
                  </a:cubicBezTo>
                  <a:cubicBezTo>
                    <a:pt x="50909" y="3550"/>
                    <a:pt x="49090" y="2130"/>
                    <a:pt x="49090" y="0"/>
                  </a:cubicBezTo>
                  <a:cubicBezTo>
                    <a:pt x="49090" y="0"/>
                    <a:pt x="49090" y="0"/>
                    <a:pt x="49090" y="710"/>
                  </a:cubicBezTo>
                  <a:cubicBezTo>
                    <a:pt x="48181" y="710"/>
                    <a:pt x="47272" y="1420"/>
                    <a:pt x="45454" y="1420"/>
                  </a:cubicBezTo>
                  <a:cubicBezTo>
                    <a:pt x="43636" y="2130"/>
                    <a:pt x="40909" y="5680"/>
                    <a:pt x="40000" y="7100"/>
                  </a:cubicBezTo>
                  <a:cubicBezTo>
                    <a:pt x="39090" y="7810"/>
                    <a:pt x="39090" y="7810"/>
                    <a:pt x="39090" y="7810"/>
                  </a:cubicBezTo>
                  <a:cubicBezTo>
                    <a:pt x="38181" y="9230"/>
                    <a:pt x="33636" y="9230"/>
                    <a:pt x="30909" y="9230"/>
                  </a:cubicBezTo>
                  <a:cubicBezTo>
                    <a:pt x="30000" y="9230"/>
                    <a:pt x="29090" y="9230"/>
                    <a:pt x="29090" y="9230"/>
                  </a:cubicBezTo>
                  <a:cubicBezTo>
                    <a:pt x="28181" y="9230"/>
                    <a:pt x="26363" y="11360"/>
                    <a:pt x="25454" y="12781"/>
                  </a:cubicBezTo>
                  <a:cubicBezTo>
                    <a:pt x="26363" y="13491"/>
                    <a:pt x="26363" y="13491"/>
                    <a:pt x="26363" y="13491"/>
                  </a:cubicBezTo>
                  <a:cubicBezTo>
                    <a:pt x="26363" y="15621"/>
                    <a:pt x="27272" y="19171"/>
                    <a:pt x="23636" y="19881"/>
                  </a:cubicBezTo>
                  <a:cubicBezTo>
                    <a:pt x="22727" y="20591"/>
                    <a:pt x="21818" y="20591"/>
                    <a:pt x="20909" y="20591"/>
                  </a:cubicBezTo>
                  <a:cubicBezTo>
                    <a:pt x="17272" y="21301"/>
                    <a:pt x="14545" y="22011"/>
                    <a:pt x="11818" y="24142"/>
                  </a:cubicBezTo>
                  <a:close/>
                  <a:moveTo>
                    <a:pt x="50909" y="63905"/>
                  </a:moveTo>
                  <a:cubicBezTo>
                    <a:pt x="51818" y="63195"/>
                    <a:pt x="52727" y="62485"/>
                    <a:pt x="52727" y="61775"/>
                  </a:cubicBezTo>
                  <a:cubicBezTo>
                    <a:pt x="52727" y="60355"/>
                    <a:pt x="52727" y="58934"/>
                    <a:pt x="51818" y="57514"/>
                  </a:cubicBezTo>
                  <a:cubicBezTo>
                    <a:pt x="51818" y="56094"/>
                    <a:pt x="51818" y="56094"/>
                    <a:pt x="51818" y="56094"/>
                  </a:cubicBezTo>
                  <a:cubicBezTo>
                    <a:pt x="51818" y="54674"/>
                    <a:pt x="51818" y="53964"/>
                    <a:pt x="52727" y="53254"/>
                  </a:cubicBezTo>
                  <a:cubicBezTo>
                    <a:pt x="54545" y="51834"/>
                    <a:pt x="57272" y="51124"/>
                    <a:pt x="59090" y="51124"/>
                  </a:cubicBezTo>
                  <a:cubicBezTo>
                    <a:pt x="60000" y="50414"/>
                    <a:pt x="60909" y="46863"/>
                    <a:pt x="60909" y="44733"/>
                  </a:cubicBezTo>
                  <a:cubicBezTo>
                    <a:pt x="60909" y="41893"/>
                    <a:pt x="64545" y="41183"/>
                    <a:pt x="67272" y="40473"/>
                  </a:cubicBezTo>
                  <a:cubicBezTo>
                    <a:pt x="67272" y="40473"/>
                    <a:pt x="68181" y="40473"/>
                    <a:pt x="68181" y="40473"/>
                  </a:cubicBezTo>
                  <a:cubicBezTo>
                    <a:pt x="69090" y="40473"/>
                    <a:pt x="69090" y="40473"/>
                    <a:pt x="69090" y="40473"/>
                  </a:cubicBezTo>
                  <a:cubicBezTo>
                    <a:pt x="72727" y="40473"/>
                    <a:pt x="73636" y="44023"/>
                    <a:pt x="74545" y="46153"/>
                  </a:cubicBezTo>
                  <a:cubicBezTo>
                    <a:pt x="76363" y="48284"/>
                    <a:pt x="78181" y="49704"/>
                    <a:pt x="79090" y="49704"/>
                  </a:cubicBezTo>
                  <a:cubicBezTo>
                    <a:pt x="79090" y="49704"/>
                    <a:pt x="79090" y="49704"/>
                    <a:pt x="79090" y="49704"/>
                  </a:cubicBezTo>
                  <a:cubicBezTo>
                    <a:pt x="82727" y="49704"/>
                    <a:pt x="85454" y="51834"/>
                    <a:pt x="85454" y="53964"/>
                  </a:cubicBezTo>
                  <a:cubicBezTo>
                    <a:pt x="85454" y="56804"/>
                    <a:pt x="81818" y="60355"/>
                    <a:pt x="78181" y="62485"/>
                  </a:cubicBezTo>
                  <a:cubicBezTo>
                    <a:pt x="78181" y="63195"/>
                    <a:pt x="78181" y="63195"/>
                    <a:pt x="78181" y="63195"/>
                  </a:cubicBezTo>
                  <a:cubicBezTo>
                    <a:pt x="78181" y="63195"/>
                    <a:pt x="78181" y="63905"/>
                    <a:pt x="78181" y="63905"/>
                  </a:cubicBezTo>
                  <a:cubicBezTo>
                    <a:pt x="78181" y="64615"/>
                    <a:pt x="79090" y="65325"/>
                    <a:pt x="79090" y="66745"/>
                  </a:cubicBezTo>
                  <a:cubicBezTo>
                    <a:pt x="79090" y="66745"/>
                    <a:pt x="79090" y="68165"/>
                    <a:pt x="78181" y="69585"/>
                  </a:cubicBezTo>
                  <a:cubicBezTo>
                    <a:pt x="76363" y="70295"/>
                    <a:pt x="75454" y="70295"/>
                    <a:pt x="74545" y="70295"/>
                  </a:cubicBezTo>
                  <a:cubicBezTo>
                    <a:pt x="73636" y="70295"/>
                    <a:pt x="71818" y="70295"/>
                    <a:pt x="70000" y="69585"/>
                  </a:cubicBezTo>
                  <a:cubicBezTo>
                    <a:pt x="66363" y="69585"/>
                    <a:pt x="64545" y="68165"/>
                    <a:pt x="63636" y="66745"/>
                  </a:cubicBezTo>
                  <a:cubicBezTo>
                    <a:pt x="63636" y="66745"/>
                    <a:pt x="62727" y="66035"/>
                    <a:pt x="61818" y="66035"/>
                  </a:cubicBezTo>
                  <a:cubicBezTo>
                    <a:pt x="61818" y="66035"/>
                    <a:pt x="60909" y="66745"/>
                    <a:pt x="60000" y="66745"/>
                  </a:cubicBezTo>
                  <a:cubicBezTo>
                    <a:pt x="58181" y="68165"/>
                    <a:pt x="55454" y="69585"/>
                    <a:pt x="52727" y="68875"/>
                  </a:cubicBezTo>
                  <a:cubicBezTo>
                    <a:pt x="51818" y="68875"/>
                    <a:pt x="50000" y="68875"/>
                    <a:pt x="50000" y="67455"/>
                  </a:cubicBezTo>
                  <a:cubicBezTo>
                    <a:pt x="49090" y="66035"/>
                    <a:pt x="50000" y="65325"/>
                    <a:pt x="50909" y="63905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4" name="Shape 7018">
              <a:extLst>
                <a:ext uri="{FF2B5EF4-FFF2-40B4-BE49-F238E27FC236}">
                  <a16:creationId xmlns:a16="http://schemas.microsoft.com/office/drawing/2014/main" id="{5AFCCE8E-07B7-47E5-97AC-C28405138EDC}"/>
                </a:ext>
              </a:extLst>
            </p:cNvPr>
            <p:cNvSpPr/>
            <p:nvPr/>
          </p:nvSpPr>
          <p:spPr>
            <a:xfrm>
              <a:off x="1084530" y="3123724"/>
              <a:ext cx="507442" cy="32007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6844" y="59649"/>
                  </a:moveTo>
                  <a:cubicBezTo>
                    <a:pt x="7300" y="60350"/>
                    <a:pt x="7300" y="61052"/>
                    <a:pt x="7756" y="61754"/>
                  </a:cubicBezTo>
                  <a:cubicBezTo>
                    <a:pt x="9125" y="63157"/>
                    <a:pt x="10038" y="65263"/>
                    <a:pt x="11406" y="65964"/>
                  </a:cubicBezTo>
                  <a:cubicBezTo>
                    <a:pt x="11863" y="66666"/>
                    <a:pt x="12319" y="66666"/>
                    <a:pt x="12775" y="66666"/>
                  </a:cubicBezTo>
                  <a:cubicBezTo>
                    <a:pt x="14144" y="66666"/>
                    <a:pt x="14600" y="67368"/>
                    <a:pt x="15513" y="69473"/>
                  </a:cubicBezTo>
                  <a:cubicBezTo>
                    <a:pt x="15513" y="70175"/>
                    <a:pt x="15513" y="70175"/>
                    <a:pt x="15513" y="70175"/>
                  </a:cubicBezTo>
                  <a:cubicBezTo>
                    <a:pt x="16425" y="72982"/>
                    <a:pt x="16882" y="74385"/>
                    <a:pt x="18250" y="75087"/>
                  </a:cubicBezTo>
                  <a:cubicBezTo>
                    <a:pt x="18707" y="75087"/>
                    <a:pt x="18707" y="75087"/>
                    <a:pt x="19163" y="75087"/>
                  </a:cubicBezTo>
                  <a:cubicBezTo>
                    <a:pt x="20532" y="75789"/>
                    <a:pt x="22813" y="77192"/>
                    <a:pt x="23726" y="76491"/>
                  </a:cubicBezTo>
                  <a:cubicBezTo>
                    <a:pt x="25095" y="75789"/>
                    <a:pt x="28288" y="74385"/>
                    <a:pt x="29657" y="75087"/>
                  </a:cubicBezTo>
                  <a:cubicBezTo>
                    <a:pt x="30114" y="75087"/>
                    <a:pt x="30114" y="75087"/>
                    <a:pt x="30570" y="75789"/>
                  </a:cubicBezTo>
                  <a:cubicBezTo>
                    <a:pt x="31939" y="75789"/>
                    <a:pt x="34220" y="76491"/>
                    <a:pt x="34676" y="79298"/>
                  </a:cubicBezTo>
                  <a:cubicBezTo>
                    <a:pt x="34676" y="80000"/>
                    <a:pt x="34676" y="80701"/>
                    <a:pt x="34676" y="80701"/>
                  </a:cubicBezTo>
                  <a:cubicBezTo>
                    <a:pt x="35133" y="82807"/>
                    <a:pt x="35133" y="83508"/>
                    <a:pt x="35589" y="84210"/>
                  </a:cubicBezTo>
                  <a:cubicBezTo>
                    <a:pt x="36501" y="84912"/>
                    <a:pt x="38326" y="87719"/>
                    <a:pt x="38783" y="89824"/>
                  </a:cubicBezTo>
                  <a:cubicBezTo>
                    <a:pt x="38783" y="90526"/>
                    <a:pt x="38783" y="90526"/>
                    <a:pt x="38783" y="91228"/>
                  </a:cubicBezTo>
                  <a:cubicBezTo>
                    <a:pt x="38783" y="91929"/>
                    <a:pt x="38783" y="92631"/>
                    <a:pt x="40152" y="93333"/>
                  </a:cubicBezTo>
                  <a:cubicBezTo>
                    <a:pt x="41977" y="94736"/>
                    <a:pt x="43802" y="97543"/>
                    <a:pt x="44714" y="101052"/>
                  </a:cubicBezTo>
                  <a:cubicBezTo>
                    <a:pt x="45171" y="99649"/>
                    <a:pt x="46083" y="98947"/>
                    <a:pt x="46996" y="98947"/>
                  </a:cubicBezTo>
                  <a:cubicBezTo>
                    <a:pt x="46996" y="98947"/>
                    <a:pt x="47452" y="98947"/>
                    <a:pt x="47908" y="98947"/>
                  </a:cubicBezTo>
                  <a:cubicBezTo>
                    <a:pt x="48365" y="98947"/>
                    <a:pt x="50190" y="98947"/>
                    <a:pt x="50646" y="98947"/>
                  </a:cubicBezTo>
                  <a:cubicBezTo>
                    <a:pt x="51102" y="98245"/>
                    <a:pt x="51102" y="98245"/>
                    <a:pt x="51102" y="98245"/>
                  </a:cubicBezTo>
                  <a:cubicBezTo>
                    <a:pt x="51558" y="96140"/>
                    <a:pt x="52927" y="92631"/>
                    <a:pt x="54752" y="91929"/>
                  </a:cubicBezTo>
                  <a:cubicBezTo>
                    <a:pt x="55209" y="91228"/>
                    <a:pt x="55665" y="91228"/>
                    <a:pt x="55665" y="90526"/>
                  </a:cubicBezTo>
                  <a:cubicBezTo>
                    <a:pt x="56577" y="89824"/>
                    <a:pt x="57490" y="89122"/>
                    <a:pt x="58403" y="89824"/>
                  </a:cubicBezTo>
                  <a:cubicBezTo>
                    <a:pt x="58859" y="90526"/>
                    <a:pt x="58859" y="91929"/>
                    <a:pt x="58859" y="92631"/>
                  </a:cubicBezTo>
                  <a:cubicBezTo>
                    <a:pt x="58859" y="94035"/>
                    <a:pt x="59315" y="94736"/>
                    <a:pt x="59771" y="95438"/>
                  </a:cubicBezTo>
                  <a:cubicBezTo>
                    <a:pt x="60228" y="96140"/>
                    <a:pt x="60684" y="96842"/>
                    <a:pt x="60684" y="98245"/>
                  </a:cubicBezTo>
                  <a:cubicBezTo>
                    <a:pt x="60684" y="100350"/>
                    <a:pt x="61140" y="101754"/>
                    <a:pt x="61140" y="101754"/>
                  </a:cubicBezTo>
                  <a:cubicBezTo>
                    <a:pt x="61596" y="101754"/>
                    <a:pt x="65247" y="102456"/>
                    <a:pt x="66615" y="103157"/>
                  </a:cubicBezTo>
                  <a:cubicBezTo>
                    <a:pt x="66615" y="103859"/>
                    <a:pt x="67072" y="103859"/>
                    <a:pt x="67072" y="104561"/>
                  </a:cubicBezTo>
                  <a:cubicBezTo>
                    <a:pt x="69809" y="107368"/>
                    <a:pt x="71634" y="108771"/>
                    <a:pt x="72547" y="108771"/>
                  </a:cubicBezTo>
                  <a:cubicBezTo>
                    <a:pt x="72547" y="108771"/>
                    <a:pt x="73003" y="108771"/>
                    <a:pt x="73460" y="108771"/>
                  </a:cubicBezTo>
                  <a:cubicBezTo>
                    <a:pt x="75285" y="108771"/>
                    <a:pt x="77566" y="108070"/>
                    <a:pt x="78479" y="110877"/>
                  </a:cubicBezTo>
                  <a:cubicBezTo>
                    <a:pt x="79391" y="112982"/>
                    <a:pt x="80760" y="115087"/>
                    <a:pt x="81673" y="115087"/>
                  </a:cubicBezTo>
                  <a:cubicBezTo>
                    <a:pt x="82129" y="115087"/>
                    <a:pt x="82585" y="115087"/>
                    <a:pt x="83041" y="115087"/>
                  </a:cubicBezTo>
                  <a:cubicBezTo>
                    <a:pt x="84866" y="114385"/>
                    <a:pt x="88060" y="114385"/>
                    <a:pt x="89885" y="116491"/>
                  </a:cubicBezTo>
                  <a:cubicBezTo>
                    <a:pt x="90798" y="118596"/>
                    <a:pt x="92623" y="120000"/>
                    <a:pt x="93536" y="120000"/>
                  </a:cubicBezTo>
                  <a:cubicBezTo>
                    <a:pt x="93992" y="120000"/>
                    <a:pt x="94448" y="119298"/>
                    <a:pt x="94448" y="119298"/>
                  </a:cubicBezTo>
                  <a:cubicBezTo>
                    <a:pt x="95817" y="117894"/>
                    <a:pt x="95817" y="117894"/>
                    <a:pt x="95817" y="117894"/>
                  </a:cubicBezTo>
                  <a:cubicBezTo>
                    <a:pt x="99011" y="113684"/>
                    <a:pt x="102661" y="109473"/>
                    <a:pt x="103574" y="108771"/>
                  </a:cubicBezTo>
                  <a:cubicBezTo>
                    <a:pt x="104030" y="107368"/>
                    <a:pt x="102661" y="103157"/>
                    <a:pt x="102205" y="101052"/>
                  </a:cubicBezTo>
                  <a:cubicBezTo>
                    <a:pt x="102205" y="99649"/>
                    <a:pt x="101749" y="98245"/>
                    <a:pt x="101749" y="97543"/>
                  </a:cubicBezTo>
                  <a:cubicBezTo>
                    <a:pt x="100836" y="94035"/>
                    <a:pt x="103117" y="92631"/>
                    <a:pt x="104030" y="91228"/>
                  </a:cubicBezTo>
                  <a:cubicBezTo>
                    <a:pt x="104486" y="91228"/>
                    <a:pt x="104942" y="90526"/>
                    <a:pt x="105399" y="90526"/>
                  </a:cubicBezTo>
                  <a:cubicBezTo>
                    <a:pt x="105399" y="89824"/>
                    <a:pt x="104942" y="86315"/>
                    <a:pt x="104486" y="84210"/>
                  </a:cubicBezTo>
                  <a:cubicBezTo>
                    <a:pt x="104030" y="80701"/>
                    <a:pt x="104030" y="79298"/>
                    <a:pt x="104030" y="77894"/>
                  </a:cubicBezTo>
                  <a:cubicBezTo>
                    <a:pt x="104486" y="75789"/>
                    <a:pt x="106311" y="75087"/>
                    <a:pt x="108136" y="75087"/>
                  </a:cubicBezTo>
                  <a:cubicBezTo>
                    <a:pt x="108593" y="75087"/>
                    <a:pt x="109049" y="75087"/>
                    <a:pt x="109505" y="74385"/>
                  </a:cubicBezTo>
                  <a:cubicBezTo>
                    <a:pt x="110418" y="74385"/>
                    <a:pt x="111330" y="70175"/>
                    <a:pt x="111787" y="68771"/>
                  </a:cubicBezTo>
                  <a:cubicBezTo>
                    <a:pt x="112243" y="68070"/>
                    <a:pt x="112243" y="67368"/>
                    <a:pt x="112243" y="67368"/>
                  </a:cubicBezTo>
                  <a:cubicBezTo>
                    <a:pt x="112699" y="65263"/>
                    <a:pt x="115893" y="63157"/>
                    <a:pt x="118631" y="61052"/>
                  </a:cubicBezTo>
                  <a:cubicBezTo>
                    <a:pt x="118174" y="59649"/>
                    <a:pt x="118174" y="58245"/>
                    <a:pt x="118174" y="56842"/>
                  </a:cubicBezTo>
                  <a:cubicBezTo>
                    <a:pt x="118174" y="56140"/>
                    <a:pt x="118174" y="56140"/>
                    <a:pt x="118174" y="55438"/>
                  </a:cubicBezTo>
                  <a:cubicBezTo>
                    <a:pt x="118174" y="54035"/>
                    <a:pt x="118631" y="51228"/>
                    <a:pt x="119543" y="49122"/>
                  </a:cubicBezTo>
                  <a:cubicBezTo>
                    <a:pt x="119543" y="47017"/>
                    <a:pt x="120000" y="45614"/>
                    <a:pt x="120000" y="44210"/>
                  </a:cubicBezTo>
                  <a:cubicBezTo>
                    <a:pt x="120000" y="44210"/>
                    <a:pt x="119543" y="44210"/>
                    <a:pt x="119087" y="44210"/>
                  </a:cubicBezTo>
                  <a:cubicBezTo>
                    <a:pt x="118174" y="44210"/>
                    <a:pt x="117718" y="44210"/>
                    <a:pt x="116806" y="44210"/>
                  </a:cubicBezTo>
                  <a:cubicBezTo>
                    <a:pt x="115437" y="44210"/>
                    <a:pt x="112699" y="44210"/>
                    <a:pt x="111787" y="44912"/>
                  </a:cubicBezTo>
                  <a:cubicBezTo>
                    <a:pt x="109961" y="44912"/>
                    <a:pt x="109961" y="44912"/>
                    <a:pt x="109961" y="44912"/>
                  </a:cubicBezTo>
                  <a:cubicBezTo>
                    <a:pt x="108593" y="44912"/>
                    <a:pt x="105399" y="42807"/>
                    <a:pt x="100380" y="38596"/>
                  </a:cubicBezTo>
                  <a:cubicBezTo>
                    <a:pt x="99467" y="37894"/>
                    <a:pt x="98555" y="37192"/>
                    <a:pt x="98098" y="37192"/>
                  </a:cubicBezTo>
                  <a:cubicBezTo>
                    <a:pt x="97642" y="36491"/>
                    <a:pt x="95817" y="35087"/>
                    <a:pt x="93536" y="31578"/>
                  </a:cubicBezTo>
                  <a:cubicBezTo>
                    <a:pt x="92623" y="30175"/>
                    <a:pt x="92623" y="30175"/>
                    <a:pt x="92623" y="30175"/>
                  </a:cubicBezTo>
                  <a:cubicBezTo>
                    <a:pt x="92167" y="30175"/>
                    <a:pt x="92167" y="30175"/>
                    <a:pt x="92167" y="30175"/>
                  </a:cubicBezTo>
                  <a:cubicBezTo>
                    <a:pt x="92167" y="30175"/>
                    <a:pt x="91711" y="30877"/>
                    <a:pt x="91254" y="31578"/>
                  </a:cubicBezTo>
                  <a:cubicBezTo>
                    <a:pt x="90798" y="32280"/>
                    <a:pt x="90342" y="33684"/>
                    <a:pt x="89429" y="33684"/>
                  </a:cubicBezTo>
                  <a:cubicBezTo>
                    <a:pt x="87148" y="34385"/>
                    <a:pt x="83954" y="30877"/>
                    <a:pt x="83041" y="28070"/>
                  </a:cubicBezTo>
                  <a:cubicBezTo>
                    <a:pt x="83041" y="28070"/>
                    <a:pt x="83041" y="27368"/>
                    <a:pt x="83041" y="27368"/>
                  </a:cubicBezTo>
                  <a:cubicBezTo>
                    <a:pt x="83041" y="28070"/>
                    <a:pt x="82585" y="28070"/>
                    <a:pt x="82585" y="28070"/>
                  </a:cubicBezTo>
                  <a:cubicBezTo>
                    <a:pt x="82129" y="28070"/>
                    <a:pt x="81216" y="28070"/>
                    <a:pt x="79847" y="28070"/>
                  </a:cubicBezTo>
                  <a:cubicBezTo>
                    <a:pt x="78479" y="27368"/>
                    <a:pt x="78022" y="26666"/>
                    <a:pt x="78022" y="24561"/>
                  </a:cubicBezTo>
                  <a:cubicBezTo>
                    <a:pt x="78022" y="23859"/>
                    <a:pt x="78022" y="23859"/>
                    <a:pt x="78022" y="23859"/>
                  </a:cubicBezTo>
                  <a:cubicBezTo>
                    <a:pt x="78022" y="22456"/>
                    <a:pt x="77566" y="19649"/>
                    <a:pt x="75741" y="17543"/>
                  </a:cubicBezTo>
                  <a:cubicBezTo>
                    <a:pt x="73460" y="14736"/>
                    <a:pt x="69353" y="12631"/>
                    <a:pt x="68897" y="12631"/>
                  </a:cubicBezTo>
                  <a:cubicBezTo>
                    <a:pt x="68441" y="12631"/>
                    <a:pt x="67528" y="14035"/>
                    <a:pt x="66615" y="14736"/>
                  </a:cubicBezTo>
                  <a:cubicBezTo>
                    <a:pt x="66159" y="16140"/>
                    <a:pt x="65247" y="17543"/>
                    <a:pt x="64790" y="17543"/>
                  </a:cubicBezTo>
                  <a:cubicBezTo>
                    <a:pt x="62965" y="19649"/>
                    <a:pt x="61596" y="19649"/>
                    <a:pt x="59771" y="19649"/>
                  </a:cubicBezTo>
                  <a:cubicBezTo>
                    <a:pt x="58859" y="19649"/>
                    <a:pt x="58403" y="20350"/>
                    <a:pt x="57490" y="21052"/>
                  </a:cubicBezTo>
                  <a:cubicBezTo>
                    <a:pt x="56577" y="21754"/>
                    <a:pt x="55209" y="23157"/>
                    <a:pt x="53840" y="23859"/>
                  </a:cubicBezTo>
                  <a:cubicBezTo>
                    <a:pt x="52015" y="23859"/>
                    <a:pt x="49277" y="23157"/>
                    <a:pt x="47908" y="17543"/>
                  </a:cubicBezTo>
                  <a:cubicBezTo>
                    <a:pt x="47908" y="17543"/>
                    <a:pt x="47452" y="16842"/>
                    <a:pt x="42889" y="17543"/>
                  </a:cubicBezTo>
                  <a:cubicBezTo>
                    <a:pt x="42433" y="17543"/>
                    <a:pt x="41520" y="17543"/>
                    <a:pt x="41520" y="17543"/>
                  </a:cubicBezTo>
                  <a:cubicBezTo>
                    <a:pt x="39239" y="17543"/>
                    <a:pt x="37870" y="16140"/>
                    <a:pt x="36958" y="13333"/>
                  </a:cubicBezTo>
                  <a:cubicBezTo>
                    <a:pt x="36958" y="12631"/>
                    <a:pt x="36501" y="12631"/>
                    <a:pt x="35133" y="14035"/>
                  </a:cubicBezTo>
                  <a:cubicBezTo>
                    <a:pt x="34220" y="14035"/>
                    <a:pt x="33764" y="14736"/>
                    <a:pt x="32851" y="14736"/>
                  </a:cubicBezTo>
                  <a:cubicBezTo>
                    <a:pt x="31026" y="14736"/>
                    <a:pt x="30114" y="13333"/>
                    <a:pt x="29201" y="11228"/>
                  </a:cubicBezTo>
                  <a:cubicBezTo>
                    <a:pt x="28745" y="10526"/>
                    <a:pt x="28745" y="10526"/>
                    <a:pt x="28745" y="10526"/>
                  </a:cubicBezTo>
                  <a:cubicBezTo>
                    <a:pt x="28288" y="9122"/>
                    <a:pt x="26007" y="9122"/>
                    <a:pt x="24638" y="9824"/>
                  </a:cubicBezTo>
                  <a:cubicBezTo>
                    <a:pt x="24638" y="9824"/>
                    <a:pt x="24182" y="9824"/>
                    <a:pt x="24182" y="9824"/>
                  </a:cubicBezTo>
                  <a:cubicBezTo>
                    <a:pt x="22357" y="9824"/>
                    <a:pt x="20076" y="4210"/>
                    <a:pt x="19163" y="2105"/>
                  </a:cubicBezTo>
                  <a:cubicBezTo>
                    <a:pt x="19163" y="1403"/>
                    <a:pt x="18707" y="701"/>
                    <a:pt x="18707" y="0"/>
                  </a:cubicBezTo>
                  <a:cubicBezTo>
                    <a:pt x="17794" y="1403"/>
                    <a:pt x="15969" y="2807"/>
                    <a:pt x="15057" y="4210"/>
                  </a:cubicBezTo>
                  <a:cubicBezTo>
                    <a:pt x="14600" y="4210"/>
                    <a:pt x="14600" y="4912"/>
                    <a:pt x="14600" y="7017"/>
                  </a:cubicBezTo>
                  <a:cubicBezTo>
                    <a:pt x="14600" y="7719"/>
                    <a:pt x="15057" y="8421"/>
                    <a:pt x="15057" y="8421"/>
                  </a:cubicBezTo>
                  <a:cubicBezTo>
                    <a:pt x="15057" y="10526"/>
                    <a:pt x="13688" y="11929"/>
                    <a:pt x="10950" y="14035"/>
                  </a:cubicBezTo>
                  <a:cubicBezTo>
                    <a:pt x="10950" y="14035"/>
                    <a:pt x="10494" y="16140"/>
                    <a:pt x="10494" y="25964"/>
                  </a:cubicBezTo>
                  <a:cubicBezTo>
                    <a:pt x="10494" y="26666"/>
                    <a:pt x="10494" y="26666"/>
                    <a:pt x="10494" y="26666"/>
                  </a:cubicBezTo>
                  <a:cubicBezTo>
                    <a:pt x="10494" y="29473"/>
                    <a:pt x="7756" y="34385"/>
                    <a:pt x="6387" y="35789"/>
                  </a:cubicBezTo>
                  <a:cubicBezTo>
                    <a:pt x="4562" y="38596"/>
                    <a:pt x="3650" y="37192"/>
                    <a:pt x="2281" y="37894"/>
                  </a:cubicBezTo>
                  <a:cubicBezTo>
                    <a:pt x="1825" y="37894"/>
                    <a:pt x="1825" y="39298"/>
                    <a:pt x="1368" y="40000"/>
                  </a:cubicBezTo>
                  <a:cubicBezTo>
                    <a:pt x="912" y="41403"/>
                    <a:pt x="912" y="42807"/>
                    <a:pt x="0" y="43508"/>
                  </a:cubicBezTo>
                  <a:cubicBezTo>
                    <a:pt x="0" y="44210"/>
                    <a:pt x="0" y="45614"/>
                    <a:pt x="0" y="45614"/>
                  </a:cubicBezTo>
                  <a:cubicBezTo>
                    <a:pt x="912" y="45614"/>
                    <a:pt x="912" y="45614"/>
                    <a:pt x="912" y="45614"/>
                  </a:cubicBezTo>
                  <a:cubicBezTo>
                    <a:pt x="2281" y="46315"/>
                    <a:pt x="5931" y="47017"/>
                    <a:pt x="5931" y="51929"/>
                  </a:cubicBezTo>
                  <a:cubicBezTo>
                    <a:pt x="6387" y="53333"/>
                    <a:pt x="5931" y="54035"/>
                    <a:pt x="5931" y="55438"/>
                  </a:cubicBezTo>
                  <a:cubicBezTo>
                    <a:pt x="5931" y="57543"/>
                    <a:pt x="5931" y="58947"/>
                    <a:pt x="6844" y="59649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5" name="Shape 7019">
              <a:extLst>
                <a:ext uri="{FF2B5EF4-FFF2-40B4-BE49-F238E27FC236}">
                  <a16:creationId xmlns:a16="http://schemas.microsoft.com/office/drawing/2014/main" id="{5783D82E-4FA3-4696-8445-1017BF464C66}"/>
                </a:ext>
              </a:extLst>
            </p:cNvPr>
            <p:cNvSpPr/>
            <p:nvPr/>
          </p:nvSpPr>
          <p:spPr>
            <a:xfrm>
              <a:off x="960079" y="3606171"/>
              <a:ext cx="209344" cy="22302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5555" y="27226"/>
                  </a:moveTo>
                  <a:cubicBezTo>
                    <a:pt x="8888" y="26218"/>
                    <a:pt x="7777" y="27226"/>
                    <a:pt x="5555" y="28235"/>
                  </a:cubicBezTo>
                  <a:cubicBezTo>
                    <a:pt x="4444" y="29243"/>
                    <a:pt x="4444" y="29243"/>
                    <a:pt x="4444" y="29243"/>
                  </a:cubicBezTo>
                  <a:cubicBezTo>
                    <a:pt x="3333" y="30252"/>
                    <a:pt x="2222" y="32268"/>
                    <a:pt x="0" y="33277"/>
                  </a:cubicBezTo>
                  <a:cubicBezTo>
                    <a:pt x="2222" y="36302"/>
                    <a:pt x="8888" y="39327"/>
                    <a:pt x="14444" y="41344"/>
                  </a:cubicBezTo>
                  <a:cubicBezTo>
                    <a:pt x="20000" y="42352"/>
                    <a:pt x="18888" y="49411"/>
                    <a:pt x="18888" y="52436"/>
                  </a:cubicBezTo>
                  <a:cubicBezTo>
                    <a:pt x="18888" y="53445"/>
                    <a:pt x="18888" y="53445"/>
                    <a:pt x="18888" y="53445"/>
                  </a:cubicBezTo>
                  <a:cubicBezTo>
                    <a:pt x="18888" y="55462"/>
                    <a:pt x="21111" y="57478"/>
                    <a:pt x="24444" y="57478"/>
                  </a:cubicBezTo>
                  <a:cubicBezTo>
                    <a:pt x="30000" y="58487"/>
                    <a:pt x="31111" y="61512"/>
                    <a:pt x="31111" y="63529"/>
                  </a:cubicBezTo>
                  <a:cubicBezTo>
                    <a:pt x="31111" y="64537"/>
                    <a:pt x="31111" y="65546"/>
                    <a:pt x="31111" y="66554"/>
                  </a:cubicBezTo>
                  <a:cubicBezTo>
                    <a:pt x="32222" y="67563"/>
                    <a:pt x="34444" y="68571"/>
                    <a:pt x="37777" y="69579"/>
                  </a:cubicBezTo>
                  <a:cubicBezTo>
                    <a:pt x="41111" y="69579"/>
                    <a:pt x="42222" y="74621"/>
                    <a:pt x="42222" y="86722"/>
                  </a:cubicBezTo>
                  <a:cubicBezTo>
                    <a:pt x="42222" y="88739"/>
                    <a:pt x="44444" y="91764"/>
                    <a:pt x="46666" y="93781"/>
                  </a:cubicBezTo>
                  <a:cubicBezTo>
                    <a:pt x="47777" y="95798"/>
                    <a:pt x="50000" y="97815"/>
                    <a:pt x="50000" y="99831"/>
                  </a:cubicBezTo>
                  <a:cubicBezTo>
                    <a:pt x="51111" y="102857"/>
                    <a:pt x="52222" y="109915"/>
                    <a:pt x="52222" y="113949"/>
                  </a:cubicBezTo>
                  <a:cubicBezTo>
                    <a:pt x="60000" y="114957"/>
                    <a:pt x="63333" y="117983"/>
                    <a:pt x="65555" y="120000"/>
                  </a:cubicBezTo>
                  <a:cubicBezTo>
                    <a:pt x="67777" y="118991"/>
                    <a:pt x="71111" y="115966"/>
                    <a:pt x="73333" y="114957"/>
                  </a:cubicBezTo>
                  <a:cubicBezTo>
                    <a:pt x="76666" y="112941"/>
                    <a:pt x="78888" y="112941"/>
                    <a:pt x="81111" y="113949"/>
                  </a:cubicBezTo>
                  <a:cubicBezTo>
                    <a:pt x="82222" y="113949"/>
                    <a:pt x="83333" y="113949"/>
                    <a:pt x="84444" y="113949"/>
                  </a:cubicBezTo>
                  <a:cubicBezTo>
                    <a:pt x="85555" y="113949"/>
                    <a:pt x="86666" y="112941"/>
                    <a:pt x="87777" y="110924"/>
                  </a:cubicBezTo>
                  <a:cubicBezTo>
                    <a:pt x="88888" y="109915"/>
                    <a:pt x="88888" y="108907"/>
                    <a:pt x="90000" y="108907"/>
                  </a:cubicBezTo>
                  <a:cubicBezTo>
                    <a:pt x="90000" y="106890"/>
                    <a:pt x="88888" y="103865"/>
                    <a:pt x="87777" y="102857"/>
                  </a:cubicBezTo>
                  <a:cubicBezTo>
                    <a:pt x="87777" y="102857"/>
                    <a:pt x="86666" y="101848"/>
                    <a:pt x="86666" y="101848"/>
                  </a:cubicBezTo>
                  <a:cubicBezTo>
                    <a:pt x="86666" y="100840"/>
                    <a:pt x="86666" y="99831"/>
                    <a:pt x="86666" y="98823"/>
                  </a:cubicBezTo>
                  <a:cubicBezTo>
                    <a:pt x="87777" y="96806"/>
                    <a:pt x="92222" y="94789"/>
                    <a:pt x="101111" y="92773"/>
                  </a:cubicBezTo>
                  <a:cubicBezTo>
                    <a:pt x="102222" y="91764"/>
                    <a:pt x="102222" y="91764"/>
                    <a:pt x="102222" y="91764"/>
                  </a:cubicBezTo>
                  <a:cubicBezTo>
                    <a:pt x="103333" y="90756"/>
                    <a:pt x="105555" y="85714"/>
                    <a:pt x="105555" y="82689"/>
                  </a:cubicBezTo>
                  <a:cubicBezTo>
                    <a:pt x="105555" y="79663"/>
                    <a:pt x="111111" y="78655"/>
                    <a:pt x="114444" y="77647"/>
                  </a:cubicBezTo>
                  <a:cubicBezTo>
                    <a:pt x="116666" y="77647"/>
                    <a:pt x="117777" y="77647"/>
                    <a:pt x="118888" y="77647"/>
                  </a:cubicBezTo>
                  <a:cubicBezTo>
                    <a:pt x="120000" y="76638"/>
                    <a:pt x="117777" y="72605"/>
                    <a:pt x="116666" y="70588"/>
                  </a:cubicBezTo>
                  <a:cubicBezTo>
                    <a:pt x="114444" y="67563"/>
                    <a:pt x="114444" y="66554"/>
                    <a:pt x="114444" y="64537"/>
                  </a:cubicBezTo>
                  <a:cubicBezTo>
                    <a:pt x="114444" y="63529"/>
                    <a:pt x="114444" y="60504"/>
                    <a:pt x="116666" y="58487"/>
                  </a:cubicBezTo>
                  <a:cubicBezTo>
                    <a:pt x="114444" y="56470"/>
                    <a:pt x="108888" y="53445"/>
                    <a:pt x="105555" y="52436"/>
                  </a:cubicBezTo>
                  <a:cubicBezTo>
                    <a:pt x="100000" y="50420"/>
                    <a:pt x="95555" y="35294"/>
                    <a:pt x="94444" y="34285"/>
                  </a:cubicBezTo>
                  <a:cubicBezTo>
                    <a:pt x="93333" y="30252"/>
                    <a:pt x="91111" y="16134"/>
                    <a:pt x="88888" y="10084"/>
                  </a:cubicBezTo>
                  <a:cubicBezTo>
                    <a:pt x="88888" y="10084"/>
                    <a:pt x="88888" y="10084"/>
                    <a:pt x="88888" y="10084"/>
                  </a:cubicBezTo>
                  <a:cubicBezTo>
                    <a:pt x="84444" y="10084"/>
                    <a:pt x="77777" y="7058"/>
                    <a:pt x="72222" y="4033"/>
                  </a:cubicBezTo>
                  <a:cubicBezTo>
                    <a:pt x="70000" y="4033"/>
                    <a:pt x="57777" y="4033"/>
                    <a:pt x="53333" y="2016"/>
                  </a:cubicBezTo>
                  <a:cubicBezTo>
                    <a:pt x="52222" y="2016"/>
                    <a:pt x="51111" y="1008"/>
                    <a:pt x="50000" y="0"/>
                  </a:cubicBezTo>
                  <a:cubicBezTo>
                    <a:pt x="50000" y="1008"/>
                    <a:pt x="48888" y="2016"/>
                    <a:pt x="47777" y="3025"/>
                  </a:cubicBezTo>
                  <a:cubicBezTo>
                    <a:pt x="47777" y="4033"/>
                    <a:pt x="47777" y="5042"/>
                    <a:pt x="46666" y="6050"/>
                  </a:cubicBezTo>
                  <a:cubicBezTo>
                    <a:pt x="43333" y="15126"/>
                    <a:pt x="41111" y="19159"/>
                    <a:pt x="38888" y="19159"/>
                  </a:cubicBezTo>
                  <a:cubicBezTo>
                    <a:pt x="37777" y="19159"/>
                    <a:pt x="36666" y="19159"/>
                    <a:pt x="35555" y="17142"/>
                  </a:cubicBezTo>
                  <a:cubicBezTo>
                    <a:pt x="34444" y="15126"/>
                    <a:pt x="30000" y="12100"/>
                    <a:pt x="27777" y="12100"/>
                  </a:cubicBezTo>
                  <a:cubicBezTo>
                    <a:pt x="27777" y="12100"/>
                    <a:pt x="25555" y="12100"/>
                    <a:pt x="24444" y="12100"/>
                  </a:cubicBezTo>
                  <a:cubicBezTo>
                    <a:pt x="23333" y="12100"/>
                    <a:pt x="18888" y="11092"/>
                    <a:pt x="18888" y="12100"/>
                  </a:cubicBezTo>
                  <a:cubicBezTo>
                    <a:pt x="18888" y="13109"/>
                    <a:pt x="18888" y="15126"/>
                    <a:pt x="20000" y="16134"/>
                  </a:cubicBezTo>
                  <a:cubicBezTo>
                    <a:pt x="21111" y="20168"/>
                    <a:pt x="22222" y="24201"/>
                    <a:pt x="20000" y="26218"/>
                  </a:cubicBezTo>
                  <a:cubicBezTo>
                    <a:pt x="20000" y="27226"/>
                    <a:pt x="17777" y="28235"/>
                    <a:pt x="15555" y="27226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6" name="Shape 7020">
              <a:extLst>
                <a:ext uri="{FF2B5EF4-FFF2-40B4-BE49-F238E27FC236}">
                  <a16:creationId xmlns:a16="http://schemas.microsoft.com/office/drawing/2014/main" id="{5FD2FD6C-4F98-4627-8B1F-5E50272DBFFD}"/>
                </a:ext>
              </a:extLst>
            </p:cNvPr>
            <p:cNvSpPr/>
            <p:nvPr/>
          </p:nvSpPr>
          <p:spPr>
            <a:xfrm>
              <a:off x="834666" y="3827332"/>
              <a:ext cx="217061" cy="26035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52499" y="89784"/>
                  </a:moveTo>
                  <a:cubicBezTo>
                    <a:pt x="54642" y="93237"/>
                    <a:pt x="70714" y="100143"/>
                    <a:pt x="72857" y="103597"/>
                  </a:cubicBezTo>
                  <a:cubicBezTo>
                    <a:pt x="75000" y="107050"/>
                    <a:pt x="75000" y="111366"/>
                    <a:pt x="76071" y="113093"/>
                  </a:cubicBezTo>
                  <a:cubicBezTo>
                    <a:pt x="77142" y="115683"/>
                    <a:pt x="77142" y="118273"/>
                    <a:pt x="80357" y="120000"/>
                  </a:cubicBezTo>
                  <a:cubicBezTo>
                    <a:pt x="81428" y="120000"/>
                    <a:pt x="88928" y="114820"/>
                    <a:pt x="92142" y="113956"/>
                  </a:cubicBezTo>
                  <a:cubicBezTo>
                    <a:pt x="92142" y="113093"/>
                    <a:pt x="92142" y="112230"/>
                    <a:pt x="91071" y="111366"/>
                  </a:cubicBezTo>
                  <a:cubicBezTo>
                    <a:pt x="91071" y="109640"/>
                    <a:pt x="89999" y="108776"/>
                    <a:pt x="89999" y="107913"/>
                  </a:cubicBezTo>
                  <a:cubicBezTo>
                    <a:pt x="88928" y="106187"/>
                    <a:pt x="89999" y="105323"/>
                    <a:pt x="89999" y="105323"/>
                  </a:cubicBezTo>
                  <a:cubicBezTo>
                    <a:pt x="92142" y="103597"/>
                    <a:pt x="94285" y="103597"/>
                    <a:pt x="97499" y="103597"/>
                  </a:cubicBezTo>
                  <a:cubicBezTo>
                    <a:pt x="98571" y="103597"/>
                    <a:pt x="99642" y="103597"/>
                    <a:pt x="100714" y="103597"/>
                  </a:cubicBezTo>
                  <a:cubicBezTo>
                    <a:pt x="100714" y="103597"/>
                    <a:pt x="100714" y="101007"/>
                    <a:pt x="100714" y="100143"/>
                  </a:cubicBezTo>
                  <a:cubicBezTo>
                    <a:pt x="100714" y="99280"/>
                    <a:pt x="100714" y="98417"/>
                    <a:pt x="100714" y="96690"/>
                  </a:cubicBezTo>
                  <a:cubicBezTo>
                    <a:pt x="100714" y="93237"/>
                    <a:pt x="104999" y="92374"/>
                    <a:pt x="107142" y="92374"/>
                  </a:cubicBezTo>
                  <a:cubicBezTo>
                    <a:pt x="107142" y="92374"/>
                    <a:pt x="108214" y="92374"/>
                    <a:pt x="108214" y="92374"/>
                  </a:cubicBezTo>
                  <a:cubicBezTo>
                    <a:pt x="109285" y="90647"/>
                    <a:pt x="108214" y="88920"/>
                    <a:pt x="108214" y="87194"/>
                  </a:cubicBezTo>
                  <a:cubicBezTo>
                    <a:pt x="106071" y="85467"/>
                    <a:pt x="107142" y="82877"/>
                    <a:pt x="107142" y="79424"/>
                  </a:cubicBezTo>
                  <a:cubicBezTo>
                    <a:pt x="107142" y="78561"/>
                    <a:pt x="107142" y="76834"/>
                    <a:pt x="107142" y="75107"/>
                  </a:cubicBezTo>
                  <a:cubicBezTo>
                    <a:pt x="107142" y="73381"/>
                    <a:pt x="108214" y="71654"/>
                    <a:pt x="109285" y="70791"/>
                  </a:cubicBezTo>
                  <a:cubicBezTo>
                    <a:pt x="111428" y="69064"/>
                    <a:pt x="114642" y="69064"/>
                    <a:pt x="116785" y="69064"/>
                  </a:cubicBezTo>
                  <a:cubicBezTo>
                    <a:pt x="117857" y="69064"/>
                    <a:pt x="117857" y="69064"/>
                    <a:pt x="117857" y="69064"/>
                  </a:cubicBezTo>
                  <a:cubicBezTo>
                    <a:pt x="118928" y="69064"/>
                    <a:pt x="118928" y="66474"/>
                    <a:pt x="118928" y="65611"/>
                  </a:cubicBezTo>
                  <a:cubicBezTo>
                    <a:pt x="119999" y="63884"/>
                    <a:pt x="119999" y="63021"/>
                    <a:pt x="119999" y="62158"/>
                  </a:cubicBezTo>
                  <a:cubicBezTo>
                    <a:pt x="119999" y="61294"/>
                    <a:pt x="117857" y="59568"/>
                    <a:pt x="116785" y="58705"/>
                  </a:cubicBezTo>
                  <a:cubicBezTo>
                    <a:pt x="115714" y="57841"/>
                    <a:pt x="114642" y="57841"/>
                    <a:pt x="113571" y="56978"/>
                  </a:cubicBezTo>
                  <a:cubicBezTo>
                    <a:pt x="112499" y="56115"/>
                    <a:pt x="112499" y="55251"/>
                    <a:pt x="112499" y="53525"/>
                  </a:cubicBezTo>
                  <a:cubicBezTo>
                    <a:pt x="112499" y="51798"/>
                    <a:pt x="114642" y="51798"/>
                    <a:pt x="116785" y="50935"/>
                  </a:cubicBezTo>
                  <a:cubicBezTo>
                    <a:pt x="117857" y="50071"/>
                    <a:pt x="118928" y="50071"/>
                    <a:pt x="118928" y="49208"/>
                  </a:cubicBezTo>
                  <a:cubicBezTo>
                    <a:pt x="118928" y="49208"/>
                    <a:pt x="118928" y="47482"/>
                    <a:pt x="116785" y="42302"/>
                  </a:cubicBezTo>
                  <a:cubicBezTo>
                    <a:pt x="116785" y="42302"/>
                    <a:pt x="116785" y="42302"/>
                    <a:pt x="115714" y="42302"/>
                  </a:cubicBezTo>
                  <a:cubicBezTo>
                    <a:pt x="115714" y="41438"/>
                    <a:pt x="115714" y="41438"/>
                    <a:pt x="115714" y="40575"/>
                  </a:cubicBezTo>
                  <a:cubicBezTo>
                    <a:pt x="115714" y="38848"/>
                    <a:pt x="114642" y="37122"/>
                    <a:pt x="112499" y="34532"/>
                  </a:cubicBezTo>
                  <a:cubicBezTo>
                    <a:pt x="112499" y="33669"/>
                    <a:pt x="112499" y="32805"/>
                    <a:pt x="111428" y="32805"/>
                  </a:cubicBezTo>
                  <a:cubicBezTo>
                    <a:pt x="111428" y="31079"/>
                    <a:pt x="102857" y="25899"/>
                    <a:pt x="97499" y="23309"/>
                  </a:cubicBezTo>
                  <a:cubicBezTo>
                    <a:pt x="95357" y="21582"/>
                    <a:pt x="92142" y="20719"/>
                    <a:pt x="91071" y="19856"/>
                  </a:cubicBezTo>
                  <a:cubicBezTo>
                    <a:pt x="87857" y="17266"/>
                    <a:pt x="80357" y="17266"/>
                    <a:pt x="77142" y="18129"/>
                  </a:cubicBezTo>
                  <a:cubicBezTo>
                    <a:pt x="73928" y="18992"/>
                    <a:pt x="67500" y="18129"/>
                    <a:pt x="59999" y="16402"/>
                  </a:cubicBezTo>
                  <a:cubicBezTo>
                    <a:pt x="57857" y="15539"/>
                    <a:pt x="56785" y="15539"/>
                    <a:pt x="55714" y="15539"/>
                  </a:cubicBezTo>
                  <a:cubicBezTo>
                    <a:pt x="50357" y="14676"/>
                    <a:pt x="50357" y="10359"/>
                    <a:pt x="50357" y="6906"/>
                  </a:cubicBezTo>
                  <a:cubicBezTo>
                    <a:pt x="50357" y="4316"/>
                    <a:pt x="44999" y="863"/>
                    <a:pt x="42857" y="0"/>
                  </a:cubicBezTo>
                  <a:cubicBezTo>
                    <a:pt x="42857" y="0"/>
                    <a:pt x="41785" y="0"/>
                    <a:pt x="41785" y="863"/>
                  </a:cubicBezTo>
                  <a:cubicBezTo>
                    <a:pt x="40714" y="1726"/>
                    <a:pt x="39642" y="2589"/>
                    <a:pt x="38571" y="2589"/>
                  </a:cubicBezTo>
                  <a:cubicBezTo>
                    <a:pt x="36428" y="4316"/>
                    <a:pt x="33214" y="4316"/>
                    <a:pt x="29999" y="4316"/>
                  </a:cubicBezTo>
                  <a:cubicBezTo>
                    <a:pt x="28928" y="4316"/>
                    <a:pt x="27857" y="3453"/>
                    <a:pt x="25714" y="3453"/>
                  </a:cubicBezTo>
                  <a:cubicBezTo>
                    <a:pt x="20357" y="3453"/>
                    <a:pt x="9642" y="863"/>
                    <a:pt x="8571" y="0"/>
                  </a:cubicBezTo>
                  <a:cubicBezTo>
                    <a:pt x="7499" y="0"/>
                    <a:pt x="7499" y="0"/>
                    <a:pt x="7499" y="0"/>
                  </a:cubicBezTo>
                  <a:cubicBezTo>
                    <a:pt x="5357" y="2589"/>
                    <a:pt x="3214" y="4316"/>
                    <a:pt x="2142" y="5179"/>
                  </a:cubicBezTo>
                  <a:cubicBezTo>
                    <a:pt x="0" y="6906"/>
                    <a:pt x="1071" y="9496"/>
                    <a:pt x="1071" y="12086"/>
                  </a:cubicBezTo>
                  <a:cubicBezTo>
                    <a:pt x="2142" y="15539"/>
                    <a:pt x="16071" y="21582"/>
                    <a:pt x="16071" y="25035"/>
                  </a:cubicBezTo>
                  <a:cubicBezTo>
                    <a:pt x="16071" y="27625"/>
                    <a:pt x="18214" y="37122"/>
                    <a:pt x="21428" y="38848"/>
                  </a:cubicBezTo>
                  <a:cubicBezTo>
                    <a:pt x="23571" y="40575"/>
                    <a:pt x="48214" y="53525"/>
                    <a:pt x="49285" y="56115"/>
                  </a:cubicBezTo>
                  <a:cubicBezTo>
                    <a:pt x="51428" y="59568"/>
                    <a:pt x="55714" y="71654"/>
                    <a:pt x="54642" y="75107"/>
                  </a:cubicBezTo>
                  <a:cubicBezTo>
                    <a:pt x="53571" y="78561"/>
                    <a:pt x="51428" y="86330"/>
                    <a:pt x="52499" y="89784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7" name="Shape 7021">
              <a:extLst>
                <a:ext uri="{FF2B5EF4-FFF2-40B4-BE49-F238E27FC236}">
                  <a16:creationId xmlns:a16="http://schemas.microsoft.com/office/drawing/2014/main" id="{E7B1B105-2966-45C7-9684-D8BED2CD3CBD}"/>
                </a:ext>
              </a:extLst>
            </p:cNvPr>
            <p:cNvSpPr/>
            <p:nvPr/>
          </p:nvSpPr>
          <p:spPr>
            <a:xfrm>
              <a:off x="1032433" y="3440067"/>
              <a:ext cx="262404" cy="17730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6176" y="56842"/>
                  </a:moveTo>
                  <a:cubicBezTo>
                    <a:pt x="6176" y="60631"/>
                    <a:pt x="5294" y="69473"/>
                    <a:pt x="5294" y="70736"/>
                  </a:cubicBezTo>
                  <a:cubicBezTo>
                    <a:pt x="5294" y="70736"/>
                    <a:pt x="5294" y="72000"/>
                    <a:pt x="5294" y="72000"/>
                  </a:cubicBezTo>
                  <a:cubicBezTo>
                    <a:pt x="2647" y="74526"/>
                    <a:pt x="882" y="78315"/>
                    <a:pt x="882" y="79578"/>
                  </a:cubicBezTo>
                  <a:cubicBezTo>
                    <a:pt x="882" y="79578"/>
                    <a:pt x="882" y="80842"/>
                    <a:pt x="882" y="82105"/>
                  </a:cubicBezTo>
                  <a:cubicBezTo>
                    <a:pt x="882" y="84631"/>
                    <a:pt x="0" y="85894"/>
                    <a:pt x="1764" y="87157"/>
                  </a:cubicBezTo>
                  <a:cubicBezTo>
                    <a:pt x="1764" y="88421"/>
                    <a:pt x="2647" y="88421"/>
                    <a:pt x="2647" y="88421"/>
                  </a:cubicBezTo>
                  <a:cubicBezTo>
                    <a:pt x="5294" y="90947"/>
                    <a:pt x="7941" y="93473"/>
                    <a:pt x="7941" y="98526"/>
                  </a:cubicBezTo>
                  <a:cubicBezTo>
                    <a:pt x="7941" y="103578"/>
                    <a:pt x="8823" y="109894"/>
                    <a:pt x="10588" y="111157"/>
                  </a:cubicBezTo>
                  <a:cubicBezTo>
                    <a:pt x="13235" y="112421"/>
                    <a:pt x="22058" y="112421"/>
                    <a:pt x="25588" y="112421"/>
                  </a:cubicBezTo>
                  <a:cubicBezTo>
                    <a:pt x="25588" y="112421"/>
                    <a:pt x="26470" y="113684"/>
                    <a:pt x="26470" y="113684"/>
                  </a:cubicBezTo>
                  <a:cubicBezTo>
                    <a:pt x="31764" y="117473"/>
                    <a:pt x="37058" y="120000"/>
                    <a:pt x="37941" y="120000"/>
                  </a:cubicBezTo>
                  <a:cubicBezTo>
                    <a:pt x="37941" y="120000"/>
                    <a:pt x="38823" y="120000"/>
                    <a:pt x="38823" y="120000"/>
                  </a:cubicBezTo>
                  <a:cubicBezTo>
                    <a:pt x="38823" y="118736"/>
                    <a:pt x="38823" y="118736"/>
                    <a:pt x="38823" y="118736"/>
                  </a:cubicBezTo>
                  <a:cubicBezTo>
                    <a:pt x="42352" y="109894"/>
                    <a:pt x="45000" y="103578"/>
                    <a:pt x="48529" y="104842"/>
                  </a:cubicBezTo>
                  <a:cubicBezTo>
                    <a:pt x="49411" y="104842"/>
                    <a:pt x="50294" y="106105"/>
                    <a:pt x="50294" y="106105"/>
                  </a:cubicBezTo>
                  <a:cubicBezTo>
                    <a:pt x="52058" y="107368"/>
                    <a:pt x="52941" y="107368"/>
                    <a:pt x="53823" y="106105"/>
                  </a:cubicBezTo>
                  <a:cubicBezTo>
                    <a:pt x="56470" y="99789"/>
                    <a:pt x="60000" y="97263"/>
                    <a:pt x="63529" y="97263"/>
                  </a:cubicBezTo>
                  <a:cubicBezTo>
                    <a:pt x="64411" y="97263"/>
                    <a:pt x="65294" y="97263"/>
                    <a:pt x="66176" y="96000"/>
                  </a:cubicBezTo>
                  <a:cubicBezTo>
                    <a:pt x="68823" y="96000"/>
                    <a:pt x="73235" y="94736"/>
                    <a:pt x="75882" y="98526"/>
                  </a:cubicBezTo>
                  <a:cubicBezTo>
                    <a:pt x="75882" y="99789"/>
                    <a:pt x="76764" y="99789"/>
                    <a:pt x="77647" y="101052"/>
                  </a:cubicBezTo>
                  <a:cubicBezTo>
                    <a:pt x="79411" y="103578"/>
                    <a:pt x="82941" y="109894"/>
                    <a:pt x="83823" y="109894"/>
                  </a:cubicBezTo>
                  <a:cubicBezTo>
                    <a:pt x="84705" y="109894"/>
                    <a:pt x="84705" y="109894"/>
                    <a:pt x="84705" y="109894"/>
                  </a:cubicBezTo>
                  <a:cubicBezTo>
                    <a:pt x="85588" y="109894"/>
                    <a:pt x="88235" y="109894"/>
                    <a:pt x="88235" y="108631"/>
                  </a:cubicBezTo>
                  <a:cubicBezTo>
                    <a:pt x="88235" y="107368"/>
                    <a:pt x="88235" y="107368"/>
                    <a:pt x="88235" y="107368"/>
                  </a:cubicBezTo>
                  <a:cubicBezTo>
                    <a:pt x="88235" y="101052"/>
                    <a:pt x="88235" y="94736"/>
                    <a:pt x="90882" y="92210"/>
                  </a:cubicBezTo>
                  <a:cubicBezTo>
                    <a:pt x="91764" y="92210"/>
                    <a:pt x="93529" y="90947"/>
                    <a:pt x="94411" y="93473"/>
                  </a:cubicBezTo>
                  <a:cubicBezTo>
                    <a:pt x="96176" y="94736"/>
                    <a:pt x="97941" y="97263"/>
                    <a:pt x="98823" y="98526"/>
                  </a:cubicBezTo>
                  <a:cubicBezTo>
                    <a:pt x="100588" y="99789"/>
                    <a:pt x="101470" y="102315"/>
                    <a:pt x="102352" y="102315"/>
                  </a:cubicBezTo>
                  <a:cubicBezTo>
                    <a:pt x="103235" y="102315"/>
                    <a:pt x="107647" y="97263"/>
                    <a:pt x="112058" y="93473"/>
                  </a:cubicBezTo>
                  <a:cubicBezTo>
                    <a:pt x="112058" y="90947"/>
                    <a:pt x="112058" y="88421"/>
                    <a:pt x="112058" y="84631"/>
                  </a:cubicBezTo>
                  <a:cubicBezTo>
                    <a:pt x="112058" y="83368"/>
                    <a:pt x="112941" y="80842"/>
                    <a:pt x="112941" y="79578"/>
                  </a:cubicBezTo>
                  <a:cubicBezTo>
                    <a:pt x="112941" y="75789"/>
                    <a:pt x="114705" y="72000"/>
                    <a:pt x="116470" y="68210"/>
                  </a:cubicBezTo>
                  <a:cubicBezTo>
                    <a:pt x="117352" y="66947"/>
                    <a:pt x="118235" y="65684"/>
                    <a:pt x="119117" y="64421"/>
                  </a:cubicBezTo>
                  <a:cubicBezTo>
                    <a:pt x="120000" y="61894"/>
                    <a:pt x="114705" y="50526"/>
                    <a:pt x="111176" y="46736"/>
                  </a:cubicBezTo>
                  <a:cubicBezTo>
                    <a:pt x="109411" y="44210"/>
                    <a:pt x="107647" y="45473"/>
                    <a:pt x="105000" y="45473"/>
                  </a:cubicBezTo>
                  <a:cubicBezTo>
                    <a:pt x="104117" y="45473"/>
                    <a:pt x="104117" y="45473"/>
                    <a:pt x="103235" y="45473"/>
                  </a:cubicBezTo>
                  <a:cubicBezTo>
                    <a:pt x="98823" y="45473"/>
                    <a:pt x="93529" y="30315"/>
                    <a:pt x="93529" y="30315"/>
                  </a:cubicBezTo>
                  <a:cubicBezTo>
                    <a:pt x="92647" y="27789"/>
                    <a:pt x="89117" y="24000"/>
                    <a:pt x="87352" y="22736"/>
                  </a:cubicBezTo>
                  <a:cubicBezTo>
                    <a:pt x="87352" y="22736"/>
                    <a:pt x="86470" y="22736"/>
                    <a:pt x="84705" y="22736"/>
                  </a:cubicBezTo>
                  <a:cubicBezTo>
                    <a:pt x="84705" y="22736"/>
                    <a:pt x="83823" y="22736"/>
                    <a:pt x="83823" y="22736"/>
                  </a:cubicBezTo>
                  <a:cubicBezTo>
                    <a:pt x="83823" y="22736"/>
                    <a:pt x="83823" y="22736"/>
                    <a:pt x="83823" y="22736"/>
                  </a:cubicBezTo>
                  <a:cubicBezTo>
                    <a:pt x="82941" y="22736"/>
                    <a:pt x="82941" y="22736"/>
                    <a:pt x="82941" y="22736"/>
                  </a:cubicBezTo>
                  <a:cubicBezTo>
                    <a:pt x="80294" y="22736"/>
                    <a:pt x="77647" y="22736"/>
                    <a:pt x="76764" y="22736"/>
                  </a:cubicBezTo>
                  <a:cubicBezTo>
                    <a:pt x="75000" y="24000"/>
                    <a:pt x="67941" y="25263"/>
                    <a:pt x="65294" y="25263"/>
                  </a:cubicBezTo>
                  <a:cubicBezTo>
                    <a:pt x="63529" y="25263"/>
                    <a:pt x="62647" y="26526"/>
                    <a:pt x="60882" y="27789"/>
                  </a:cubicBezTo>
                  <a:cubicBezTo>
                    <a:pt x="60000" y="29052"/>
                    <a:pt x="58235" y="30315"/>
                    <a:pt x="56470" y="31578"/>
                  </a:cubicBezTo>
                  <a:cubicBezTo>
                    <a:pt x="52941" y="32842"/>
                    <a:pt x="48529" y="26526"/>
                    <a:pt x="45882" y="21473"/>
                  </a:cubicBezTo>
                  <a:cubicBezTo>
                    <a:pt x="45000" y="21473"/>
                    <a:pt x="45000" y="20210"/>
                    <a:pt x="44117" y="20210"/>
                  </a:cubicBezTo>
                  <a:cubicBezTo>
                    <a:pt x="43235" y="18947"/>
                    <a:pt x="41470" y="18947"/>
                    <a:pt x="39705" y="20210"/>
                  </a:cubicBezTo>
                  <a:cubicBezTo>
                    <a:pt x="38823" y="21473"/>
                    <a:pt x="37941" y="21473"/>
                    <a:pt x="37058" y="21473"/>
                  </a:cubicBezTo>
                  <a:cubicBezTo>
                    <a:pt x="33529" y="22736"/>
                    <a:pt x="30000" y="21473"/>
                    <a:pt x="29117" y="21473"/>
                  </a:cubicBezTo>
                  <a:cubicBezTo>
                    <a:pt x="27352" y="20210"/>
                    <a:pt x="26470" y="16421"/>
                    <a:pt x="25588" y="8842"/>
                  </a:cubicBezTo>
                  <a:cubicBezTo>
                    <a:pt x="25588" y="6315"/>
                    <a:pt x="24705" y="3789"/>
                    <a:pt x="24705" y="2526"/>
                  </a:cubicBezTo>
                  <a:cubicBezTo>
                    <a:pt x="23823" y="0"/>
                    <a:pt x="22058" y="0"/>
                    <a:pt x="17647" y="1263"/>
                  </a:cubicBezTo>
                  <a:cubicBezTo>
                    <a:pt x="16764" y="2526"/>
                    <a:pt x="15882" y="2526"/>
                    <a:pt x="15000" y="2526"/>
                  </a:cubicBezTo>
                  <a:cubicBezTo>
                    <a:pt x="13235" y="2526"/>
                    <a:pt x="9705" y="8842"/>
                    <a:pt x="7941" y="12631"/>
                  </a:cubicBezTo>
                  <a:cubicBezTo>
                    <a:pt x="7058" y="13894"/>
                    <a:pt x="7058" y="15157"/>
                    <a:pt x="6176" y="15157"/>
                  </a:cubicBezTo>
                  <a:cubicBezTo>
                    <a:pt x="4411" y="17684"/>
                    <a:pt x="1764" y="17684"/>
                    <a:pt x="0" y="16421"/>
                  </a:cubicBezTo>
                  <a:cubicBezTo>
                    <a:pt x="1764" y="20210"/>
                    <a:pt x="3529" y="24000"/>
                    <a:pt x="3529" y="26526"/>
                  </a:cubicBezTo>
                  <a:cubicBezTo>
                    <a:pt x="3529" y="29052"/>
                    <a:pt x="2647" y="30315"/>
                    <a:pt x="2647" y="31578"/>
                  </a:cubicBezTo>
                  <a:cubicBezTo>
                    <a:pt x="2647" y="32842"/>
                    <a:pt x="2647" y="34105"/>
                    <a:pt x="2647" y="35368"/>
                  </a:cubicBezTo>
                  <a:cubicBezTo>
                    <a:pt x="4411" y="36631"/>
                    <a:pt x="7941" y="44210"/>
                    <a:pt x="7941" y="48000"/>
                  </a:cubicBezTo>
                  <a:cubicBezTo>
                    <a:pt x="7941" y="49263"/>
                    <a:pt x="7058" y="51789"/>
                    <a:pt x="7058" y="53052"/>
                  </a:cubicBezTo>
                  <a:cubicBezTo>
                    <a:pt x="6176" y="54315"/>
                    <a:pt x="6176" y="55578"/>
                    <a:pt x="6176" y="56842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8" name="Shape 7022">
              <a:extLst>
                <a:ext uri="{FF2B5EF4-FFF2-40B4-BE49-F238E27FC236}">
                  <a16:creationId xmlns:a16="http://schemas.microsoft.com/office/drawing/2014/main" id="{020FD5F9-EBBC-4E8C-873B-DE8834BA5F3E}"/>
                </a:ext>
              </a:extLst>
            </p:cNvPr>
            <p:cNvSpPr/>
            <p:nvPr/>
          </p:nvSpPr>
          <p:spPr>
            <a:xfrm>
              <a:off x="836595" y="3663094"/>
              <a:ext cx="267228" cy="248222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6521" y="12631"/>
                  </a:moveTo>
                  <a:cubicBezTo>
                    <a:pt x="14782" y="13533"/>
                    <a:pt x="10434" y="12631"/>
                    <a:pt x="9565" y="14436"/>
                  </a:cubicBezTo>
                  <a:cubicBezTo>
                    <a:pt x="8695" y="17142"/>
                    <a:pt x="7826" y="21654"/>
                    <a:pt x="4347" y="23458"/>
                  </a:cubicBezTo>
                  <a:cubicBezTo>
                    <a:pt x="869" y="26165"/>
                    <a:pt x="0" y="26165"/>
                    <a:pt x="1739" y="29774"/>
                  </a:cubicBezTo>
                  <a:cubicBezTo>
                    <a:pt x="3478" y="33383"/>
                    <a:pt x="11304" y="47819"/>
                    <a:pt x="12173" y="52330"/>
                  </a:cubicBezTo>
                  <a:cubicBezTo>
                    <a:pt x="13043" y="55939"/>
                    <a:pt x="12173" y="63157"/>
                    <a:pt x="10434" y="68571"/>
                  </a:cubicBezTo>
                  <a:cubicBezTo>
                    <a:pt x="10434" y="70375"/>
                    <a:pt x="8695" y="73082"/>
                    <a:pt x="6956" y="76691"/>
                  </a:cubicBezTo>
                  <a:cubicBezTo>
                    <a:pt x="6956" y="76691"/>
                    <a:pt x="6956" y="76691"/>
                    <a:pt x="6956" y="76691"/>
                  </a:cubicBezTo>
                  <a:cubicBezTo>
                    <a:pt x="9565" y="77593"/>
                    <a:pt x="17391" y="79398"/>
                    <a:pt x="20000" y="79398"/>
                  </a:cubicBezTo>
                  <a:cubicBezTo>
                    <a:pt x="21739" y="79398"/>
                    <a:pt x="22608" y="80300"/>
                    <a:pt x="23478" y="80300"/>
                  </a:cubicBezTo>
                  <a:cubicBezTo>
                    <a:pt x="26086" y="80300"/>
                    <a:pt x="27826" y="80300"/>
                    <a:pt x="28695" y="79398"/>
                  </a:cubicBezTo>
                  <a:cubicBezTo>
                    <a:pt x="29565" y="79398"/>
                    <a:pt x="29565" y="78496"/>
                    <a:pt x="30434" y="77593"/>
                  </a:cubicBezTo>
                  <a:cubicBezTo>
                    <a:pt x="31304" y="76691"/>
                    <a:pt x="33043" y="73984"/>
                    <a:pt x="35652" y="75789"/>
                  </a:cubicBezTo>
                  <a:cubicBezTo>
                    <a:pt x="38260" y="77593"/>
                    <a:pt x="43478" y="82105"/>
                    <a:pt x="43478" y="86616"/>
                  </a:cubicBezTo>
                  <a:cubicBezTo>
                    <a:pt x="43478" y="90225"/>
                    <a:pt x="43478" y="92030"/>
                    <a:pt x="45217" y="92030"/>
                  </a:cubicBezTo>
                  <a:cubicBezTo>
                    <a:pt x="46086" y="92030"/>
                    <a:pt x="46956" y="92030"/>
                    <a:pt x="48695" y="92932"/>
                  </a:cubicBezTo>
                  <a:cubicBezTo>
                    <a:pt x="51304" y="93834"/>
                    <a:pt x="58260" y="95639"/>
                    <a:pt x="60000" y="94736"/>
                  </a:cubicBezTo>
                  <a:cubicBezTo>
                    <a:pt x="63478" y="93834"/>
                    <a:pt x="71304" y="93834"/>
                    <a:pt x="75652" y="97443"/>
                  </a:cubicBezTo>
                  <a:cubicBezTo>
                    <a:pt x="76521" y="98345"/>
                    <a:pt x="78260" y="99248"/>
                    <a:pt x="80869" y="101052"/>
                  </a:cubicBezTo>
                  <a:cubicBezTo>
                    <a:pt x="87826" y="106466"/>
                    <a:pt x="92173" y="110075"/>
                    <a:pt x="93043" y="111879"/>
                  </a:cubicBezTo>
                  <a:cubicBezTo>
                    <a:pt x="93043" y="112781"/>
                    <a:pt x="93913" y="113684"/>
                    <a:pt x="93913" y="114586"/>
                  </a:cubicBezTo>
                  <a:cubicBezTo>
                    <a:pt x="94782" y="116390"/>
                    <a:pt x="95652" y="118195"/>
                    <a:pt x="96521" y="120000"/>
                  </a:cubicBezTo>
                  <a:cubicBezTo>
                    <a:pt x="97391" y="120000"/>
                    <a:pt x="99130" y="119097"/>
                    <a:pt x="100000" y="119097"/>
                  </a:cubicBezTo>
                  <a:cubicBezTo>
                    <a:pt x="100869" y="117293"/>
                    <a:pt x="100000" y="114586"/>
                    <a:pt x="100000" y="112781"/>
                  </a:cubicBezTo>
                  <a:cubicBezTo>
                    <a:pt x="100000" y="111879"/>
                    <a:pt x="100000" y="110977"/>
                    <a:pt x="100000" y="110075"/>
                  </a:cubicBezTo>
                  <a:cubicBezTo>
                    <a:pt x="100000" y="107368"/>
                    <a:pt x="100869" y="106466"/>
                    <a:pt x="101739" y="105563"/>
                  </a:cubicBezTo>
                  <a:cubicBezTo>
                    <a:pt x="103478" y="103759"/>
                    <a:pt x="105217" y="104661"/>
                    <a:pt x="106086" y="104661"/>
                  </a:cubicBezTo>
                  <a:cubicBezTo>
                    <a:pt x="106086" y="104661"/>
                    <a:pt x="112173" y="105563"/>
                    <a:pt x="114782" y="107368"/>
                  </a:cubicBezTo>
                  <a:cubicBezTo>
                    <a:pt x="115652" y="107368"/>
                    <a:pt x="118260" y="103759"/>
                    <a:pt x="120000" y="101052"/>
                  </a:cubicBezTo>
                  <a:cubicBezTo>
                    <a:pt x="119130" y="100150"/>
                    <a:pt x="117391" y="98345"/>
                    <a:pt x="115652" y="96541"/>
                  </a:cubicBezTo>
                  <a:cubicBezTo>
                    <a:pt x="113043" y="94736"/>
                    <a:pt x="108695" y="93834"/>
                    <a:pt x="106956" y="93834"/>
                  </a:cubicBezTo>
                  <a:cubicBezTo>
                    <a:pt x="106086" y="93834"/>
                    <a:pt x="105217" y="93834"/>
                    <a:pt x="105217" y="92932"/>
                  </a:cubicBezTo>
                  <a:cubicBezTo>
                    <a:pt x="104347" y="83909"/>
                    <a:pt x="104347" y="83909"/>
                    <a:pt x="104347" y="83909"/>
                  </a:cubicBezTo>
                  <a:cubicBezTo>
                    <a:pt x="104347" y="83007"/>
                    <a:pt x="102608" y="79398"/>
                    <a:pt x="93913" y="77593"/>
                  </a:cubicBezTo>
                  <a:cubicBezTo>
                    <a:pt x="93043" y="77593"/>
                    <a:pt x="93043" y="76691"/>
                    <a:pt x="93043" y="75789"/>
                  </a:cubicBezTo>
                  <a:cubicBezTo>
                    <a:pt x="93043" y="73984"/>
                    <a:pt x="92173" y="65864"/>
                    <a:pt x="91304" y="63157"/>
                  </a:cubicBezTo>
                  <a:cubicBezTo>
                    <a:pt x="91304" y="62255"/>
                    <a:pt x="90434" y="60451"/>
                    <a:pt x="88695" y="58646"/>
                  </a:cubicBezTo>
                  <a:cubicBezTo>
                    <a:pt x="86956" y="55939"/>
                    <a:pt x="85217" y="53233"/>
                    <a:pt x="85217" y="50526"/>
                  </a:cubicBezTo>
                  <a:cubicBezTo>
                    <a:pt x="85217" y="40601"/>
                    <a:pt x="84347" y="38796"/>
                    <a:pt x="84347" y="37894"/>
                  </a:cubicBezTo>
                  <a:cubicBezTo>
                    <a:pt x="81739" y="37894"/>
                    <a:pt x="79130" y="36992"/>
                    <a:pt x="77391" y="33383"/>
                  </a:cubicBezTo>
                  <a:cubicBezTo>
                    <a:pt x="76521" y="32481"/>
                    <a:pt x="76521" y="31578"/>
                    <a:pt x="76521" y="30676"/>
                  </a:cubicBezTo>
                  <a:cubicBezTo>
                    <a:pt x="76521" y="28872"/>
                    <a:pt x="75652" y="27969"/>
                    <a:pt x="74782" y="27969"/>
                  </a:cubicBezTo>
                  <a:cubicBezTo>
                    <a:pt x="69565" y="27067"/>
                    <a:pt x="66956" y="23458"/>
                    <a:pt x="66956" y="20751"/>
                  </a:cubicBezTo>
                  <a:cubicBezTo>
                    <a:pt x="66956" y="19849"/>
                    <a:pt x="66956" y="19849"/>
                    <a:pt x="66956" y="19849"/>
                  </a:cubicBezTo>
                  <a:cubicBezTo>
                    <a:pt x="66956" y="18045"/>
                    <a:pt x="67826" y="13533"/>
                    <a:pt x="65217" y="12631"/>
                  </a:cubicBezTo>
                  <a:cubicBezTo>
                    <a:pt x="62608" y="11729"/>
                    <a:pt x="55652" y="9022"/>
                    <a:pt x="53043" y="4511"/>
                  </a:cubicBezTo>
                  <a:cubicBezTo>
                    <a:pt x="52173" y="4511"/>
                    <a:pt x="52173" y="4511"/>
                    <a:pt x="51304" y="4511"/>
                  </a:cubicBezTo>
                  <a:cubicBezTo>
                    <a:pt x="50434" y="4511"/>
                    <a:pt x="48695" y="3609"/>
                    <a:pt x="46956" y="2706"/>
                  </a:cubicBezTo>
                  <a:cubicBezTo>
                    <a:pt x="44347" y="902"/>
                    <a:pt x="42608" y="0"/>
                    <a:pt x="40869" y="0"/>
                  </a:cubicBezTo>
                  <a:cubicBezTo>
                    <a:pt x="37391" y="0"/>
                    <a:pt x="35652" y="1804"/>
                    <a:pt x="34782" y="2706"/>
                  </a:cubicBezTo>
                  <a:cubicBezTo>
                    <a:pt x="33913" y="2706"/>
                    <a:pt x="33913" y="3609"/>
                    <a:pt x="33913" y="4511"/>
                  </a:cubicBezTo>
                  <a:cubicBezTo>
                    <a:pt x="33043" y="6315"/>
                    <a:pt x="31304" y="9022"/>
                    <a:pt x="28695" y="9022"/>
                  </a:cubicBezTo>
                  <a:cubicBezTo>
                    <a:pt x="26086" y="9022"/>
                    <a:pt x="21739" y="9924"/>
                    <a:pt x="21739" y="9924"/>
                  </a:cubicBezTo>
                  <a:cubicBezTo>
                    <a:pt x="21739" y="9924"/>
                    <a:pt x="21739" y="9924"/>
                    <a:pt x="21739" y="9924"/>
                  </a:cubicBezTo>
                  <a:cubicBezTo>
                    <a:pt x="20869" y="9924"/>
                    <a:pt x="20869" y="9924"/>
                    <a:pt x="20000" y="9022"/>
                  </a:cubicBezTo>
                  <a:cubicBezTo>
                    <a:pt x="19130" y="10827"/>
                    <a:pt x="17391" y="12631"/>
                    <a:pt x="16521" y="12631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9" name="Shape 7023">
              <a:extLst>
                <a:ext uri="{FF2B5EF4-FFF2-40B4-BE49-F238E27FC236}">
                  <a16:creationId xmlns:a16="http://schemas.microsoft.com/office/drawing/2014/main" id="{A9A4CDC0-C1C9-41B2-AC32-E86C44B2E3C6}"/>
                </a:ext>
              </a:extLst>
            </p:cNvPr>
            <p:cNvSpPr/>
            <p:nvPr/>
          </p:nvSpPr>
          <p:spPr>
            <a:xfrm>
              <a:off x="985164" y="3872124"/>
              <a:ext cx="327039" cy="31074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8461" y="114216"/>
                  </a:moveTo>
                  <a:cubicBezTo>
                    <a:pt x="18461" y="114939"/>
                    <a:pt x="19881" y="115662"/>
                    <a:pt x="25562" y="115662"/>
                  </a:cubicBezTo>
                  <a:cubicBezTo>
                    <a:pt x="27692" y="115662"/>
                    <a:pt x="29822" y="117831"/>
                    <a:pt x="31242" y="118554"/>
                  </a:cubicBezTo>
                  <a:cubicBezTo>
                    <a:pt x="31952" y="119277"/>
                    <a:pt x="32662" y="119999"/>
                    <a:pt x="33372" y="119999"/>
                  </a:cubicBezTo>
                  <a:cubicBezTo>
                    <a:pt x="34792" y="119999"/>
                    <a:pt x="38343" y="117831"/>
                    <a:pt x="39053" y="117108"/>
                  </a:cubicBezTo>
                  <a:cubicBezTo>
                    <a:pt x="40473" y="114939"/>
                    <a:pt x="43313" y="114939"/>
                    <a:pt x="48284" y="115662"/>
                  </a:cubicBezTo>
                  <a:cubicBezTo>
                    <a:pt x="50414" y="115662"/>
                    <a:pt x="51834" y="115662"/>
                    <a:pt x="53254" y="115662"/>
                  </a:cubicBezTo>
                  <a:cubicBezTo>
                    <a:pt x="54674" y="114939"/>
                    <a:pt x="58224" y="110602"/>
                    <a:pt x="60355" y="108433"/>
                  </a:cubicBezTo>
                  <a:cubicBezTo>
                    <a:pt x="61775" y="106265"/>
                    <a:pt x="63195" y="105542"/>
                    <a:pt x="63905" y="104819"/>
                  </a:cubicBezTo>
                  <a:cubicBezTo>
                    <a:pt x="64615" y="104096"/>
                    <a:pt x="66035" y="99036"/>
                    <a:pt x="67455" y="96144"/>
                  </a:cubicBezTo>
                  <a:cubicBezTo>
                    <a:pt x="67455" y="94698"/>
                    <a:pt x="68165" y="93253"/>
                    <a:pt x="68875" y="92530"/>
                  </a:cubicBezTo>
                  <a:cubicBezTo>
                    <a:pt x="69585" y="90361"/>
                    <a:pt x="72426" y="91084"/>
                    <a:pt x="78106" y="91084"/>
                  </a:cubicBezTo>
                  <a:cubicBezTo>
                    <a:pt x="80236" y="91084"/>
                    <a:pt x="81656" y="91084"/>
                    <a:pt x="83076" y="91084"/>
                  </a:cubicBezTo>
                  <a:cubicBezTo>
                    <a:pt x="84497" y="90361"/>
                    <a:pt x="85207" y="89638"/>
                    <a:pt x="86627" y="88192"/>
                  </a:cubicBezTo>
                  <a:cubicBezTo>
                    <a:pt x="87337" y="87469"/>
                    <a:pt x="87337" y="86746"/>
                    <a:pt x="88047" y="86746"/>
                  </a:cubicBezTo>
                  <a:cubicBezTo>
                    <a:pt x="90177" y="84578"/>
                    <a:pt x="93727" y="86024"/>
                    <a:pt x="95857" y="86024"/>
                  </a:cubicBezTo>
                  <a:cubicBezTo>
                    <a:pt x="95857" y="86746"/>
                    <a:pt x="96568" y="86746"/>
                    <a:pt x="96568" y="86746"/>
                  </a:cubicBezTo>
                  <a:cubicBezTo>
                    <a:pt x="99408" y="87469"/>
                    <a:pt x="100118" y="90361"/>
                    <a:pt x="100118" y="93253"/>
                  </a:cubicBezTo>
                  <a:cubicBezTo>
                    <a:pt x="100828" y="93975"/>
                    <a:pt x="100828" y="93975"/>
                    <a:pt x="100828" y="93975"/>
                  </a:cubicBezTo>
                  <a:cubicBezTo>
                    <a:pt x="101538" y="95421"/>
                    <a:pt x="110769" y="98313"/>
                    <a:pt x="112899" y="97590"/>
                  </a:cubicBezTo>
                  <a:cubicBezTo>
                    <a:pt x="113609" y="97590"/>
                    <a:pt x="117869" y="94698"/>
                    <a:pt x="119289" y="92530"/>
                  </a:cubicBezTo>
                  <a:cubicBezTo>
                    <a:pt x="120000" y="91807"/>
                    <a:pt x="117159" y="85301"/>
                    <a:pt x="116449" y="84578"/>
                  </a:cubicBezTo>
                  <a:cubicBezTo>
                    <a:pt x="116449" y="83855"/>
                    <a:pt x="115739" y="83855"/>
                    <a:pt x="115739" y="83855"/>
                  </a:cubicBezTo>
                  <a:cubicBezTo>
                    <a:pt x="115739" y="83855"/>
                    <a:pt x="115739" y="83855"/>
                    <a:pt x="115739" y="83855"/>
                  </a:cubicBezTo>
                  <a:cubicBezTo>
                    <a:pt x="114319" y="82409"/>
                    <a:pt x="113609" y="78072"/>
                    <a:pt x="113609" y="75903"/>
                  </a:cubicBezTo>
                  <a:cubicBezTo>
                    <a:pt x="112189" y="74457"/>
                    <a:pt x="109349" y="72289"/>
                    <a:pt x="107928" y="70843"/>
                  </a:cubicBezTo>
                  <a:cubicBezTo>
                    <a:pt x="105798" y="69397"/>
                    <a:pt x="105798" y="67951"/>
                    <a:pt x="105798" y="65783"/>
                  </a:cubicBezTo>
                  <a:cubicBezTo>
                    <a:pt x="105088" y="65060"/>
                    <a:pt x="105088" y="64337"/>
                    <a:pt x="105088" y="63614"/>
                  </a:cubicBezTo>
                  <a:cubicBezTo>
                    <a:pt x="104378" y="62168"/>
                    <a:pt x="101538" y="61445"/>
                    <a:pt x="100118" y="60722"/>
                  </a:cubicBezTo>
                  <a:cubicBezTo>
                    <a:pt x="97988" y="60722"/>
                    <a:pt x="96568" y="59999"/>
                    <a:pt x="95857" y="59277"/>
                  </a:cubicBezTo>
                  <a:cubicBezTo>
                    <a:pt x="95147" y="58554"/>
                    <a:pt x="95147" y="58554"/>
                    <a:pt x="94437" y="57831"/>
                  </a:cubicBezTo>
                  <a:cubicBezTo>
                    <a:pt x="91597" y="55662"/>
                    <a:pt x="89467" y="52771"/>
                    <a:pt x="88047" y="51325"/>
                  </a:cubicBezTo>
                  <a:cubicBezTo>
                    <a:pt x="87337" y="49156"/>
                    <a:pt x="88757" y="46987"/>
                    <a:pt x="89467" y="45542"/>
                  </a:cubicBezTo>
                  <a:cubicBezTo>
                    <a:pt x="89467" y="44096"/>
                    <a:pt x="90177" y="43373"/>
                    <a:pt x="90177" y="42650"/>
                  </a:cubicBezTo>
                  <a:cubicBezTo>
                    <a:pt x="90177" y="41204"/>
                    <a:pt x="90177" y="41204"/>
                    <a:pt x="88757" y="40481"/>
                  </a:cubicBezTo>
                  <a:cubicBezTo>
                    <a:pt x="88047" y="40481"/>
                    <a:pt x="87337" y="39759"/>
                    <a:pt x="86627" y="39036"/>
                  </a:cubicBezTo>
                  <a:cubicBezTo>
                    <a:pt x="85917" y="37590"/>
                    <a:pt x="83786" y="35421"/>
                    <a:pt x="81656" y="33253"/>
                  </a:cubicBezTo>
                  <a:cubicBezTo>
                    <a:pt x="80236" y="31084"/>
                    <a:pt x="78816" y="29638"/>
                    <a:pt x="78106" y="28915"/>
                  </a:cubicBezTo>
                  <a:cubicBezTo>
                    <a:pt x="77396" y="28192"/>
                    <a:pt x="74556" y="28192"/>
                    <a:pt x="73136" y="27469"/>
                  </a:cubicBezTo>
                  <a:cubicBezTo>
                    <a:pt x="72426" y="27469"/>
                    <a:pt x="71715" y="27469"/>
                    <a:pt x="71005" y="27469"/>
                  </a:cubicBezTo>
                  <a:cubicBezTo>
                    <a:pt x="68165" y="26746"/>
                    <a:pt x="66035" y="24578"/>
                    <a:pt x="65325" y="21686"/>
                  </a:cubicBezTo>
                  <a:cubicBezTo>
                    <a:pt x="64615" y="19518"/>
                    <a:pt x="65325" y="17349"/>
                    <a:pt x="65325" y="15903"/>
                  </a:cubicBezTo>
                  <a:cubicBezTo>
                    <a:pt x="65325" y="14457"/>
                    <a:pt x="65325" y="13734"/>
                    <a:pt x="65325" y="13012"/>
                  </a:cubicBezTo>
                  <a:cubicBezTo>
                    <a:pt x="65325" y="12289"/>
                    <a:pt x="63195" y="10843"/>
                    <a:pt x="59644" y="10120"/>
                  </a:cubicBezTo>
                  <a:cubicBezTo>
                    <a:pt x="56804" y="9397"/>
                    <a:pt x="55384" y="6506"/>
                    <a:pt x="53964" y="2891"/>
                  </a:cubicBezTo>
                  <a:cubicBezTo>
                    <a:pt x="53964" y="2168"/>
                    <a:pt x="53254" y="2168"/>
                    <a:pt x="53254" y="1445"/>
                  </a:cubicBezTo>
                  <a:cubicBezTo>
                    <a:pt x="52544" y="0"/>
                    <a:pt x="48994" y="0"/>
                    <a:pt x="46153" y="722"/>
                  </a:cubicBezTo>
                  <a:cubicBezTo>
                    <a:pt x="44733" y="2891"/>
                    <a:pt x="42603" y="7228"/>
                    <a:pt x="39763" y="7951"/>
                  </a:cubicBezTo>
                  <a:cubicBezTo>
                    <a:pt x="39053" y="7951"/>
                    <a:pt x="38343" y="7951"/>
                    <a:pt x="37633" y="7228"/>
                  </a:cubicBezTo>
                  <a:cubicBezTo>
                    <a:pt x="36213" y="6506"/>
                    <a:pt x="32662" y="5783"/>
                    <a:pt x="31242" y="5783"/>
                  </a:cubicBezTo>
                  <a:cubicBezTo>
                    <a:pt x="31242" y="5783"/>
                    <a:pt x="30532" y="5783"/>
                    <a:pt x="30532" y="5783"/>
                  </a:cubicBezTo>
                  <a:cubicBezTo>
                    <a:pt x="29822" y="5783"/>
                    <a:pt x="29822" y="6506"/>
                    <a:pt x="29822" y="7228"/>
                  </a:cubicBezTo>
                  <a:cubicBezTo>
                    <a:pt x="29822" y="7951"/>
                    <a:pt x="29822" y="8674"/>
                    <a:pt x="29822" y="9397"/>
                  </a:cubicBezTo>
                  <a:cubicBezTo>
                    <a:pt x="30532" y="13012"/>
                    <a:pt x="30532" y="15180"/>
                    <a:pt x="29112" y="16626"/>
                  </a:cubicBezTo>
                  <a:cubicBezTo>
                    <a:pt x="28402" y="16626"/>
                    <a:pt x="28402" y="17349"/>
                    <a:pt x="27692" y="17349"/>
                  </a:cubicBezTo>
                  <a:cubicBezTo>
                    <a:pt x="26982" y="17349"/>
                    <a:pt x="26272" y="17349"/>
                    <a:pt x="24852" y="18072"/>
                  </a:cubicBezTo>
                  <a:cubicBezTo>
                    <a:pt x="26982" y="22409"/>
                    <a:pt x="26982" y="25301"/>
                    <a:pt x="24852" y="26746"/>
                  </a:cubicBezTo>
                  <a:cubicBezTo>
                    <a:pt x="24852" y="26746"/>
                    <a:pt x="24142" y="27469"/>
                    <a:pt x="23431" y="27469"/>
                  </a:cubicBezTo>
                  <a:cubicBezTo>
                    <a:pt x="22721" y="27469"/>
                    <a:pt x="22721" y="28192"/>
                    <a:pt x="22011" y="28192"/>
                  </a:cubicBezTo>
                  <a:cubicBezTo>
                    <a:pt x="22721" y="28915"/>
                    <a:pt x="23431" y="28915"/>
                    <a:pt x="24142" y="29638"/>
                  </a:cubicBezTo>
                  <a:cubicBezTo>
                    <a:pt x="26272" y="31807"/>
                    <a:pt x="28402" y="33975"/>
                    <a:pt x="26982" y="36144"/>
                  </a:cubicBezTo>
                  <a:cubicBezTo>
                    <a:pt x="26982" y="36144"/>
                    <a:pt x="26982" y="37590"/>
                    <a:pt x="26272" y="38313"/>
                  </a:cubicBezTo>
                  <a:cubicBezTo>
                    <a:pt x="26272" y="40481"/>
                    <a:pt x="25562" y="43373"/>
                    <a:pt x="22721" y="43373"/>
                  </a:cubicBezTo>
                  <a:cubicBezTo>
                    <a:pt x="22011" y="43373"/>
                    <a:pt x="22011" y="43373"/>
                    <a:pt x="22011" y="43373"/>
                  </a:cubicBezTo>
                  <a:cubicBezTo>
                    <a:pt x="21301" y="43373"/>
                    <a:pt x="19881" y="43373"/>
                    <a:pt x="19171" y="44096"/>
                  </a:cubicBezTo>
                  <a:cubicBezTo>
                    <a:pt x="19171" y="44096"/>
                    <a:pt x="18461" y="44819"/>
                    <a:pt x="18461" y="45542"/>
                  </a:cubicBezTo>
                  <a:cubicBezTo>
                    <a:pt x="18461" y="46987"/>
                    <a:pt x="18461" y="48433"/>
                    <a:pt x="18461" y="49879"/>
                  </a:cubicBezTo>
                  <a:cubicBezTo>
                    <a:pt x="18461" y="52048"/>
                    <a:pt x="18461" y="53493"/>
                    <a:pt x="18461" y="54939"/>
                  </a:cubicBezTo>
                  <a:cubicBezTo>
                    <a:pt x="19171" y="56385"/>
                    <a:pt x="19881" y="59277"/>
                    <a:pt x="19171" y="60722"/>
                  </a:cubicBezTo>
                  <a:cubicBezTo>
                    <a:pt x="18461" y="61445"/>
                    <a:pt x="17751" y="62168"/>
                    <a:pt x="17041" y="62168"/>
                  </a:cubicBezTo>
                  <a:cubicBezTo>
                    <a:pt x="17041" y="62891"/>
                    <a:pt x="16331" y="62891"/>
                    <a:pt x="15621" y="62891"/>
                  </a:cubicBezTo>
                  <a:cubicBezTo>
                    <a:pt x="14201" y="62891"/>
                    <a:pt x="14201" y="62891"/>
                    <a:pt x="14201" y="63614"/>
                  </a:cubicBezTo>
                  <a:cubicBezTo>
                    <a:pt x="14201" y="64337"/>
                    <a:pt x="14201" y="65060"/>
                    <a:pt x="14201" y="65783"/>
                  </a:cubicBezTo>
                  <a:cubicBezTo>
                    <a:pt x="14201" y="67951"/>
                    <a:pt x="14911" y="70120"/>
                    <a:pt x="13491" y="71566"/>
                  </a:cubicBezTo>
                  <a:cubicBezTo>
                    <a:pt x="12781" y="72289"/>
                    <a:pt x="12071" y="72289"/>
                    <a:pt x="11360" y="72289"/>
                  </a:cubicBezTo>
                  <a:cubicBezTo>
                    <a:pt x="10650" y="72289"/>
                    <a:pt x="9940" y="72289"/>
                    <a:pt x="9230" y="72289"/>
                  </a:cubicBezTo>
                  <a:cubicBezTo>
                    <a:pt x="8520" y="72289"/>
                    <a:pt x="7100" y="72289"/>
                    <a:pt x="7100" y="72289"/>
                  </a:cubicBezTo>
                  <a:cubicBezTo>
                    <a:pt x="7100" y="73012"/>
                    <a:pt x="7100" y="73734"/>
                    <a:pt x="7810" y="74457"/>
                  </a:cubicBezTo>
                  <a:cubicBezTo>
                    <a:pt x="8520" y="75903"/>
                    <a:pt x="9230" y="77349"/>
                    <a:pt x="8520" y="78795"/>
                  </a:cubicBezTo>
                  <a:cubicBezTo>
                    <a:pt x="8520" y="79518"/>
                    <a:pt x="7810" y="80240"/>
                    <a:pt x="7100" y="80963"/>
                  </a:cubicBezTo>
                  <a:cubicBezTo>
                    <a:pt x="5680" y="81686"/>
                    <a:pt x="1420" y="83855"/>
                    <a:pt x="0" y="85301"/>
                  </a:cubicBezTo>
                  <a:cubicBezTo>
                    <a:pt x="2130" y="87469"/>
                    <a:pt x="4260" y="89638"/>
                    <a:pt x="4260" y="92530"/>
                  </a:cubicBezTo>
                  <a:cubicBezTo>
                    <a:pt x="4260" y="95421"/>
                    <a:pt x="2840" y="101204"/>
                    <a:pt x="6390" y="102650"/>
                  </a:cubicBezTo>
                  <a:cubicBezTo>
                    <a:pt x="7810" y="103373"/>
                    <a:pt x="9940" y="104096"/>
                    <a:pt x="11360" y="104819"/>
                  </a:cubicBezTo>
                  <a:cubicBezTo>
                    <a:pt x="12071" y="104819"/>
                    <a:pt x="12071" y="104096"/>
                    <a:pt x="12781" y="104096"/>
                  </a:cubicBezTo>
                  <a:cubicBezTo>
                    <a:pt x="17751" y="104096"/>
                    <a:pt x="18461" y="110602"/>
                    <a:pt x="18461" y="114216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70" name="Shape 7024">
              <a:extLst>
                <a:ext uri="{FF2B5EF4-FFF2-40B4-BE49-F238E27FC236}">
                  <a16:creationId xmlns:a16="http://schemas.microsoft.com/office/drawing/2014/main" id="{4D3437D0-708D-482F-8D34-97BFDE505496}"/>
                </a:ext>
              </a:extLst>
            </p:cNvPr>
            <p:cNvSpPr/>
            <p:nvPr/>
          </p:nvSpPr>
          <p:spPr>
            <a:xfrm>
              <a:off x="1231165" y="3834799"/>
              <a:ext cx="214168" cy="24728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58378" y="116363"/>
                  </a:moveTo>
                  <a:cubicBezTo>
                    <a:pt x="59459" y="115454"/>
                    <a:pt x="61621" y="113636"/>
                    <a:pt x="63783" y="111818"/>
                  </a:cubicBezTo>
                  <a:cubicBezTo>
                    <a:pt x="65945" y="110000"/>
                    <a:pt x="72432" y="106363"/>
                    <a:pt x="85405" y="100000"/>
                  </a:cubicBezTo>
                  <a:cubicBezTo>
                    <a:pt x="88648" y="99090"/>
                    <a:pt x="89729" y="98181"/>
                    <a:pt x="90810" y="97272"/>
                  </a:cubicBezTo>
                  <a:cubicBezTo>
                    <a:pt x="92972" y="96363"/>
                    <a:pt x="95135" y="94545"/>
                    <a:pt x="97297" y="92727"/>
                  </a:cubicBezTo>
                  <a:cubicBezTo>
                    <a:pt x="98378" y="91818"/>
                    <a:pt x="98378" y="90909"/>
                    <a:pt x="99459" y="90909"/>
                  </a:cubicBezTo>
                  <a:cubicBezTo>
                    <a:pt x="101621" y="89090"/>
                    <a:pt x="105945" y="89090"/>
                    <a:pt x="108108" y="89090"/>
                  </a:cubicBezTo>
                  <a:cubicBezTo>
                    <a:pt x="109189" y="89090"/>
                    <a:pt x="110270" y="89090"/>
                    <a:pt x="110270" y="89090"/>
                  </a:cubicBezTo>
                  <a:cubicBezTo>
                    <a:pt x="111351" y="87272"/>
                    <a:pt x="111351" y="79090"/>
                    <a:pt x="110270" y="75454"/>
                  </a:cubicBezTo>
                  <a:cubicBezTo>
                    <a:pt x="109189" y="71818"/>
                    <a:pt x="107027" y="66363"/>
                    <a:pt x="105945" y="62727"/>
                  </a:cubicBezTo>
                  <a:cubicBezTo>
                    <a:pt x="104864" y="59090"/>
                    <a:pt x="105945" y="52727"/>
                    <a:pt x="107027" y="47272"/>
                  </a:cubicBezTo>
                  <a:cubicBezTo>
                    <a:pt x="107027" y="45454"/>
                    <a:pt x="107027" y="45454"/>
                    <a:pt x="107027" y="45454"/>
                  </a:cubicBezTo>
                  <a:cubicBezTo>
                    <a:pt x="108108" y="43636"/>
                    <a:pt x="107027" y="41818"/>
                    <a:pt x="107027" y="39090"/>
                  </a:cubicBezTo>
                  <a:cubicBezTo>
                    <a:pt x="107027" y="38181"/>
                    <a:pt x="107027" y="37272"/>
                    <a:pt x="107027" y="35454"/>
                  </a:cubicBezTo>
                  <a:cubicBezTo>
                    <a:pt x="107027" y="32727"/>
                    <a:pt x="114594" y="25454"/>
                    <a:pt x="120000" y="20909"/>
                  </a:cubicBezTo>
                  <a:cubicBezTo>
                    <a:pt x="118918" y="19090"/>
                    <a:pt x="116756" y="16363"/>
                    <a:pt x="114594" y="15454"/>
                  </a:cubicBezTo>
                  <a:cubicBezTo>
                    <a:pt x="113513" y="14545"/>
                    <a:pt x="113513" y="14545"/>
                    <a:pt x="111351" y="15454"/>
                  </a:cubicBezTo>
                  <a:cubicBezTo>
                    <a:pt x="110270" y="15454"/>
                    <a:pt x="109189" y="15454"/>
                    <a:pt x="108108" y="15454"/>
                  </a:cubicBezTo>
                  <a:cubicBezTo>
                    <a:pt x="104864" y="15454"/>
                    <a:pt x="102702" y="13636"/>
                    <a:pt x="101621" y="10909"/>
                  </a:cubicBezTo>
                  <a:cubicBezTo>
                    <a:pt x="100540" y="10000"/>
                    <a:pt x="99459" y="10000"/>
                    <a:pt x="99459" y="9090"/>
                  </a:cubicBezTo>
                  <a:cubicBezTo>
                    <a:pt x="98378" y="9090"/>
                    <a:pt x="95135" y="11818"/>
                    <a:pt x="92972" y="13636"/>
                  </a:cubicBezTo>
                  <a:cubicBezTo>
                    <a:pt x="92972" y="14545"/>
                    <a:pt x="91891" y="15454"/>
                    <a:pt x="90810" y="16363"/>
                  </a:cubicBezTo>
                  <a:cubicBezTo>
                    <a:pt x="87567" y="19090"/>
                    <a:pt x="81081" y="16363"/>
                    <a:pt x="77837" y="14545"/>
                  </a:cubicBezTo>
                  <a:cubicBezTo>
                    <a:pt x="75675" y="13636"/>
                    <a:pt x="75675" y="13636"/>
                    <a:pt x="75675" y="13636"/>
                  </a:cubicBezTo>
                  <a:cubicBezTo>
                    <a:pt x="72432" y="11818"/>
                    <a:pt x="71351" y="10000"/>
                    <a:pt x="70270" y="7272"/>
                  </a:cubicBezTo>
                  <a:cubicBezTo>
                    <a:pt x="70270" y="6363"/>
                    <a:pt x="70270" y="5454"/>
                    <a:pt x="69189" y="4545"/>
                  </a:cubicBezTo>
                  <a:cubicBezTo>
                    <a:pt x="68108" y="2727"/>
                    <a:pt x="64864" y="1818"/>
                    <a:pt x="61621" y="1818"/>
                  </a:cubicBezTo>
                  <a:cubicBezTo>
                    <a:pt x="59459" y="1818"/>
                    <a:pt x="58378" y="909"/>
                    <a:pt x="56216" y="909"/>
                  </a:cubicBezTo>
                  <a:cubicBezTo>
                    <a:pt x="55135" y="0"/>
                    <a:pt x="49729" y="0"/>
                    <a:pt x="46486" y="0"/>
                  </a:cubicBezTo>
                  <a:cubicBezTo>
                    <a:pt x="44324" y="909"/>
                    <a:pt x="35675" y="5454"/>
                    <a:pt x="33513" y="8181"/>
                  </a:cubicBezTo>
                  <a:cubicBezTo>
                    <a:pt x="32432" y="9090"/>
                    <a:pt x="30270" y="10000"/>
                    <a:pt x="29189" y="11818"/>
                  </a:cubicBezTo>
                  <a:cubicBezTo>
                    <a:pt x="24864" y="16363"/>
                    <a:pt x="21621" y="19090"/>
                    <a:pt x="19459" y="20000"/>
                  </a:cubicBezTo>
                  <a:cubicBezTo>
                    <a:pt x="18378" y="20000"/>
                    <a:pt x="16216" y="20000"/>
                    <a:pt x="15135" y="20000"/>
                  </a:cubicBezTo>
                  <a:cubicBezTo>
                    <a:pt x="12972" y="20000"/>
                    <a:pt x="9729" y="20000"/>
                    <a:pt x="9729" y="20909"/>
                  </a:cubicBezTo>
                  <a:cubicBezTo>
                    <a:pt x="8648" y="21818"/>
                    <a:pt x="8648" y="21818"/>
                    <a:pt x="8648" y="22727"/>
                  </a:cubicBezTo>
                  <a:cubicBezTo>
                    <a:pt x="7567" y="24545"/>
                    <a:pt x="5405" y="27272"/>
                    <a:pt x="6486" y="28181"/>
                  </a:cubicBezTo>
                  <a:cubicBezTo>
                    <a:pt x="7567" y="29090"/>
                    <a:pt x="7567" y="29090"/>
                    <a:pt x="8648" y="29090"/>
                  </a:cubicBezTo>
                  <a:cubicBezTo>
                    <a:pt x="10810" y="30909"/>
                    <a:pt x="12972" y="32727"/>
                    <a:pt x="11891" y="35454"/>
                  </a:cubicBezTo>
                  <a:cubicBezTo>
                    <a:pt x="11891" y="36363"/>
                    <a:pt x="10810" y="37272"/>
                    <a:pt x="10810" y="38181"/>
                  </a:cubicBezTo>
                  <a:cubicBezTo>
                    <a:pt x="7567" y="42727"/>
                    <a:pt x="7567" y="44545"/>
                    <a:pt x="8648" y="44545"/>
                  </a:cubicBezTo>
                  <a:cubicBezTo>
                    <a:pt x="8648" y="44545"/>
                    <a:pt x="9729" y="44545"/>
                    <a:pt x="9729" y="45454"/>
                  </a:cubicBezTo>
                  <a:cubicBezTo>
                    <a:pt x="12972" y="46363"/>
                    <a:pt x="17297" y="48181"/>
                    <a:pt x="17297" y="52727"/>
                  </a:cubicBezTo>
                  <a:cubicBezTo>
                    <a:pt x="17297" y="53636"/>
                    <a:pt x="17297" y="53636"/>
                    <a:pt x="17297" y="53636"/>
                  </a:cubicBezTo>
                  <a:cubicBezTo>
                    <a:pt x="17297" y="56363"/>
                    <a:pt x="17297" y="59090"/>
                    <a:pt x="15135" y="60909"/>
                  </a:cubicBezTo>
                  <a:cubicBezTo>
                    <a:pt x="14054" y="61818"/>
                    <a:pt x="12972" y="61818"/>
                    <a:pt x="11891" y="61818"/>
                  </a:cubicBezTo>
                  <a:cubicBezTo>
                    <a:pt x="6486" y="61818"/>
                    <a:pt x="2162" y="63636"/>
                    <a:pt x="0" y="65454"/>
                  </a:cubicBezTo>
                  <a:cubicBezTo>
                    <a:pt x="0" y="65454"/>
                    <a:pt x="0" y="66363"/>
                    <a:pt x="0" y="66363"/>
                  </a:cubicBezTo>
                  <a:cubicBezTo>
                    <a:pt x="2162" y="67272"/>
                    <a:pt x="5405" y="68181"/>
                    <a:pt x="4324" y="71818"/>
                  </a:cubicBezTo>
                  <a:cubicBezTo>
                    <a:pt x="4324" y="73636"/>
                    <a:pt x="3243" y="75454"/>
                    <a:pt x="2162" y="76363"/>
                  </a:cubicBezTo>
                  <a:cubicBezTo>
                    <a:pt x="1081" y="78181"/>
                    <a:pt x="1081" y="80000"/>
                    <a:pt x="1081" y="80909"/>
                  </a:cubicBezTo>
                  <a:cubicBezTo>
                    <a:pt x="2162" y="82727"/>
                    <a:pt x="6486" y="86363"/>
                    <a:pt x="9729" y="88181"/>
                  </a:cubicBezTo>
                  <a:cubicBezTo>
                    <a:pt x="10810" y="89090"/>
                    <a:pt x="10810" y="90000"/>
                    <a:pt x="11891" y="90000"/>
                  </a:cubicBezTo>
                  <a:cubicBezTo>
                    <a:pt x="11891" y="90000"/>
                    <a:pt x="14054" y="90909"/>
                    <a:pt x="16216" y="91818"/>
                  </a:cubicBezTo>
                  <a:cubicBezTo>
                    <a:pt x="20540" y="92727"/>
                    <a:pt x="24864" y="93636"/>
                    <a:pt x="27027" y="96363"/>
                  </a:cubicBezTo>
                  <a:cubicBezTo>
                    <a:pt x="27027" y="98181"/>
                    <a:pt x="27027" y="99090"/>
                    <a:pt x="28108" y="100909"/>
                  </a:cubicBezTo>
                  <a:cubicBezTo>
                    <a:pt x="28108" y="102727"/>
                    <a:pt x="28108" y="103636"/>
                    <a:pt x="29189" y="104545"/>
                  </a:cubicBezTo>
                  <a:cubicBezTo>
                    <a:pt x="32432" y="106363"/>
                    <a:pt x="38918" y="110909"/>
                    <a:pt x="38918" y="110909"/>
                  </a:cubicBezTo>
                  <a:cubicBezTo>
                    <a:pt x="38918" y="111818"/>
                    <a:pt x="40000" y="111818"/>
                    <a:pt x="40000" y="111818"/>
                  </a:cubicBezTo>
                  <a:cubicBezTo>
                    <a:pt x="40000" y="114545"/>
                    <a:pt x="41081" y="118181"/>
                    <a:pt x="42162" y="120000"/>
                  </a:cubicBezTo>
                  <a:cubicBezTo>
                    <a:pt x="45405" y="118181"/>
                    <a:pt x="49729" y="117272"/>
                    <a:pt x="55135" y="116363"/>
                  </a:cubicBezTo>
                  <a:cubicBezTo>
                    <a:pt x="56216" y="116363"/>
                    <a:pt x="57297" y="116363"/>
                    <a:pt x="58378" y="116363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71" name="Shape 7025">
              <a:extLst>
                <a:ext uri="{FF2B5EF4-FFF2-40B4-BE49-F238E27FC236}">
                  <a16:creationId xmlns:a16="http://schemas.microsoft.com/office/drawing/2014/main" id="{D6A97205-B03C-4629-ACC8-AE6463E2AA9D}"/>
                </a:ext>
              </a:extLst>
            </p:cNvPr>
            <p:cNvSpPr/>
            <p:nvPr/>
          </p:nvSpPr>
          <p:spPr>
            <a:xfrm>
              <a:off x="776780" y="3436338"/>
              <a:ext cx="267228" cy="23982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173" y="61875"/>
                  </a:moveTo>
                  <a:cubicBezTo>
                    <a:pt x="15652" y="60000"/>
                    <a:pt x="20000" y="51562"/>
                    <a:pt x="23478" y="57187"/>
                  </a:cubicBezTo>
                  <a:cubicBezTo>
                    <a:pt x="26956" y="62812"/>
                    <a:pt x="30434" y="71250"/>
                    <a:pt x="33913" y="71250"/>
                  </a:cubicBezTo>
                  <a:cubicBezTo>
                    <a:pt x="36521" y="71250"/>
                    <a:pt x="45217" y="73125"/>
                    <a:pt x="48695" y="77812"/>
                  </a:cubicBezTo>
                  <a:cubicBezTo>
                    <a:pt x="52173" y="83437"/>
                    <a:pt x="53913" y="90000"/>
                    <a:pt x="53043" y="96562"/>
                  </a:cubicBezTo>
                  <a:cubicBezTo>
                    <a:pt x="53043" y="103125"/>
                    <a:pt x="50434" y="117187"/>
                    <a:pt x="49565" y="120000"/>
                  </a:cubicBezTo>
                  <a:cubicBezTo>
                    <a:pt x="49565" y="120000"/>
                    <a:pt x="49565" y="120000"/>
                    <a:pt x="49565" y="120000"/>
                  </a:cubicBezTo>
                  <a:cubicBezTo>
                    <a:pt x="50434" y="120000"/>
                    <a:pt x="53043" y="119062"/>
                    <a:pt x="55652" y="119062"/>
                  </a:cubicBezTo>
                  <a:cubicBezTo>
                    <a:pt x="56521" y="119062"/>
                    <a:pt x="56521" y="118125"/>
                    <a:pt x="57391" y="116250"/>
                  </a:cubicBezTo>
                  <a:cubicBezTo>
                    <a:pt x="58260" y="115312"/>
                    <a:pt x="58260" y="114375"/>
                    <a:pt x="58260" y="114375"/>
                  </a:cubicBezTo>
                  <a:cubicBezTo>
                    <a:pt x="60000" y="111562"/>
                    <a:pt x="64347" y="109687"/>
                    <a:pt x="66956" y="109687"/>
                  </a:cubicBezTo>
                  <a:cubicBezTo>
                    <a:pt x="69565" y="108750"/>
                    <a:pt x="73043" y="110625"/>
                    <a:pt x="75652" y="112500"/>
                  </a:cubicBezTo>
                  <a:cubicBezTo>
                    <a:pt x="76521" y="113437"/>
                    <a:pt x="78260" y="114375"/>
                    <a:pt x="78260" y="114375"/>
                  </a:cubicBezTo>
                  <a:cubicBezTo>
                    <a:pt x="79130" y="114375"/>
                    <a:pt x="79130" y="114375"/>
                    <a:pt x="79130" y="114375"/>
                  </a:cubicBezTo>
                  <a:cubicBezTo>
                    <a:pt x="80000" y="113437"/>
                    <a:pt x="80000" y="113437"/>
                    <a:pt x="80869" y="113437"/>
                  </a:cubicBezTo>
                  <a:cubicBezTo>
                    <a:pt x="81739" y="112500"/>
                    <a:pt x="83478" y="110625"/>
                    <a:pt x="84347" y="109687"/>
                  </a:cubicBezTo>
                  <a:cubicBezTo>
                    <a:pt x="85217" y="108750"/>
                    <a:pt x="85217" y="108750"/>
                    <a:pt x="85217" y="108750"/>
                  </a:cubicBezTo>
                  <a:cubicBezTo>
                    <a:pt x="86956" y="105937"/>
                    <a:pt x="90434" y="105937"/>
                    <a:pt x="95652" y="106875"/>
                  </a:cubicBezTo>
                  <a:cubicBezTo>
                    <a:pt x="95652" y="106875"/>
                    <a:pt x="95652" y="106875"/>
                    <a:pt x="95652" y="106875"/>
                  </a:cubicBezTo>
                  <a:cubicBezTo>
                    <a:pt x="95652" y="105937"/>
                    <a:pt x="95652" y="103125"/>
                    <a:pt x="94782" y="102187"/>
                  </a:cubicBezTo>
                  <a:cubicBezTo>
                    <a:pt x="93913" y="99375"/>
                    <a:pt x="93913" y="97500"/>
                    <a:pt x="93913" y="96562"/>
                  </a:cubicBezTo>
                  <a:cubicBezTo>
                    <a:pt x="93913" y="94687"/>
                    <a:pt x="93913" y="93750"/>
                    <a:pt x="94782" y="93750"/>
                  </a:cubicBezTo>
                  <a:cubicBezTo>
                    <a:pt x="96521" y="91875"/>
                    <a:pt x="100000" y="92812"/>
                    <a:pt x="102608" y="92812"/>
                  </a:cubicBezTo>
                  <a:cubicBezTo>
                    <a:pt x="103478" y="92812"/>
                    <a:pt x="104347" y="92812"/>
                    <a:pt x="104347" y="92812"/>
                  </a:cubicBezTo>
                  <a:cubicBezTo>
                    <a:pt x="106956" y="92812"/>
                    <a:pt x="110434" y="95625"/>
                    <a:pt x="113043" y="98437"/>
                  </a:cubicBezTo>
                  <a:cubicBezTo>
                    <a:pt x="113913" y="96562"/>
                    <a:pt x="115652" y="91875"/>
                    <a:pt x="115652" y="90000"/>
                  </a:cubicBezTo>
                  <a:cubicBezTo>
                    <a:pt x="116521" y="89062"/>
                    <a:pt x="116521" y="87187"/>
                    <a:pt x="116521" y="87187"/>
                  </a:cubicBezTo>
                  <a:cubicBezTo>
                    <a:pt x="117391" y="84375"/>
                    <a:pt x="119130" y="83437"/>
                    <a:pt x="120000" y="82500"/>
                  </a:cubicBezTo>
                  <a:cubicBezTo>
                    <a:pt x="119130" y="79687"/>
                    <a:pt x="119130" y="76875"/>
                    <a:pt x="119130" y="75000"/>
                  </a:cubicBezTo>
                  <a:cubicBezTo>
                    <a:pt x="119130" y="73125"/>
                    <a:pt x="117391" y="72187"/>
                    <a:pt x="115652" y="71250"/>
                  </a:cubicBezTo>
                  <a:cubicBezTo>
                    <a:pt x="114782" y="70312"/>
                    <a:pt x="114782" y="70312"/>
                    <a:pt x="113913" y="69375"/>
                  </a:cubicBezTo>
                  <a:cubicBezTo>
                    <a:pt x="111304" y="67500"/>
                    <a:pt x="112173" y="63750"/>
                    <a:pt x="112173" y="61875"/>
                  </a:cubicBezTo>
                  <a:cubicBezTo>
                    <a:pt x="112173" y="61875"/>
                    <a:pt x="112173" y="60937"/>
                    <a:pt x="112173" y="60937"/>
                  </a:cubicBezTo>
                  <a:cubicBezTo>
                    <a:pt x="112173" y="59062"/>
                    <a:pt x="114782" y="55312"/>
                    <a:pt x="116521" y="53437"/>
                  </a:cubicBezTo>
                  <a:cubicBezTo>
                    <a:pt x="117391" y="51562"/>
                    <a:pt x="117391" y="46875"/>
                    <a:pt x="117391" y="44062"/>
                  </a:cubicBezTo>
                  <a:cubicBezTo>
                    <a:pt x="117391" y="43125"/>
                    <a:pt x="118260" y="41250"/>
                    <a:pt x="118260" y="40312"/>
                  </a:cubicBezTo>
                  <a:cubicBezTo>
                    <a:pt x="119130" y="39375"/>
                    <a:pt x="119130" y="38437"/>
                    <a:pt x="119130" y="37500"/>
                  </a:cubicBezTo>
                  <a:cubicBezTo>
                    <a:pt x="119130" y="36562"/>
                    <a:pt x="116521" y="31875"/>
                    <a:pt x="115652" y="30937"/>
                  </a:cubicBezTo>
                  <a:cubicBezTo>
                    <a:pt x="113043" y="29062"/>
                    <a:pt x="113913" y="27187"/>
                    <a:pt x="113913" y="25312"/>
                  </a:cubicBezTo>
                  <a:cubicBezTo>
                    <a:pt x="113913" y="23437"/>
                    <a:pt x="114782" y="22500"/>
                    <a:pt x="114782" y="21562"/>
                  </a:cubicBezTo>
                  <a:cubicBezTo>
                    <a:pt x="114782" y="20625"/>
                    <a:pt x="112173" y="16875"/>
                    <a:pt x="109565" y="14062"/>
                  </a:cubicBezTo>
                  <a:cubicBezTo>
                    <a:pt x="108695" y="14062"/>
                    <a:pt x="106956" y="15000"/>
                    <a:pt x="106086" y="15937"/>
                  </a:cubicBezTo>
                  <a:cubicBezTo>
                    <a:pt x="105217" y="16875"/>
                    <a:pt x="104347" y="17812"/>
                    <a:pt x="103478" y="18750"/>
                  </a:cubicBezTo>
                  <a:cubicBezTo>
                    <a:pt x="100000" y="20625"/>
                    <a:pt x="97391" y="20625"/>
                    <a:pt x="93913" y="20625"/>
                  </a:cubicBezTo>
                  <a:cubicBezTo>
                    <a:pt x="93043" y="20625"/>
                    <a:pt x="92173" y="21562"/>
                    <a:pt x="91304" y="24375"/>
                  </a:cubicBezTo>
                  <a:cubicBezTo>
                    <a:pt x="91304" y="25312"/>
                    <a:pt x="90434" y="26250"/>
                    <a:pt x="90434" y="26250"/>
                  </a:cubicBezTo>
                  <a:cubicBezTo>
                    <a:pt x="89565" y="29062"/>
                    <a:pt x="86956" y="32812"/>
                    <a:pt x="84347" y="36562"/>
                  </a:cubicBezTo>
                  <a:cubicBezTo>
                    <a:pt x="82608" y="38437"/>
                    <a:pt x="81739" y="37500"/>
                    <a:pt x="80869" y="37500"/>
                  </a:cubicBezTo>
                  <a:cubicBezTo>
                    <a:pt x="80000" y="37500"/>
                    <a:pt x="78260" y="35625"/>
                    <a:pt x="80000" y="23437"/>
                  </a:cubicBezTo>
                  <a:cubicBezTo>
                    <a:pt x="80000" y="22500"/>
                    <a:pt x="76521" y="21562"/>
                    <a:pt x="73913" y="20625"/>
                  </a:cubicBezTo>
                  <a:cubicBezTo>
                    <a:pt x="73043" y="20625"/>
                    <a:pt x="72173" y="19687"/>
                    <a:pt x="72173" y="18750"/>
                  </a:cubicBezTo>
                  <a:cubicBezTo>
                    <a:pt x="69565" y="19687"/>
                    <a:pt x="64347" y="20625"/>
                    <a:pt x="62608" y="21562"/>
                  </a:cubicBezTo>
                  <a:cubicBezTo>
                    <a:pt x="61739" y="21562"/>
                    <a:pt x="51304" y="19687"/>
                    <a:pt x="49565" y="17812"/>
                  </a:cubicBezTo>
                  <a:cubicBezTo>
                    <a:pt x="48695" y="15000"/>
                    <a:pt x="45217" y="9375"/>
                    <a:pt x="43478" y="7500"/>
                  </a:cubicBezTo>
                  <a:cubicBezTo>
                    <a:pt x="42608" y="5625"/>
                    <a:pt x="38260" y="937"/>
                    <a:pt x="36521" y="937"/>
                  </a:cubicBezTo>
                  <a:cubicBezTo>
                    <a:pt x="33913" y="937"/>
                    <a:pt x="29565" y="0"/>
                    <a:pt x="27826" y="2812"/>
                  </a:cubicBezTo>
                  <a:cubicBezTo>
                    <a:pt x="26956" y="6562"/>
                    <a:pt x="25217" y="12187"/>
                    <a:pt x="21739" y="16875"/>
                  </a:cubicBezTo>
                  <a:cubicBezTo>
                    <a:pt x="19130" y="21562"/>
                    <a:pt x="7826" y="33750"/>
                    <a:pt x="6086" y="35625"/>
                  </a:cubicBezTo>
                  <a:cubicBezTo>
                    <a:pt x="4347" y="36562"/>
                    <a:pt x="0" y="45000"/>
                    <a:pt x="0" y="45000"/>
                  </a:cubicBezTo>
                  <a:cubicBezTo>
                    <a:pt x="0" y="45000"/>
                    <a:pt x="8695" y="63750"/>
                    <a:pt x="12173" y="61875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72" name="Shape 7026">
              <a:extLst>
                <a:ext uri="{FF2B5EF4-FFF2-40B4-BE49-F238E27FC236}">
                  <a16:creationId xmlns:a16="http://schemas.microsoft.com/office/drawing/2014/main" id="{F260D53F-04F2-4D86-BFB3-28D61D55257E}"/>
                </a:ext>
              </a:extLst>
            </p:cNvPr>
            <p:cNvSpPr/>
            <p:nvPr/>
          </p:nvSpPr>
          <p:spPr>
            <a:xfrm>
              <a:off x="929205" y="3218912"/>
              <a:ext cx="342475" cy="28088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8135" y="85600"/>
                  </a:moveTo>
                  <a:cubicBezTo>
                    <a:pt x="7457" y="88800"/>
                    <a:pt x="6101" y="102400"/>
                    <a:pt x="4067" y="107200"/>
                  </a:cubicBezTo>
                  <a:cubicBezTo>
                    <a:pt x="4067" y="107200"/>
                    <a:pt x="4067" y="107200"/>
                    <a:pt x="4067" y="107200"/>
                  </a:cubicBezTo>
                  <a:cubicBezTo>
                    <a:pt x="4745" y="107200"/>
                    <a:pt x="6101" y="108000"/>
                    <a:pt x="8135" y="108800"/>
                  </a:cubicBezTo>
                  <a:cubicBezTo>
                    <a:pt x="10847" y="109600"/>
                    <a:pt x="12203" y="111200"/>
                    <a:pt x="11525" y="113600"/>
                  </a:cubicBezTo>
                  <a:cubicBezTo>
                    <a:pt x="11525" y="115200"/>
                    <a:pt x="10847" y="118400"/>
                    <a:pt x="10847" y="120000"/>
                  </a:cubicBezTo>
                  <a:cubicBezTo>
                    <a:pt x="12881" y="117600"/>
                    <a:pt x="14237" y="116000"/>
                    <a:pt x="14915" y="114400"/>
                  </a:cubicBezTo>
                  <a:cubicBezTo>
                    <a:pt x="14915" y="113600"/>
                    <a:pt x="14915" y="112800"/>
                    <a:pt x="14915" y="112800"/>
                  </a:cubicBezTo>
                  <a:cubicBezTo>
                    <a:pt x="15593" y="110400"/>
                    <a:pt x="16949" y="107200"/>
                    <a:pt x="19661" y="107200"/>
                  </a:cubicBezTo>
                  <a:cubicBezTo>
                    <a:pt x="22372" y="107200"/>
                    <a:pt x="23728" y="107200"/>
                    <a:pt x="25762" y="105600"/>
                  </a:cubicBezTo>
                  <a:cubicBezTo>
                    <a:pt x="26440" y="105600"/>
                    <a:pt x="26440" y="104800"/>
                    <a:pt x="27118" y="104000"/>
                  </a:cubicBezTo>
                  <a:cubicBezTo>
                    <a:pt x="28474" y="103200"/>
                    <a:pt x="30508" y="101600"/>
                    <a:pt x="32542" y="101600"/>
                  </a:cubicBezTo>
                  <a:cubicBezTo>
                    <a:pt x="32542" y="101600"/>
                    <a:pt x="32542" y="101600"/>
                    <a:pt x="32542" y="101600"/>
                  </a:cubicBezTo>
                  <a:cubicBezTo>
                    <a:pt x="32542" y="101600"/>
                    <a:pt x="32542" y="101600"/>
                    <a:pt x="32542" y="101600"/>
                  </a:cubicBezTo>
                  <a:cubicBezTo>
                    <a:pt x="33898" y="101600"/>
                    <a:pt x="34576" y="101600"/>
                    <a:pt x="35932" y="101600"/>
                  </a:cubicBezTo>
                  <a:cubicBezTo>
                    <a:pt x="36610" y="102400"/>
                    <a:pt x="38644" y="102400"/>
                    <a:pt x="38644" y="101600"/>
                  </a:cubicBezTo>
                  <a:cubicBezTo>
                    <a:pt x="39322" y="101600"/>
                    <a:pt x="39322" y="100800"/>
                    <a:pt x="40000" y="100000"/>
                  </a:cubicBezTo>
                  <a:cubicBezTo>
                    <a:pt x="42033" y="97600"/>
                    <a:pt x="44067" y="93600"/>
                    <a:pt x="47457" y="92800"/>
                  </a:cubicBezTo>
                  <a:cubicBezTo>
                    <a:pt x="48135" y="92800"/>
                    <a:pt x="48813" y="92800"/>
                    <a:pt x="49491" y="92800"/>
                  </a:cubicBezTo>
                  <a:cubicBezTo>
                    <a:pt x="52203" y="92000"/>
                    <a:pt x="56271" y="90400"/>
                    <a:pt x="57627" y="95200"/>
                  </a:cubicBezTo>
                  <a:cubicBezTo>
                    <a:pt x="57627" y="96000"/>
                    <a:pt x="57627" y="97600"/>
                    <a:pt x="58305" y="99200"/>
                  </a:cubicBezTo>
                  <a:cubicBezTo>
                    <a:pt x="58305" y="101600"/>
                    <a:pt x="58983" y="104000"/>
                    <a:pt x="59661" y="104800"/>
                  </a:cubicBezTo>
                  <a:cubicBezTo>
                    <a:pt x="60338" y="104800"/>
                    <a:pt x="62372" y="105600"/>
                    <a:pt x="63728" y="105600"/>
                  </a:cubicBezTo>
                  <a:cubicBezTo>
                    <a:pt x="64406" y="104800"/>
                    <a:pt x="65084" y="104800"/>
                    <a:pt x="65084" y="104800"/>
                  </a:cubicBezTo>
                  <a:cubicBezTo>
                    <a:pt x="67118" y="104000"/>
                    <a:pt x="69830" y="102400"/>
                    <a:pt x="71864" y="104800"/>
                  </a:cubicBezTo>
                  <a:cubicBezTo>
                    <a:pt x="72542" y="104800"/>
                    <a:pt x="72542" y="105600"/>
                    <a:pt x="73220" y="106400"/>
                  </a:cubicBezTo>
                  <a:cubicBezTo>
                    <a:pt x="74576" y="108000"/>
                    <a:pt x="77288" y="112000"/>
                    <a:pt x="78644" y="111200"/>
                  </a:cubicBezTo>
                  <a:cubicBezTo>
                    <a:pt x="80000" y="110400"/>
                    <a:pt x="80677" y="110400"/>
                    <a:pt x="81355" y="109600"/>
                  </a:cubicBezTo>
                  <a:cubicBezTo>
                    <a:pt x="82711" y="108000"/>
                    <a:pt x="84067" y="107200"/>
                    <a:pt x="86101" y="107200"/>
                  </a:cubicBezTo>
                  <a:cubicBezTo>
                    <a:pt x="88135" y="107200"/>
                    <a:pt x="92881" y="106400"/>
                    <a:pt x="94237" y="105600"/>
                  </a:cubicBezTo>
                  <a:cubicBezTo>
                    <a:pt x="94915" y="105600"/>
                    <a:pt x="96949" y="105600"/>
                    <a:pt x="99661" y="105600"/>
                  </a:cubicBezTo>
                  <a:cubicBezTo>
                    <a:pt x="101016" y="100800"/>
                    <a:pt x="104406" y="95200"/>
                    <a:pt x="107118" y="92000"/>
                  </a:cubicBezTo>
                  <a:cubicBezTo>
                    <a:pt x="108474" y="91200"/>
                    <a:pt x="108474" y="90400"/>
                    <a:pt x="109152" y="89600"/>
                  </a:cubicBezTo>
                  <a:cubicBezTo>
                    <a:pt x="111186" y="86400"/>
                    <a:pt x="114576" y="85600"/>
                    <a:pt x="117288" y="84800"/>
                  </a:cubicBezTo>
                  <a:cubicBezTo>
                    <a:pt x="117966" y="84800"/>
                    <a:pt x="118644" y="84800"/>
                    <a:pt x="118644" y="84800"/>
                  </a:cubicBezTo>
                  <a:cubicBezTo>
                    <a:pt x="119322" y="84000"/>
                    <a:pt x="119999" y="84000"/>
                    <a:pt x="119322" y="80800"/>
                  </a:cubicBezTo>
                  <a:cubicBezTo>
                    <a:pt x="119322" y="80800"/>
                    <a:pt x="119322" y="80800"/>
                    <a:pt x="119322" y="80000"/>
                  </a:cubicBezTo>
                  <a:cubicBezTo>
                    <a:pt x="118644" y="80000"/>
                    <a:pt x="118644" y="80000"/>
                    <a:pt x="118644" y="79200"/>
                  </a:cubicBezTo>
                  <a:cubicBezTo>
                    <a:pt x="118644" y="78400"/>
                    <a:pt x="118644" y="77600"/>
                    <a:pt x="118644" y="76800"/>
                  </a:cubicBezTo>
                  <a:cubicBezTo>
                    <a:pt x="119322" y="75200"/>
                    <a:pt x="115932" y="70400"/>
                    <a:pt x="113220" y="68800"/>
                  </a:cubicBezTo>
                  <a:cubicBezTo>
                    <a:pt x="109830" y="67200"/>
                    <a:pt x="109152" y="65600"/>
                    <a:pt x="109152" y="63200"/>
                  </a:cubicBezTo>
                  <a:cubicBezTo>
                    <a:pt x="109152" y="63200"/>
                    <a:pt x="109152" y="62400"/>
                    <a:pt x="109152" y="62400"/>
                  </a:cubicBezTo>
                  <a:cubicBezTo>
                    <a:pt x="108474" y="60800"/>
                    <a:pt x="107118" y="59200"/>
                    <a:pt x="105084" y="57600"/>
                  </a:cubicBezTo>
                  <a:cubicBezTo>
                    <a:pt x="103728" y="56000"/>
                    <a:pt x="103728" y="53600"/>
                    <a:pt x="103050" y="52000"/>
                  </a:cubicBezTo>
                  <a:cubicBezTo>
                    <a:pt x="103050" y="51200"/>
                    <a:pt x="103050" y="50400"/>
                    <a:pt x="103050" y="50400"/>
                  </a:cubicBezTo>
                  <a:cubicBezTo>
                    <a:pt x="103050" y="48800"/>
                    <a:pt x="100338" y="48800"/>
                    <a:pt x="99661" y="48000"/>
                  </a:cubicBezTo>
                  <a:cubicBezTo>
                    <a:pt x="98983" y="48000"/>
                    <a:pt x="98305" y="48000"/>
                    <a:pt x="97627" y="48000"/>
                  </a:cubicBezTo>
                  <a:cubicBezTo>
                    <a:pt x="96271" y="48000"/>
                    <a:pt x="92881" y="48800"/>
                    <a:pt x="90169" y="49600"/>
                  </a:cubicBezTo>
                  <a:cubicBezTo>
                    <a:pt x="88135" y="50400"/>
                    <a:pt x="84745" y="49600"/>
                    <a:pt x="82033" y="48000"/>
                  </a:cubicBezTo>
                  <a:cubicBezTo>
                    <a:pt x="81355" y="48000"/>
                    <a:pt x="80677" y="48000"/>
                    <a:pt x="80677" y="47200"/>
                  </a:cubicBezTo>
                  <a:cubicBezTo>
                    <a:pt x="77288" y="46400"/>
                    <a:pt x="76610" y="43200"/>
                    <a:pt x="75254" y="40800"/>
                  </a:cubicBezTo>
                  <a:cubicBezTo>
                    <a:pt x="74576" y="40000"/>
                    <a:pt x="74576" y="40000"/>
                    <a:pt x="74576" y="40000"/>
                  </a:cubicBezTo>
                  <a:cubicBezTo>
                    <a:pt x="73898" y="38400"/>
                    <a:pt x="73898" y="38400"/>
                    <a:pt x="73220" y="38400"/>
                  </a:cubicBezTo>
                  <a:cubicBezTo>
                    <a:pt x="72542" y="38400"/>
                    <a:pt x="71186" y="37600"/>
                    <a:pt x="69830" y="37600"/>
                  </a:cubicBezTo>
                  <a:cubicBezTo>
                    <a:pt x="67118" y="36000"/>
                    <a:pt x="65762" y="33600"/>
                    <a:pt x="63728" y="31200"/>
                  </a:cubicBezTo>
                  <a:cubicBezTo>
                    <a:pt x="63050" y="31200"/>
                    <a:pt x="63050" y="30400"/>
                    <a:pt x="62372" y="29600"/>
                  </a:cubicBezTo>
                  <a:cubicBezTo>
                    <a:pt x="60338" y="27200"/>
                    <a:pt x="60338" y="24800"/>
                    <a:pt x="60338" y="22400"/>
                  </a:cubicBezTo>
                  <a:cubicBezTo>
                    <a:pt x="60338" y="20800"/>
                    <a:pt x="61016" y="20000"/>
                    <a:pt x="60338" y="18400"/>
                  </a:cubicBezTo>
                  <a:cubicBezTo>
                    <a:pt x="60338" y="16000"/>
                    <a:pt x="57627" y="15200"/>
                    <a:pt x="54915" y="14400"/>
                  </a:cubicBezTo>
                  <a:cubicBezTo>
                    <a:pt x="54237" y="14400"/>
                    <a:pt x="54237" y="14400"/>
                    <a:pt x="54237" y="14400"/>
                  </a:cubicBezTo>
                  <a:cubicBezTo>
                    <a:pt x="52881" y="14400"/>
                    <a:pt x="52203" y="13600"/>
                    <a:pt x="52203" y="12800"/>
                  </a:cubicBezTo>
                  <a:cubicBezTo>
                    <a:pt x="51525" y="12000"/>
                    <a:pt x="51525" y="10400"/>
                    <a:pt x="51525" y="9600"/>
                  </a:cubicBezTo>
                  <a:cubicBezTo>
                    <a:pt x="50169" y="8800"/>
                    <a:pt x="48135" y="6400"/>
                    <a:pt x="46101" y="3200"/>
                  </a:cubicBezTo>
                  <a:cubicBezTo>
                    <a:pt x="45423" y="1600"/>
                    <a:pt x="44745" y="800"/>
                    <a:pt x="44745" y="800"/>
                  </a:cubicBezTo>
                  <a:cubicBezTo>
                    <a:pt x="44067" y="0"/>
                    <a:pt x="41355" y="800"/>
                    <a:pt x="38644" y="2400"/>
                  </a:cubicBezTo>
                  <a:cubicBezTo>
                    <a:pt x="38644" y="2400"/>
                    <a:pt x="37966" y="2400"/>
                    <a:pt x="37966" y="2400"/>
                  </a:cubicBezTo>
                  <a:cubicBezTo>
                    <a:pt x="37966" y="2400"/>
                    <a:pt x="37966" y="2400"/>
                    <a:pt x="37966" y="2400"/>
                  </a:cubicBezTo>
                  <a:cubicBezTo>
                    <a:pt x="34576" y="7200"/>
                    <a:pt x="30508" y="9600"/>
                    <a:pt x="29830" y="12000"/>
                  </a:cubicBezTo>
                  <a:cubicBezTo>
                    <a:pt x="29152" y="14400"/>
                    <a:pt x="27118" y="18400"/>
                    <a:pt x="25762" y="19200"/>
                  </a:cubicBezTo>
                  <a:cubicBezTo>
                    <a:pt x="23728" y="20800"/>
                    <a:pt x="18983" y="21600"/>
                    <a:pt x="16949" y="24800"/>
                  </a:cubicBezTo>
                  <a:cubicBezTo>
                    <a:pt x="15593" y="27200"/>
                    <a:pt x="7457" y="48800"/>
                    <a:pt x="7457" y="52000"/>
                  </a:cubicBezTo>
                  <a:cubicBezTo>
                    <a:pt x="7457" y="55200"/>
                    <a:pt x="7457" y="68000"/>
                    <a:pt x="6101" y="71200"/>
                  </a:cubicBezTo>
                  <a:cubicBezTo>
                    <a:pt x="4067" y="73600"/>
                    <a:pt x="0" y="73600"/>
                    <a:pt x="2033" y="76800"/>
                  </a:cubicBezTo>
                  <a:cubicBezTo>
                    <a:pt x="4067" y="80000"/>
                    <a:pt x="8813" y="82400"/>
                    <a:pt x="8135" y="85600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aphicFrame>
        <p:nvGraphicFramePr>
          <p:cNvPr id="273" name="Таблица 3">
            <a:extLst>
              <a:ext uri="{FF2B5EF4-FFF2-40B4-BE49-F238E27FC236}">
                <a16:creationId xmlns:a16="http://schemas.microsoft.com/office/drawing/2014/main" id="{6C4056D9-9874-4CD7-B753-F9C0F38BC7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9379118"/>
              </p:ext>
            </p:extLst>
          </p:nvPr>
        </p:nvGraphicFramePr>
        <p:xfrm>
          <a:off x="439131" y="761692"/>
          <a:ext cx="2611708" cy="1760234"/>
        </p:xfrm>
        <a:graphic>
          <a:graphicData uri="http://schemas.openxmlformats.org/drawingml/2006/table">
            <a:tbl>
              <a:tblPr firstRow="1" bandRow="1"/>
              <a:tblGrid>
                <a:gridCol w="2419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4312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2658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4152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defTabSz="9144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1200" b="0" dirty="0">
                          <a:solidFill>
                            <a:srgbClr val="000000"/>
                          </a:solidFill>
                          <a:latin typeface="Arial Nova Light"/>
                        </a:rPr>
                        <a:t>1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defTabSz="9144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1200" b="0" dirty="0">
                          <a:solidFill>
                            <a:srgbClr val="000000"/>
                          </a:solidFill>
                          <a:latin typeface="Arial Nova Light"/>
                        </a:rPr>
                        <a:t>Самарская обл.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2"/>
                          </a:solidFill>
                          <a:latin typeface="Arial Nova Light"/>
                        </a:rPr>
                        <a:t>24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44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latin typeface="Arial Nova Light"/>
                        </a:rPr>
                        <a:t>2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solidFill>
                            <a:srgbClr val="000000"/>
                          </a:solidFill>
                          <a:latin typeface="Arial Nova Light"/>
                        </a:rPr>
                        <a:t>Пермский край</a:t>
                      </a:r>
                      <a:endParaRPr lang="ru-RU" sz="1200" b="0" dirty="0">
                        <a:latin typeface="Arial Nova Light"/>
                      </a:endParaRPr>
                    </a:p>
                  </a:txBody>
                  <a:tcPr marT="34291" marB="34291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2"/>
                          </a:solidFill>
                          <a:latin typeface="Arial Nova Light"/>
                        </a:rPr>
                        <a:t>14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68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latin typeface="Arial Nova Light"/>
                        </a:rPr>
                        <a:t>3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solidFill>
                            <a:srgbClr val="000000"/>
                          </a:solidFill>
                          <a:latin typeface="Arial Nova Light"/>
                        </a:rPr>
                        <a:t>Тюменская обл.</a:t>
                      </a:r>
                      <a:endParaRPr lang="ru-RU" sz="1200" b="0" dirty="0">
                        <a:latin typeface="Arial Nova Light"/>
                      </a:endParaRPr>
                    </a:p>
                  </a:txBody>
                  <a:tcPr marT="34291" marB="34291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2"/>
                          </a:solidFill>
                          <a:latin typeface="Arial Nova Light"/>
                        </a:rPr>
                        <a:t>22</a:t>
                      </a:r>
                      <a:endParaRPr lang="ru-RU" sz="1200" b="1" dirty="0">
                        <a:solidFill>
                          <a:schemeClr val="tx2"/>
                        </a:solidFill>
                        <a:latin typeface="Arial Nova Light"/>
                      </a:endParaRPr>
                    </a:p>
                  </a:txBody>
                  <a:tcPr marT="34291" marB="34291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68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latin typeface="Arial Nova Light"/>
                        </a:rPr>
                        <a:t>4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solidFill>
                            <a:srgbClr val="000000"/>
                          </a:solidFill>
                          <a:latin typeface="Arial Nova Light"/>
                        </a:rPr>
                        <a:t>Тульская обл.</a:t>
                      </a:r>
                      <a:endParaRPr lang="ru-RU" sz="1200" b="0" dirty="0">
                        <a:latin typeface="Arial Nova Light"/>
                      </a:endParaRPr>
                    </a:p>
                  </a:txBody>
                  <a:tcPr marT="34291" marB="34291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2"/>
                          </a:solidFill>
                          <a:latin typeface="Arial Nova Light"/>
                        </a:rPr>
                        <a:t>1</a:t>
                      </a:r>
                      <a:r>
                        <a:rPr lang="en-US" sz="1200" b="1" dirty="0">
                          <a:solidFill>
                            <a:schemeClr val="tx2"/>
                          </a:solidFill>
                          <a:latin typeface="Arial Nova Light"/>
                        </a:rPr>
                        <a:t>8</a:t>
                      </a:r>
                      <a:endParaRPr lang="ru-RU" sz="1200" b="1" dirty="0">
                        <a:solidFill>
                          <a:schemeClr val="tx2"/>
                        </a:solidFill>
                        <a:latin typeface="Arial Nova Light"/>
                      </a:endParaRPr>
                    </a:p>
                  </a:txBody>
                  <a:tcPr marT="34291" marB="34291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68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latin typeface="Arial Nova Light"/>
                        </a:rPr>
                        <a:t>5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err="1">
                          <a:solidFill>
                            <a:srgbClr val="000000"/>
                          </a:solidFill>
                          <a:latin typeface="Arial Nova Light"/>
                        </a:rPr>
                        <a:t>Респ</a:t>
                      </a:r>
                      <a:r>
                        <a:rPr lang="ru-RU" sz="1200" b="0" dirty="0">
                          <a:solidFill>
                            <a:srgbClr val="000000"/>
                          </a:solidFill>
                          <a:latin typeface="Arial Nova Light"/>
                        </a:rPr>
                        <a:t>. Башкортостан</a:t>
                      </a:r>
                      <a:endParaRPr lang="ru-RU" sz="1200" b="0" dirty="0">
                        <a:latin typeface="Arial Nova Light"/>
                      </a:endParaRPr>
                    </a:p>
                  </a:txBody>
                  <a:tcPr marT="18000" marB="18000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2"/>
                          </a:solidFill>
                          <a:latin typeface="Arial Nova Light"/>
                        </a:rPr>
                        <a:t>17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68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latin typeface="Arial Nova Light"/>
                        </a:rPr>
                        <a:t>6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err="1">
                          <a:solidFill>
                            <a:srgbClr val="000000"/>
                          </a:solidFill>
                          <a:latin typeface="Arial Nova Light"/>
                        </a:rPr>
                        <a:t>Респ</a:t>
                      </a:r>
                      <a:r>
                        <a:rPr lang="ru-RU" sz="1200" b="0" dirty="0">
                          <a:solidFill>
                            <a:srgbClr val="000000"/>
                          </a:solidFill>
                          <a:latin typeface="Arial Nova Light"/>
                        </a:rPr>
                        <a:t>. Татарстан</a:t>
                      </a:r>
                      <a:endParaRPr lang="ru-RU" sz="1200" b="0" dirty="0">
                        <a:latin typeface="Arial Nova Light"/>
                      </a:endParaRPr>
                    </a:p>
                  </a:txBody>
                  <a:tcPr marT="34291" marB="34291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2"/>
                          </a:solidFill>
                          <a:latin typeface="Arial Nova Light"/>
                        </a:rPr>
                        <a:t>20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68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latin typeface="Arial Nova Light"/>
                        </a:rPr>
                        <a:t>7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solidFill>
                            <a:srgbClr val="000000"/>
                          </a:solidFill>
                          <a:latin typeface="Arial Nova Light"/>
                        </a:rPr>
                        <a:t>Нижегородская обл.</a:t>
                      </a:r>
                      <a:endParaRPr lang="ru-RU" sz="1200" b="0" dirty="0">
                        <a:latin typeface="Arial Nova Light"/>
                      </a:endParaRPr>
                    </a:p>
                  </a:txBody>
                  <a:tcPr marT="34291" marB="34291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2"/>
                          </a:solidFill>
                          <a:latin typeface="Arial Nova Light"/>
                        </a:rPr>
                        <a:t>12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274" name="TextBox 273">
            <a:extLst>
              <a:ext uri="{FF2B5EF4-FFF2-40B4-BE49-F238E27FC236}">
                <a16:creationId xmlns:a16="http://schemas.microsoft.com/office/drawing/2014/main" id="{27A20733-55F4-4644-B58F-3EE4C50C76DD}"/>
              </a:ext>
            </a:extLst>
          </p:cNvPr>
          <p:cNvSpPr txBox="1"/>
          <p:nvPr/>
        </p:nvSpPr>
        <p:spPr>
          <a:xfrm>
            <a:off x="439132" y="479585"/>
            <a:ext cx="2611707" cy="23836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</a:rPr>
              <a:t>Регионы 2017</a:t>
            </a:r>
          </a:p>
        </p:txBody>
      </p:sp>
      <p:graphicFrame>
        <p:nvGraphicFramePr>
          <p:cNvPr id="275" name="Таблица 6">
            <a:extLst>
              <a:ext uri="{FF2B5EF4-FFF2-40B4-BE49-F238E27FC236}">
                <a16:creationId xmlns:a16="http://schemas.microsoft.com/office/drawing/2014/main" id="{8D69FE0F-BAAC-48FF-AB24-D15D955DBD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6060689"/>
              </p:ext>
            </p:extLst>
          </p:nvPr>
        </p:nvGraphicFramePr>
        <p:xfrm>
          <a:off x="382570" y="2883196"/>
          <a:ext cx="2740865" cy="2003066"/>
        </p:xfrm>
        <a:graphic>
          <a:graphicData uri="http://schemas.openxmlformats.org/drawingml/2006/table">
            <a:tbl>
              <a:tblPr firstRow="1" bandRow="1"/>
              <a:tblGrid>
                <a:gridCol w="3042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451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9144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10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latin typeface="Arial Nova Light"/>
                        </a:rPr>
                        <a:t>8</a:t>
                      </a:r>
                    </a:p>
                  </a:txBody>
                  <a:tcPr marL="36000" marR="0" marT="18000" marB="18000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solidFill>
                            <a:srgbClr val="000000"/>
                          </a:solidFill>
                          <a:latin typeface="Arial Nova Light"/>
                        </a:rPr>
                        <a:t>Саратовская обл.</a:t>
                      </a:r>
                      <a:endParaRPr lang="ru-RU" sz="1200" b="0" dirty="0">
                        <a:latin typeface="Arial Nova Light"/>
                      </a:endParaRPr>
                    </a:p>
                  </a:txBody>
                  <a:tcPr marT="18000" marB="18000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200" b="1" dirty="0">
                          <a:solidFill>
                            <a:schemeClr val="tx2"/>
                          </a:solidFill>
                          <a:latin typeface="Arial Nova Light"/>
                        </a:rPr>
                        <a:t>15</a:t>
                      </a:r>
                    </a:p>
                  </a:txBody>
                  <a:tcPr marT="18000" marB="18000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10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latin typeface="Arial Nova Light"/>
                        </a:rPr>
                        <a:t>9</a:t>
                      </a:r>
                    </a:p>
                  </a:txBody>
                  <a:tcPr marL="36000" marR="0" marT="18000" marB="18000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solidFill>
                            <a:srgbClr val="000000"/>
                          </a:solidFill>
                          <a:latin typeface="Arial Nova Light"/>
                        </a:rPr>
                        <a:t>Белгородская обл.</a:t>
                      </a:r>
                      <a:endParaRPr lang="ru-RU" sz="1200" b="0" dirty="0">
                        <a:latin typeface="Arial Nova Light"/>
                      </a:endParaRPr>
                    </a:p>
                  </a:txBody>
                  <a:tcPr marT="18000" marB="18000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200" b="1" dirty="0">
                          <a:solidFill>
                            <a:schemeClr val="tx2"/>
                          </a:solidFill>
                          <a:latin typeface="Arial Nova Light"/>
                        </a:rPr>
                        <a:t>16</a:t>
                      </a:r>
                    </a:p>
                  </a:txBody>
                  <a:tcPr marT="18000" marB="18000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10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latin typeface="Arial Nova Light"/>
                        </a:rPr>
                        <a:t>10</a:t>
                      </a:r>
                    </a:p>
                  </a:txBody>
                  <a:tcPr marL="36000" marR="0" marT="18000" marB="18000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solidFill>
                            <a:srgbClr val="000000"/>
                          </a:solidFill>
                          <a:latin typeface="Arial Nova Light"/>
                        </a:rPr>
                        <a:t>Свердловская обл.</a:t>
                      </a:r>
                      <a:endParaRPr lang="ru-RU" sz="1200" b="0" dirty="0">
                        <a:latin typeface="Arial Nova Light"/>
                      </a:endParaRPr>
                    </a:p>
                  </a:txBody>
                  <a:tcPr marT="18000" marB="18000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200" b="1" dirty="0">
                          <a:solidFill>
                            <a:schemeClr val="tx2"/>
                          </a:solidFill>
                          <a:latin typeface="Arial Nova Light"/>
                        </a:rPr>
                        <a:t>16</a:t>
                      </a:r>
                    </a:p>
                  </a:txBody>
                  <a:tcPr marT="18000" marB="18000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10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solidFill>
                            <a:srgbClr val="000000"/>
                          </a:solidFill>
                          <a:latin typeface="Arial Nova Light"/>
                        </a:rPr>
                        <a:t>11</a:t>
                      </a:r>
                    </a:p>
                  </a:txBody>
                  <a:tcPr marL="36000" marR="0" marT="18000" marB="18000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solidFill>
                            <a:srgbClr val="000000"/>
                          </a:solidFill>
                          <a:latin typeface="Arial Nova Light"/>
                        </a:rPr>
                        <a:t>Калужская обл.</a:t>
                      </a:r>
                    </a:p>
                  </a:txBody>
                  <a:tcPr marT="18000" marB="18000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200" b="1" dirty="0">
                          <a:solidFill>
                            <a:schemeClr val="tx2"/>
                          </a:solidFill>
                          <a:latin typeface="Arial Nova Light"/>
                        </a:rPr>
                        <a:t>12</a:t>
                      </a:r>
                    </a:p>
                  </a:txBody>
                  <a:tcPr marT="18000" marB="18000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10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solidFill>
                            <a:srgbClr val="000000"/>
                          </a:solidFill>
                          <a:latin typeface="Arial Nova Light"/>
                        </a:rPr>
                        <a:t>12</a:t>
                      </a:r>
                    </a:p>
                  </a:txBody>
                  <a:tcPr marL="36000" marR="0" marT="18000" marB="18000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solidFill>
                            <a:srgbClr val="000000"/>
                          </a:solidFill>
                          <a:latin typeface="Arial Nova Light"/>
                        </a:rPr>
                        <a:t>Рязанская обл.</a:t>
                      </a:r>
                    </a:p>
                  </a:txBody>
                  <a:tcPr marT="18000" marB="18000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200" b="1" dirty="0">
                          <a:solidFill>
                            <a:schemeClr val="tx2"/>
                          </a:solidFill>
                          <a:latin typeface="Arial Nova Light"/>
                        </a:rPr>
                        <a:t>10</a:t>
                      </a:r>
                    </a:p>
                  </a:txBody>
                  <a:tcPr marT="18000" marB="18000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10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solidFill>
                            <a:srgbClr val="000000"/>
                          </a:solidFill>
                          <a:latin typeface="Arial Nova Light"/>
                        </a:rPr>
                        <a:t>13</a:t>
                      </a:r>
                    </a:p>
                  </a:txBody>
                  <a:tcPr marL="36000" marR="0" marT="18000" marB="18000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solidFill>
                            <a:srgbClr val="000000"/>
                          </a:solidFill>
                          <a:latin typeface="Arial Nova Light"/>
                        </a:rPr>
                        <a:t>Краснодарский край</a:t>
                      </a:r>
                    </a:p>
                  </a:txBody>
                  <a:tcPr marT="18000" marB="18000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200" b="1" dirty="0">
                          <a:solidFill>
                            <a:schemeClr val="tx2"/>
                          </a:solidFill>
                          <a:latin typeface="Arial Nova Light"/>
                        </a:rPr>
                        <a:t>19</a:t>
                      </a:r>
                    </a:p>
                  </a:txBody>
                  <a:tcPr marT="18000" marB="18000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10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solidFill>
                            <a:srgbClr val="000000"/>
                          </a:solidFill>
                          <a:latin typeface="Arial Nova Light"/>
                        </a:rPr>
                        <a:t>14</a:t>
                      </a:r>
                    </a:p>
                  </a:txBody>
                  <a:tcPr marL="36000" marR="0" marT="18000" marB="18000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solidFill>
                            <a:srgbClr val="000000"/>
                          </a:solidFill>
                          <a:latin typeface="Arial Nova Light"/>
                        </a:rPr>
                        <a:t>Ставропольский край</a:t>
                      </a:r>
                    </a:p>
                  </a:txBody>
                  <a:tcPr marT="18000" marB="18000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200" b="1" dirty="0">
                          <a:solidFill>
                            <a:schemeClr val="tx2"/>
                          </a:solidFill>
                          <a:latin typeface="Arial Nova Light"/>
                        </a:rPr>
                        <a:t>14</a:t>
                      </a:r>
                    </a:p>
                  </a:txBody>
                  <a:tcPr marT="18000" marB="18000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010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solidFill>
                            <a:srgbClr val="000000"/>
                          </a:solidFill>
                          <a:latin typeface="Arial Nova Light"/>
                        </a:rPr>
                        <a:t>15</a:t>
                      </a:r>
                    </a:p>
                  </a:txBody>
                  <a:tcPr marL="36000" marR="0" marT="18000" marB="18000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err="1">
                          <a:solidFill>
                            <a:srgbClr val="000000"/>
                          </a:solidFill>
                          <a:latin typeface="Arial Nova Light"/>
                        </a:rPr>
                        <a:t>Респ</a:t>
                      </a:r>
                      <a:r>
                        <a:rPr lang="ru-RU" sz="1200" b="0" dirty="0">
                          <a:solidFill>
                            <a:srgbClr val="000000"/>
                          </a:solidFill>
                          <a:latin typeface="Arial Nova Light"/>
                        </a:rPr>
                        <a:t>. Мордовия</a:t>
                      </a:r>
                    </a:p>
                  </a:txBody>
                  <a:tcPr marT="18000" marB="18000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200" b="1" dirty="0">
                          <a:solidFill>
                            <a:schemeClr val="tx2"/>
                          </a:solidFill>
                          <a:latin typeface="Arial Nova Light"/>
                        </a:rPr>
                        <a:t>10</a:t>
                      </a:r>
                    </a:p>
                  </a:txBody>
                  <a:tcPr marT="18000" marB="18000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5202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latin typeface="Arial Nova Light"/>
                        </a:rPr>
                        <a:t>16</a:t>
                      </a:r>
                    </a:p>
                  </a:txBody>
                  <a:tcPr marL="36000" marR="0" marT="18000" marB="18000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err="1">
                          <a:solidFill>
                            <a:srgbClr val="000000"/>
                          </a:solidFill>
                          <a:latin typeface="Arial Nova Light"/>
                        </a:rPr>
                        <a:t>Респ</a:t>
                      </a:r>
                      <a:r>
                        <a:rPr lang="ru-RU" sz="1200" b="0" dirty="0">
                          <a:solidFill>
                            <a:srgbClr val="000000"/>
                          </a:solidFill>
                          <a:latin typeface="Arial Nova Light"/>
                        </a:rPr>
                        <a:t>.</a:t>
                      </a:r>
                      <a:r>
                        <a:rPr lang="ru-RU" sz="1200" b="0" baseline="0" dirty="0">
                          <a:solidFill>
                            <a:srgbClr val="000000"/>
                          </a:solidFill>
                          <a:latin typeface="Arial Nova Light"/>
                        </a:rPr>
                        <a:t> </a:t>
                      </a:r>
                      <a:r>
                        <a:rPr lang="ru-RU" sz="1200" b="0" dirty="0">
                          <a:solidFill>
                            <a:srgbClr val="000000"/>
                          </a:solidFill>
                          <a:latin typeface="Arial Nova Light"/>
                        </a:rPr>
                        <a:t>Чувашская </a:t>
                      </a:r>
                      <a:endParaRPr lang="ru-RU" sz="1200" b="0" dirty="0">
                        <a:latin typeface="Arial Nova Light"/>
                      </a:endParaRPr>
                    </a:p>
                  </a:txBody>
                  <a:tcPr marT="18000" marB="18000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200" b="1" dirty="0">
                          <a:solidFill>
                            <a:schemeClr val="tx2"/>
                          </a:solidFill>
                          <a:latin typeface="Arial Nova Light"/>
                        </a:rPr>
                        <a:t>12</a:t>
                      </a:r>
                    </a:p>
                  </a:txBody>
                  <a:tcPr marT="18000" marB="18000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graphicFrame>
        <p:nvGraphicFramePr>
          <p:cNvPr id="276" name="Таблица 9">
            <a:extLst>
              <a:ext uri="{FF2B5EF4-FFF2-40B4-BE49-F238E27FC236}">
                <a16:creationId xmlns:a16="http://schemas.microsoft.com/office/drawing/2014/main" id="{143F9B73-54F3-4C2E-A757-B46BDDF77D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3355794"/>
              </p:ext>
            </p:extLst>
          </p:nvPr>
        </p:nvGraphicFramePr>
        <p:xfrm>
          <a:off x="3424432" y="802925"/>
          <a:ext cx="2518421" cy="3101362"/>
        </p:xfrm>
        <a:graphic>
          <a:graphicData uri="http://schemas.openxmlformats.org/drawingml/2006/table">
            <a:tbl>
              <a:tblPr firstRow="1" bandRow="1"/>
              <a:tblGrid>
                <a:gridCol w="2697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987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498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79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400" b="0" kern="1200" dirty="0">
                          <a:solidFill>
                            <a:srgbClr val="000000"/>
                          </a:solidFill>
                          <a:latin typeface="Arial Nova Ligh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36000" marR="0" marT="34291" marB="3429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400" b="0" kern="1200" dirty="0">
                          <a:solidFill>
                            <a:srgbClr val="000000"/>
                          </a:solidFill>
                          <a:latin typeface="Arial Nova Light"/>
                          <a:ea typeface="+mn-ea"/>
                          <a:cs typeface="+mn-cs"/>
                        </a:rPr>
                        <a:t>Ярославская обл.           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400" b="1" kern="1200" dirty="0">
                          <a:solidFill>
                            <a:schemeClr val="tx2"/>
                          </a:solidFill>
                          <a:latin typeface="Arial Nova Ligh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021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>
                          <a:solidFill>
                            <a:srgbClr val="000000"/>
                          </a:solidFill>
                          <a:latin typeface="Arial Nova Light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marL="36000" marR="0" marT="34291" marB="3429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>
                          <a:solidFill>
                            <a:srgbClr val="000000"/>
                          </a:solidFill>
                          <a:latin typeface="Arial Nova Light"/>
                          <a:ea typeface="+mn-ea"/>
                          <a:cs typeface="+mn-cs"/>
                        </a:rPr>
                        <a:t>Алтайский край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chemeClr val="tx2"/>
                          </a:solidFill>
                          <a:latin typeface="Arial Nova Ligh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14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>
                          <a:solidFill>
                            <a:srgbClr val="000000"/>
                          </a:solidFill>
                          <a:latin typeface="Arial Nova Light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marL="36000" marR="0" marT="34291" marB="3429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>
                          <a:solidFill>
                            <a:srgbClr val="000000"/>
                          </a:solidFill>
                          <a:latin typeface="Arial Nova Light"/>
                          <a:ea typeface="+mn-ea"/>
                          <a:cs typeface="+mn-cs"/>
                        </a:rPr>
                        <a:t>Томская обл.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chemeClr val="tx2"/>
                          </a:solidFill>
                          <a:latin typeface="Arial Nova Ligh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14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>
                          <a:solidFill>
                            <a:srgbClr val="000000"/>
                          </a:solidFill>
                          <a:latin typeface="Arial Nova Ligh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36000" marR="0" marT="34291" marB="3429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>
                          <a:solidFill>
                            <a:srgbClr val="000000"/>
                          </a:solidFill>
                          <a:latin typeface="Arial Nova Light"/>
                          <a:ea typeface="+mn-ea"/>
                          <a:cs typeface="+mn-cs"/>
                        </a:rPr>
                        <a:t>Ивановская обл.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chemeClr val="tx2"/>
                          </a:solidFill>
                          <a:latin typeface="Arial Nova Ligh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14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>
                          <a:solidFill>
                            <a:srgbClr val="000000"/>
                          </a:solidFill>
                          <a:latin typeface="Arial Nova Light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36000" marR="0" marT="34291" marB="3429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>
                          <a:solidFill>
                            <a:srgbClr val="000000"/>
                          </a:solidFill>
                          <a:latin typeface="Arial Nova Light"/>
                          <a:ea typeface="+mn-ea"/>
                          <a:cs typeface="+mn-cs"/>
                        </a:rPr>
                        <a:t>Челябинская обл.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chemeClr val="tx2"/>
                          </a:solidFill>
                          <a:latin typeface="Arial Nova Ligh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3159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>
                          <a:solidFill>
                            <a:srgbClr val="000000"/>
                          </a:solidFill>
                          <a:latin typeface="Arial Nova Ligh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36000" marR="0" marT="34291" marB="3429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>
                          <a:solidFill>
                            <a:srgbClr val="000000"/>
                          </a:solidFill>
                          <a:latin typeface="Arial Nova Light"/>
                          <a:ea typeface="+mn-ea"/>
                          <a:cs typeface="+mn-cs"/>
                        </a:rPr>
                        <a:t>Красноярский край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chemeClr val="tx2"/>
                          </a:solidFill>
                          <a:latin typeface="Arial Nova Ligh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257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rgbClr val="000000"/>
                          </a:solidFill>
                          <a:latin typeface="Arial Nova Light"/>
                          <a:ea typeface="+mn-ea"/>
                          <a:cs typeface="+mn-cs"/>
                        </a:rPr>
                        <a:t>23</a:t>
                      </a:r>
                      <a:endParaRPr lang="ru-RU" sz="1400" b="0" kern="1200" dirty="0">
                        <a:solidFill>
                          <a:srgbClr val="000000"/>
                        </a:solidFill>
                        <a:latin typeface="Arial Nova Light"/>
                        <a:ea typeface="+mn-ea"/>
                        <a:cs typeface="+mn-cs"/>
                      </a:endParaRPr>
                    </a:p>
                  </a:txBody>
                  <a:tcPr marL="36000" marR="0" marT="34291" marB="3429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>
                          <a:solidFill>
                            <a:srgbClr val="000000"/>
                          </a:solidFill>
                          <a:latin typeface="Arial Nova Light"/>
                          <a:ea typeface="+mn-ea"/>
                          <a:cs typeface="+mn-cs"/>
                        </a:rPr>
                        <a:t>Санкт-Петербург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chemeClr val="tx2"/>
                          </a:solidFill>
                          <a:latin typeface="Arial Nova Ligh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257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rgbClr val="000000"/>
                          </a:solidFill>
                          <a:latin typeface="Arial Nova Light"/>
                          <a:ea typeface="+mn-ea"/>
                          <a:cs typeface="+mn-cs"/>
                        </a:rPr>
                        <a:t>24</a:t>
                      </a:r>
                      <a:endParaRPr lang="ru-RU" sz="1400" b="0" kern="1200" dirty="0">
                        <a:solidFill>
                          <a:srgbClr val="000000"/>
                        </a:solidFill>
                        <a:latin typeface="Arial Nova Light"/>
                        <a:ea typeface="+mn-ea"/>
                        <a:cs typeface="+mn-cs"/>
                      </a:endParaRPr>
                    </a:p>
                  </a:txBody>
                  <a:tcPr marL="36000" marR="0" marT="34291" marB="3429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>
                          <a:solidFill>
                            <a:srgbClr val="000000"/>
                          </a:solidFill>
                          <a:latin typeface="Arial Nova Light"/>
                          <a:ea typeface="+mn-ea"/>
                          <a:cs typeface="+mn-cs"/>
                        </a:rPr>
                        <a:t>Ростовская обл.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chemeClr val="tx2"/>
                          </a:solidFill>
                          <a:latin typeface="Arial Nova Ligh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257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rgbClr val="000000"/>
                          </a:solidFill>
                          <a:latin typeface="Arial Nova Light"/>
                          <a:ea typeface="+mn-ea"/>
                          <a:cs typeface="+mn-cs"/>
                        </a:rPr>
                        <a:t>25</a:t>
                      </a:r>
                      <a:endParaRPr lang="ru-RU" sz="1400" b="0" kern="1200" dirty="0">
                        <a:solidFill>
                          <a:srgbClr val="000000"/>
                        </a:solidFill>
                        <a:latin typeface="Arial Nova Light"/>
                        <a:ea typeface="+mn-ea"/>
                        <a:cs typeface="+mn-cs"/>
                      </a:endParaRPr>
                    </a:p>
                  </a:txBody>
                  <a:tcPr marL="36000" marR="0" marT="34291" marB="3429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>
                          <a:solidFill>
                            <a:srgbClr val="000000"/>
                          </a:solidFill>
                          <a:latin typeface="Arial Nova Light"/>
                          <a:ea typeface="+mn-ea"/>
                          <a:cs typeface="+mn-cs"/>
                        </a:rPr>
                        <a:t>Липецкая обл.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chemeClr val="tx2"/>
                          </a:solidFill>
                          <a:latin typeface="Arial Nova Ligh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257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rgbClr val="000000"/>
                          </a:solidFill>
                          <a:latin typeface="Arial Nova Light"/>
                          <a:ea typeface="+mn-ea"/>
                          <a:cs typeface="+mn-cs"/>
                        </a:rPr>
                        <a:t>26</a:t>
                      </a:r>
                      <a:endParaRPr lang="ru-RU" sz="1400" b="0" kern="1200" dirty="0">
                        <a:solidFill>
                          <a:srgbClr val="000000"/>
                        </a:solidFill>
                        <a:latin typeface="Arial Nova Light"/>
                        <a:ea typeface="+mn-ea"/>
                        <a:cs typeface="+mn-cs"/>
                      </a:endParaRPr>
                    </a:p>
                  </a:txBody>
                  <a:tcPr marL="36000" marR="0" marT="34291" marB="3429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>
                          <a:solidFill>
                            <a:srgbClr val="000000"/>
                          </a:solidFill>
                          <a:latin typeface="Arial Nova Light"/>
                          <a:ea typeface="+mn-ea"/>
                          <a:cs typeface="+mn-cs"/>
                        </a:rPr>
                        <a:t>Волгоградская обл.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chemeClr val="tx2"/>
                          </a:solidFill>
                          <a:latin typeface="Arial Nova Ligh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257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rgbClr val="000000"/>
                          </a:solidFill>
                          <a:latin typeface="Arial Nova Light"/>
                          <a:ea typeface="+mn-ea"/>
                          <a:cs typeface="+mn-cs"/>
                        </a:rPr>
                        <a:t>27</a:t>
                      </a:r>
                      <a:endParaRPr lang="ru-RU" sz="1400" b="0" kern="1200" dirty="0">
                        <a:solidFill>
                          <a:srgbClr val="000000"/>
                        </a:solidFill>
                        <a:latin typeface="Arial Nova Light"/>
                        <a:ea typeface="+mn-ea"/>
                        <a:cs typeface="+mn-cs"/>
                      </a:endParaRPr>
                    </a:p>
                  </a:txBody>
                  <a:tcPr marL="36000" marR="0" marT="34291" marB="3429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>
                          <a:solidFill>
                            <a:srgbClr val="000000"/>
                          </a:solidFill>
                          <a:latin typeface="Arial Nova Light"/>
                          <a:ea typeface="+mn-ea"/>
                          <a:cs typeface="+mn-cs"/>
                        </a:rPr>
                        <a:t>Владимирская обл.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chemeClr val="tx2"/>
                          </a:solidFill>
                          <a:latin typeface="Arial Nova Ligh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277" name="TextBox 276">
            <a:extLst>
              <a:ext uri="{FF2B5EF4-FFF2-40B4-BE49-F238E27FC236}">
                <a16:creationId xmlns:a16="http://schemas.microsoft.com/office/drawing/2014/main" id="{9F379649-0D01-4F13-B696-FCF69C212AE7}"/>
              </a:ext>
            </a:extLst>
          </p:cNvPr>
          <p:cNvSpPr txBox="1"/>
          <p:nvPr/>
        </p:nvSpPr>
        <p:spPr>
          <a:xfrm>
            <a:off x="382571" y="2586806"/>
            <a:ext cx="2763708" cy="23836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</a:rPr>
              <a:t>Регионы 2018</a:t>
            </a:r>
          </a:p>
        </p:txBody>
      </p:sp>
      <p:sp>
        <p:nvSpPr>
          <p:cNvPr id="278" name="TextBox 277">
            <a:extLst>
              <a:ext uri="{FF2B5EF4-FFF2-40B4-BE49-F238E27FC236}">
                <a16:creationId xmlns:a16="http://schemas.microsoft.com/office/drawing/2014/main" id="{CFEC0382-3090-49E0-893A-1197D7850ABD}"/>
              </a:ext>
            </a:extLst>
          </p:cNvPr>
          <p:cNvSpPr txBox="1"/>
          <p:nvPr/>
        </p:nvSpPr>
        <p:spPr>
          <a:xfrm>
            <a:off x="3562918" y="472291"/>
            <a:ext cx="5080495" cy="246153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</a:rPr>
              <a:t>Регионы 2019</a:t>
            </a:r>
          </a:p>
        </p:txBody>
      </p:sp>
      <p:graphicFrame>
        <p:nvGraphicFramePr>
          <p:cNvPr id="279" name="Таблица 6">
            <a:extLst>
              <a:ext uri="{FF2B5EF4-FFF2-40B4-BE49-F238E27FC236}">
                <a16:creationId xmlns:a16="http://schemas.microsoft.com/office/drawing/2014/main" id="{30003CEA-F647-4034-AD01-B91E9EF36C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7584012"/>
              </p:ext>
            </p:extLst>
          </p:nvPr>
        </p:nvGraphicFramePr>
        <p:xfrm>
          <a:off x="6205567" y="804617"/>
          <a:ext cx="2456118" cy="3002284"/>
        </p:xfrm>
        <a:graphic>
          <a:graphicData uri="http://schemas.openxmlformats.org/drawingml/2006/table">
            <a:tbl>
              <a:tblPr firstRow="1" bandRow="1"/>
              <a:tblGrid>
                <a:gridCol w="2726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430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403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002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rgbClr val="000000"/>
                          </a:solidFill>
                          <a:latin typeface="Arial Nova Light"/>
                          <a:ea typeface="+mn-ea"/>
                          <a:cs typeface="+mn-cs"/>
                        </a:rPr>
                        <a:t>28</a:t>
                      </a:r>
                      <a:endParaRPr lang="ru-RU" sz="1400" b="0" kern="1200" dirty="0">
                        <a:solidFill>
                          <a:srgbClr val="000000"/>
                        </a:solidFill>
                        <a:latin typeface="Arial Nova Light"/>
                        <a:ea typeface="+mn-ea"/>
                        <a:cs typeface="+mn-cs"/>
                      </a:endParaRPr>
                    </a:p>
                  </a:txBody>
                  <a:tcPr marL="36000" marR="0" marT="34291" marB="34291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>
                          <a:solidFill>
                            <a:srgbClr val="000000"/>
                          </a:solidFill>
                          <a:latin typeface="Arial Nova Light"/>
                          <a:ea typeface="+mn-ea"/>
                          <a:cs typeface="+mn-cs"/>
                        </a:rPr>
                        <a:t>Пензенская обл.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chemeClr val="tx2"/>
                          </a:solidFill>
                          <a:latin typeface="Arial Nova Ligh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3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rgbClr val="000000"/>
                          </a:solidFill>
                          <a:latin typeface="Arial Nova Light"/>
                          <a:ea typeface="+mn-ea"/>
                          <a:cs typeface="+mn-cs"/>
                        </a:rPr>
                        <a:t>29</a:t>
                      </a:r>
                      <a:endParaRPr lang="ru-RU" sz="1400" b="0" kern="1200" dirty="0">
                        <a:solidFill>
                          <a:srgbClr val="000000"/>
                        </a:solidFill>
                        <a:latin typeface="Arial Nova Light"/>
                        <a:ea typeface="+mn-ea"/>
                        <a:cs typeface="+mn-cs"/>
                      </a:endParaRPr>
                    </a:p>
                  </a:txBody>
                  <a:tcPr marL="36000" marR="0" marT="34291" marB="34291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 err="1">
                          <a:solidFill>
                            <a:srgbClr val="000000"/>
                          </a:solidFill>
                          <a:latin typeface="Arial Nova Light"/>
                          <a:ea typeface="+mn-ea"/>
                          <a:cs typeface="+mn-cs"/>
                        </a:rPr>
                        <a:t>Респ</a:t>
                      </a:r>
                      <a:r>
                        <a:rPr lang="ru-RU" sz="1400" b="0" kern="1200" dirty="0">
                          <a:solidFill>
                            <a:srgbClr val="000000"/>
                          </a:solidFill>
                          <a:latin typeface="Arial Nova Light"/>
                          <a:ea typeface="+mn-ea"/>
                          <a:cs typeface="+mn-cs"/>
                        </a:rPr>
                        <a:t>. Удмуртия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chemeClr val="tx2"/>
                          </a:solidFill>
                          <a:latin typeface="Arial Nova Ligh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3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latin typeface="Arial Nova Light"/>
                        </a:rPr>
                        <a:t>30</a:t>
                      </a:r>
                    </a:p>
                  </a:txBody>
                  <a:tcPr marL="36000" marR="0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solidFill>
                            <a:srgbClr val="000000"/>
                          </a:solidFill>
                          <a:latin typeface="Arial Nova Light"/>
                        </a:rPr>
                        <a:t>Калининград</a:t>
                      </a:r>
                      <a:endParaRPr lang="ru-RU" sz="1400" b="0" dirty="0">
                        <a:latin typeface="Arial Nova Light"/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ru-RU" sz="1400" b="1" dirty="0">
                          <a:solidFill>
                            <a:schemeClr val="tx2"/>
                          </a:solidFill>
                          <a:latin typeface="Arial Nova Light"/>
                        </a:rPr>
                        <a:t>5</a:t>
                      </a: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43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latin typeface="Arial Nova Light"/>
                        </a:rPr>
                        <a:t>31</a:t>
                      </a:r>
                    </a:p>
                  </a:txBody>
                  <a:tcPr marL="36000" marR="0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solidFill>
                            <a:srgbClr val="000000"/>
                          </a:solidFill>
                          <a:latin typeface="Arial Nova Light"/>
                        </a:rPr>
                        <a:t>Тамбовская обл.</a:t>
                      </a:r>
                      <a:endParaRPr lang="ru-RU" sz="1400" b="0" dirty="0">
                        <a:latin typeface="Arial Nova Light"/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ru-RU" sz="1400" b="1" dirty="0">
                          <a:solidFill>
                            <a:schemeClr val="tx2"/>
                          </a:solidFill>
                          <a:latin typeface="Arial Nova Light"/>
                        </a:rPr>
                        <a:t>4</a:t>
                      </a: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43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latin typeface="Arial Nova Light"/>
                        </a:rPr>
                        <a:t>32</a:t>
                      </a:r>
                    </a:p>
                  </a:txBody>
                  <a:tcPr marL="36000" marR="0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err="1">
                          <a:latin typeface="Arial Nova Light"/>
                        </a:rPr>
                        <a:t>Респ</a:t>
                      </a:r>
                      <a:r>
                        <a:rPr lang="ru-RU" sz="1400" b="0" dirty="0">
                          <a:latin typeface="Arial Nova Light"/>
                        </a:rPr>
                        <a:t>. Бурятия</a:t>
                      </a: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ru-RU" sz="1400" b="1" dirty="0">
                          <a:solidFill>
                            <a:schemeClr val="tx2"/>
                          </a:solidFill>
                          <a:latin typeface="Arial Nova Light"/>
                        </a:rPr>
                        <a:t>4</a:t>
                      </a: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43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solidFill>
                            <a:srgbClr val="000000"/>
                          </a:solidFill>
                          <a:latin typeface="Arial Nova Light"/>
                        </a:rPr>
                        <a:t>33</a:t>
                      </a:r>
                    </a:p>
                  </a:txBody>
                  <a:tcPr marL="36000" marR="0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solidFill>
                            <a:srgbClr val="000000"/>
                          </a:solidFill>
                          <a:latin typeface="Arial Nova Light"/>
                        </a:rPr>
                        <a:t>Кемеровская обл.</a:t>
                      </a: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ru-RU" sz="1400" b="1" dirty="0">
                          <a:solidFill>
                            <a:schemeClr val="tx2"/>
                          </a:solidFill>
                          <a:latin typeface="Arial Nova Light"/>
                        </a:rPr>
                        <a:t>5</a:t>
                      </a: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43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solidFill>
                            <a:srgbClr val="000000"/>
                          </a:solidFill>
                          <a:latin typeface="Arial Nova Light"/>
                        </a:rPr>
                        <a:t>34</a:t>
                      </a:r>
                    </a:p>
                  </a:txBody>
                  <a:tcPr marL="36000" marR="0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err="1">
                          <a:solidFill>
                            <a:srgbClr val="000000"/>
                          </a:solidFill>
                          <a:latin typeface="Arial Nova Light"/>
                        </a:rPr>
                        <a:t>Респ</a:t>
                      </a:r>
                      <a:r>
                        <a:rPr lang="ru-RU" sz="1400" b="0" dirty="0">
                          <a:solidFill>
                            <a:srgbClr val="000000"/>
                          </a:solidFill>
                          <a:latin typeface="Arial Nova Light"/>
                        </a:rPr>
                        <a:t>. Крым</a:t>
                      </a: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ru-RU" sz="1400" b="1" dirty="0">
                          <a:solidFill>
                            <a:schemeClr val="tx2"/>
                          </a:solidFill>
                          <a:latin typeface="Arial Nova Light"/>
                        </a:rPr>
                        <a:t>4</a:t>
                      </a: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43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solidFill>
                            <a:srgbClr val="000000"/>
                          </a:solidFill>
                          <a:latin typeface="Arial Nova Light"/>
                        </a:rPr>
                        <a:t>35</a:t>
                      </a:r>
                    </a:p>
                  </a:txBody>
                  <a:tcPr marL="36000" marR="0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solidFill>
                            <a:srgbClr val="000000"/>
                          </a:solidFill>
                          <a:latin typeface="Arial Nova Light"/>
                        </a:rPr>
                        <a:t>Новгородская обл.</a:t>
                      </a: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ru-RU" sz="1400" b="1" dirty="0">
                          <a:solidFill>
                            <a:schemeClr val="tx2"/>
                          </a:solidFill>
                          <a:latin typeface="Arial Nova Light"/>
                        </a:rPr>
                        <a:t>5</a:t>
                      </a: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743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solidFill>
                            <a:srgbClr val="000000"/>
                          </a:solidFill>
                          <a:latin typeface="Arial Nova Light"/>
                        </a:rPr>
                        <a:t>36</a:t>
                      </a:r>
                    </a:p>
                  </a:txBody>
                  <a:tcPr marL="36000" marR="0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solidFill>
                            <a:srgbClr val="000000"/>
                          </a:solidFill>
                          <a:latin typeface="Arial Nova Light"/>
                        </a:rPr>
                        <a:t>ЯНАО</a:t>
                      </a: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ru-RU" sz="1400" b="1" dirty="0">
                          <a:solidFill>
                            <a:schemeClr val="tx2"/>
                          </a:solidFill>
                          <a:latin typeface="Arial Nova Light"/>
                        </a:rPr>
                        <a:t>4</a:t>
                      </a: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2751098"/>
                  </a:ext>
                </a:extLst>
              </a:tr>
              <a:tr h="2743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solidFill>
                            <a:srgbClr val="000000"/>
                          </a:solidFill>
                          <a:latin typeface="Arial Nova Light"/>
                        </a:rPr>
                        <a:t>37</a:t>
                      </a:r>
                    </a:p>
                  </a:txBody>
                  <a:tcPr marL="36000" marR="0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solidFill>
                            <a:srgbClr val="000000"/>
                          </a:solidFill>
                          <a:latin typeface="Arial Nova Light"/>
                        </a:rPr>
                        <a:t>Курганская обл.</a:t>
                      </a: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ru-RU" sz="1400" b="1" dirty="0">
                          <a:solidFill>
                            <a:schemeClr val="tx2"/>
                          </a:solidFill>
                          <a:latin typeface="Arial Nova Light"/>
                        </a:rPr>
                        <a:t>2</a:t>
                      </a: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4579764"/>
                  </a:ext>
                </a:extLst>
              </a:tr>
            </a:tbl>
          </a:graphicData>
        </a:graphic>
      </p:graphicFrame>
      <p:sp>
        <p:nvSpPr>
          <p:cNvPr id="280" name="TextBox 279">
            <a:extLst>
              <a:ext uri="{FF2B5EF4-FFF2-40B4-BE49-F238E27FC236}">
                <a16:creationId xmlns:a16="http://schemas.microsoft.com/office/drawing/2014/main" id="{95CA8C42-D008-481D-AC73-B7F0E91C19C7}"/>
              </a:ext>
            </a:extLst>
          </p:cNvPr>
          <p:cNvSpPr txBox="1"/>
          <p:nvPr/>
        </p:nvSpPr>
        <p:spPr>
          <a:xfrm>
            <a:off x="3541052" y="3988768"/>
            <a:ext cx="5080495" cy="246153"/>
          </a:xfrm>
          <a:prstGeom prst="roundRect">
            <a:avLst/>
          </a:prstGeom>
          <a:solidFill>
            <a:srgbClr val="E8496D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Регионы 2020 </a:t>
            </a:r>
            <a:r>
              <a:rPr kumimoji="0" lang="ru-RU" sz="12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(январь)</a:t>
            </a:r>
            <a:endParaRPr kumimoji="0" lang="ru-RU" sz="140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</a:endParaRPr>
          </a:p>
        </p:txBody>
      </p:sp>
      <p:graphicFrame>
        <p:nvGraphicFramePr>
          <p:cNvPr id="281" name="Таблица 9">
            <a:extLst>
              <a:ext uri="{FF2B5EF4-FFF2-40B4-BE49-F238E27FC236}">
                <a16:creationId xmlns:a16="http://schemas.microsoft.com/office/drawing/2014/main" id="{C8F955BB-64CE-455A-A390-992037D1B9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9820168"/>
              </p:ext>
            </p:extLst>
          </p:nvPr>
        </p:nvGraphicFramePr>
        <p:xfrm>
          <a:off x="3708850" y="4266641"/>
          <a:ext cx="2248684" cy="563884"/>
        </p:xfrm>
        <a:graphic>
          <a:graphicData uri="http://schemas.openxmlformats.org/drawingml/2006/table">
            <a:tbl>
              <a:tblPr firstRow="1" bandRow="1"/>
              <a:tblGrid>
                <a:gridCol w="17987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498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79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400" b="0" kern="1200" dirty="0">
                          <a:solidFill>
                            <a:srgbClr val="000000"/>
                          </a:solidFill>
                          <a:latin typeface="Arial Nova Light"/>
                          <a:ea typeface="+mn-ea"/>
                          <a:cs typeface="+mn-cs"/>
                        </a:rPr>
                        <a:t>Московская обл.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400" b="1" kern="1200" dirty="0">
                          <a:solidFill>
                            <a:srgbClr val="A6A6A6"/>
                          </a:solidFill>
                          <a:latin typeface="Arial Nova Ligh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021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>
                          <a:solidFill>
                            <a:srgbClr val="000000"/>
                          </a:solidFill>
                          <a:latin typeface="Arial Nova Light"/>
                          <a:ea typeface="+mn-ea"/>
                          <a:cs typeface="+mn-cs"/>
                        </a:rPr>
                        <a:t>Новосибирская обл.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rgbClr val="A6A6A6"/>
                          </a:solidFill>
                          <a:latin typeface="Arial Nova Ligh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282" name="Таблица 9">
            <a:extLst>
              <a:ext uri="{FF2B5EF4-FFF2-40B4-BE49-F238E27FC236}">
                <a16:creationId xmlns:a16="http://schemas.microsoft.com/office/drawing/2014/main" id="{AB490CD0-350B-4FF4-B43D-639EA5654B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0861554"/>
              </p:ext>
            </p:extLst>
          </p:nvPr>
        </p:nvGraphicFramePr>
        <p:xfrm>
          <a:off x="6353427" y="4266641"/>
          <a:ext cx="2248684" cy="563884"/>
        </p:xfrm>
        <a:graphic>
          <a:graphicData uri="http://schemas.openxmlformats.org/drawingml/2006/table">
            <a:tbl>
              <a:tblPr firstRow="1" bandRow="1"/>
              <a:tblGrid>
                <a:gridCol w="17987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498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79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400" b="0" kern="1200" dirty="0">
                          <a:solidFill>
                            <a:srgbClr val="000000"/>
                          </a:solidFill>
                          <a:latin typeface="Arial Nova Light"/>
                          <a:ea typeface="+mn-ea"/>
                          <a:cs typeface="+mn-cs"/>
                        </a:rPr>
                        <a:t>Ленинградская обл.           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400" b="1" kern="1200" dirty="0">
                          <a:solidFill>
                            <a:srgbClr val="A6A6A6"/>
                          </a:solidFill>
                          <a:latin typeface="Arial Nova Ligh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021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>
                          <a:solidFill>
                            <a:srgbClr val="000000"/>
                          </a:solidFill>
                          <a:latin typeface="Arial Nova Light"/>
                          <a:ea typeface="+mn-ea"/>
                          <a:cs typeface="+mn-cs"/>
                        </a:rPr>
                        <a:t>Воронежская обл.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rgbClr val="A6A6A6"/>
                          </a:solidFill>
                          <a:latin typeface="Arial Nova Ligh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T="34291" marB="3429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83" name="Заголовок 6">
            <a:extLst>
              <a:ext uri="{FF2B5EF4-FFF2-40B4-BE49-F238E27FC236}">
                <a16:creationId xmlns:a16="http://schemas.microsoft.com/office/drawing/2014/main" id="{C2E90C53-527D-429E-A9BB-AD4BC054CD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7247" y="0"/>
            <a:ext cx="8634256" cy="55753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US" sz="2000" b="1" dirty="0"/>
              <a:t>431</a:t>
            </a:r>
            <a:r>
              <a:rPr lang="ru-RU" sz="2000" b="1" dirty="0"/>
              <a:t>предприятие участвует в Проекте совместно с ФЦК</a:t>
            </a:r>
          </a:p>
        </p:txBody>
      </p:sp>
    </p:spTree>
    <p:extLst>
      <p:ext uri="{BB962C8B-B14F-4D97-AF65-F5344CB8AC3E}">
        <p14:creationId xmlns:p14="http://schemas.microsoft.com/office/powerpoint/2010/main" val="9300449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oYHWlGskClxoLZ2HrNE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lME6r6DUeMDfatGGVPN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RZ3vUYgkq.kY_.kd02hQ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sumgn4Ek6zIaQrdpetTg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b8BC6WnkOR2qzo1O24vg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JTYpdF7EiqihV0BB2cIg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yv6lrjf0S6dov2GkOlrQ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Nf4G7dTxkSQJ1sprrKnww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5ZLgHYHUurwOq8T8xr_Q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Lu8jgrbUuZbkfWtTgmdA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hr07b7rkinXxX3H3a3.Q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DzsoorIkOYKz4L7lPbNg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ZPauyROk.zQTfFM2mrz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FJy0eizUidn.nXb3A7XA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uyWzFLoECJzqQZ60fUjg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Yv7ihXeEmPYuVkvZXZgA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7GwRPAF02HM.x.lkoLAw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YNZkrCpkOxu_.7XRy01g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sumgn4Ek6zIaQrdpetTg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b8BC6WnkOR2qzo1O24vg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ih_G2aoUusrnkc9WTBcw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HdMsKEO0yxRi5C0HbYRA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PEDURC8EOkD2KkmoaABw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TiT5F200WpYSOt70gTz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XvVEcdYE.0zp2A2P6oJg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aNcCCF0uyGf9ATjdylw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xI6ng3Lkq5CFiA.8kVnA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pCGbyQZkaTNZwHTmGQmg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JTYpdF7EiqihV0BB2cIg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JTYpdF7EiqihV0BB2cIg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5ZLgHYHUurwOq8T8xr_Q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Lu8jgrbUuZbkfWtTgmdA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GXDUDbjUaoflxSRsIlmw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ih_G2aoUusrnkc9WTBc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HdMsKEO0yxRi5C0HbYRA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PEDURC8EOkD2KkmoaABw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FnNDUCe0qTQ2fITgWz4w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or6LK4KEC5IITP7HVWtw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2yhB833kiGn0nHDb41Tg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TiT5F200WpYSOt70gTzA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hr07b7rkinXxX3H3a3.Q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DzsoorIkOYKz4L7lPbNg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XvVEcdYE.0zp2A2P6oJg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aNcCCF0uyGf9ATjdyl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f8nNqSW0qEP8wrPNFE2g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xI6ng3Lkq5CFiA.8kVnA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PuMB5jkk6u6kAb2o.iMA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rS7A5rEU2IeKXMxQgXIQ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pCGbyQZkaTNZwHTmGQmg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t5PhGM1U6NZQqhjXol3Q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qG_3XJPkiJnDXoW5jkhA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7GwRPAF02HM.x.lkoLAw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YNZkrCpkOxu_.7XRy01g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sumgn4Ek6zIaQrdpetTg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t8B8x4rUuaVthHblA95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JGqa7aPkSEDVkL2K2aNQ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y1uG15u0eZHdDNRMH2jg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saI6aKo0KvgGOBV6gQbg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U2mp2UDkaoysdKJomoeA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b8BC6WnkOR2qzo1O24vg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ZPauyROk.zQTfFM2mrzA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GXDUDbjUaoflxSRsIlmw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yv6lrjf0S6dov2GkOlrQ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c8XxR1g0O5A6Y5tbvOyw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uyWzFLoECJzqQZ60fUjg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Yv7ihXeEmPYuVkvZXZg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U9cxjIaE68w2A3oVfREg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hsFMTEuUe36R3Zv1LJeA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n8V0w3Eeu5et5yhDDeA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Z8bNXYe0OiylKVBLC47g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YLyIELBkqghg.D86i4qA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a0g4XWgUaGVsIkdWXpIA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eRHluHnUSQzeBFgp7AEQ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4rOrHz8o0iCKja1bOIbkg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0kWcSUTCEO7Vvr4oZqB4w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pCZbnWIEaGEZ.ujqyDfw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l6y.j69EqoaSbD27e8p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HhSY5B9kS_ctIY36Idfw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A2ilH7OESr2oSQ51zYzQ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mri5F9DU2_ikyQuk_M3w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nkbJkKZEOiU4aifFsXJw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zHaZcE4Eu845OGZsTKPQ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47uObos1ky8aPbD68dJvw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3qWUXqeUaOciwIcsRXGA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w5DH4H9UKkTL3App70Vw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cBY9UDGU.JUMkkhmPq4w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oQ1oeNeU.KOka6WeofHg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DH8F9D5EqazaJV1uUBd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dSkDa43EObVlYynzAloQ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HUwBIVkKdADkfV_tTjg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emRcHVVEq2hkhoIuCo1A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nAvGzJcEilIouhxf4NxQ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8ieJUmb0eYbj17MeDmQQ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N2BcStwE6q4nXwSwLOtA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iw9C0ap0.ibqh7bCLnNA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tQ6XnxekWXhgE7emnqKg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VHu.cEK0SyHE7FncW.Zw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t9wv72YkWLeKwzeXnbp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yEtHQ_vEqpECJBleERCQ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JTYpdF7EiqihV0BB2cIg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uyWzFLoECJzqQZ60fUjg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qBHcTrfkiMHpKk69aHjQ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brXagyo0GkuC7Oz0vWzQ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4Tsr0RNUSGqCjf.m0RVA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QoZ4aqA0iBgW36yVunJQ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IKHPGwKUCUQmI8xPHQJg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3CLtBysUaGs_nBChQu_Q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UZollZCkKQBmOGK3_Tzw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_pG6McwokWN_yRtd4jP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1MW76AT06kcbygN54tX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35L2bJZUidQJvAYVPQNw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2LS.v0.UWrf6soQJyc3A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VsYPibyUOt7KMOIajYtg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uyU_B97kCx1Kv7WCxqkA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lYYHfgF02CA8O_w0JR.w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FnNDUCe0qTQ2fITgWz4w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or6LK4KEC5IITP7HVWtw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2yhB833kiGn0nHDb41Tg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DExmvki1UOJpwhgbBj91g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U5sbavq0esXGtWwanapA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m4aCUgzESHBTBOBc0T3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CvV5sVdECpjcP.lZuhGQ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3ZiZzYYECNVlAvD9AvWA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UA4ECeC0C2v4zt1giX_Q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VsYPibyUOt7KMOIajYtg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uyU_B97kCx1Kv7WCxqkA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6Dzx6aP0qqq.DrmyDV7Q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UKR_GRPU.1q1ao20Bpqw"/>
</p:tagLst>
</file>

<file path=ppt/tags/tag1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0XDApIL60qGsCxNwfgXWA"/>
</p:tagLst>
</file>

<file path=ppt/tags/tag1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HKWm58S0Gq9puaScpnnA"/>
</p:tagLst>
</file>

<file path=ppt/tags/tag1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kuJifjjECrzu0ovIvjPg"/>
</p:tagLst>
</file>

<file path=ppt/tags/tag1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8hi9Bq.wk.VeY0dXMfq_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BjQDaIHkKRv0y92oxDGA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5NyX0zvk.ss0Uky3VUTw"/>
</p:tagLst>
</file>

<file path=ppt/tags/tag1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sxTWNOU0WtFBFsYfQahA"/>
</p:tagLst>
</file>

<file path=ppt/tags/tag1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mktgcdMEWdsG59Qmp6_w"/>
</p:tagLst>
</file>

<file path=ppt/tags/tag1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A2sgD1bUuBkENwBDH4wA"/>
</p:tagLst>
</file>

<file path=ppt/tags/tag1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MELUMSMk2j5y7zEdKblg"/>
</p:tagLst>
</file>

<file path=ppt/tags/tag1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HIc1JVPkOvQOvV0N7NJg"/>
</p:tagLst>
</file>

<file path=ppt/tags/tag1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LG0DiqqE2LKB13iORlsQ"/>
</p:tagLst>
</file>

<file path=ppt/tags/tag1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0.pYowwUyTSw49ony_7Q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T.cAysoU.7ChoPg5SQMw"/>
</p:tagLst>
</file>

<file path=ppt/tags/tag1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mktgcdMEWdsG59Qmp6_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fJob4YhEysV9.cIvjT0Q"/>
</p:tagLst>
</file>

<file path=ppt/tags/tag1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A2sgD1bUuBkENwBDH4wA"/>
</p:tagLst>
</file>

<file path=ppt/tags/tag1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3P0xOyxEmxlN.OfHUoyA"/>
</p:tagLst>
</file>

<file path=ppt/tags/tag1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NVbWotQUOjj0v4r1yrBQ"/>
</p:tagLst>
</file>

<file path=ppt/tags/tag1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FnNDUCe0qTQ2fITgWz4w"/>
</p:tagLst>
</file>

<file path=ppt/tags/tag1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or6LK4KEC5IITP7HVWtw"/>
</p:tagLst>
</file>

<file path=ppt/tags/tag1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FnNDUCe0qTQ2fITgWz4w"/>
</p:tagLst>
</file>

<file path=ppt/tags/tag1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or6LK4KEC5IITP7HVWtw"/>
</p:tagLst>
</file>

<file path=ppt/tags/tag1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FnNDUCe0qTQ2fITgWz4w"/>
</p:tagLst>
</file>

<file path=ppt/tags/tag1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or6LK4KEC5IITP7HVWtw"/>
</p:tagLst>
</file>

<file path=ppt/tags/tag1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47uObos1ky8aPbD68dJv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HG1G0FDkSCO0D_hZrSJA"/>
</p:tagLst>
</file>

<file path=ppt/tags/tag1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JTYpdF7EiqihV0BB2cIg"/>
</p:tagLst>
</file>

<file path=ppt/tags/tag1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5ZLgHYHUurwOq8T8xr_Q"/>
</p:tagLst>
</file>

<file path=ppt/tags/tag1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Lu8jgrbUuZbkfWtTgmdA"/>
</p:tagLst>
</file>

<file path=ppt/tags/tag1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t8B8x4rUuaVthHblA95g"/>
</p:tagLst>
</file>

<file path=ppt/tags/tag1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y1uG15u0eZHdDNRMH2jg"/>
</p:tagLst>
</file>

<file path=ppt/tags/tag1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ZPauyROk.zQTfFM2mrzA"/>
</p:tagLst>
</file>

<file path=ppt/tags/tag1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yv6lrjf0S6dov2GkOlrQ"/>
</p:tagLst>
</file>

<file path=ppt/tags/tag1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uyWzFLoECJzqQZ60fUjg"/>
</p:tagLst>
</file>

<file path=ppt/tags/tag1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Yv7ihXeEmPYuVkvZXZgA"/>
</p:tagLst>
</file>

<file path=ppt/tags/tag1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eRHluHnUSQzeBFgp7AE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1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4rOrHz8o0iCKja1bOIbkg"/>
</p:tagLst>
</file>

<file path=ppt/tags/tag1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aH2l8nTGeVAy2X5tar6w"/>
</p:tagLst>
</file>

<file path=ppt/tags/tag1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mri5F9DU2_ikyQuk_M3w"/>
</p:tagLst>
</file>

<file path=ppt/tags/tag1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mri5F9DU2_ikyQuk_M3w"/>
</p:tagLst>
</file>

<file path=ppt/tags/tag1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mri5F9DU2_ikyQuk_M3w"/>
</p:tagLst>
</file>

<file path=ppt/tags/tag1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mri5F9DU2_ikyQuk_M3w"/>
</p:tagLst>
</file>

<file path=ppt/tags/tag1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mri5F9DU2_ikyQuk_M3w"/>
</p:tagLst>
</file>

<file path=ppt/tags/tag1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mri5F9DU2_ikyQuk_M3w"/>
</p:tagLst>
</file>

<file path=ppt/tags/tag1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5ZLgHYHUurwOq8T8xr_Q"/>
</p:tagLst>
</file>

<file path=ppt/tags/tag1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KRt59fQZys6C5lDsAwF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1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z6yYARSUSHtjRYj58Sbw"/>
</p:tagLst>
</file>

<file path=ppt/tags/tag1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xTJgy7RfqM4aSZXXh04w"/>
</p:tagLst>
</file>

<file path=ppt/tags/tag1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SKthHTSwu7_8sb54V.0w"/>
</p:tagLst>
</file>

<file path=ppt/tags/tag1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W1B7GQTk6FbXqyi6tHsg"/>
</p:tagLst>
</file>

<file path=ppt/tags/tag1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UZollZCkKQBmOGK3_Tzw"/>
</p:tagLst>
</file>

<file path=ppt/tags/tag1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mri5F9DU2_ikyQuk_M3w"/>
</p:tagLst>
</file>

<file path=ppt/tags/tag1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mri5F9DU2_ikyQuk_M3w"/>
</p:tagLst>
</file>

<file path=ppt/tags/tag1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KRt59fQZys6C5lDsAwFg"/>
</p:tagLst>
</file>

<file path=ppt/tags/tag1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pCZbnWIEaGEZ.ujqyDfw"/>
</p:tagLst>
</file>

<file path=ppt/tags/tag1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l6y.j69EqoaSbD27e8p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1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A2ilH7OESr2oSQ51zYzQ"/>
</p:tagLst>
</file>

<file path=ppt/tags/tag1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nkbJkKZEOiU4aifFsXJw"/>
</p:tagLst>
</file>

<file path=ppt/tags/tag1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pCZbnWIEaGEZ.ujqyDfw"/>
</p:tagLst>
</file>

<file path=ppt/tags/tag1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l6y.j69EqoaSbD27e8pA"/>
</p:tagLst>
</file>

<file path=ppt/tags/tag1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A2ilH7OESr2oSQ51zYzQ"/>
</p:tagLst>
</file>

<file path=ppt/tags/tag1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nkbJkKZEOiU4aifFsXJw"/>
</p:tagLst>
</file>

<file path=ppt/tags/tag1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7GwRPAF02HM.x.lkoLAw"/>
</p:tagLst>
</file>

<file path=ppt/tags/tag1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YNZkrCpkOxu_.7XRy01g"/>
</p:tagLst>
</file>

<file path=ppt/tags/tag1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sumgn4Ek6zIaQrdpetTg"/>
</p:tagLst>
</file>

<file path=ppt/tags/tag1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b8BC6WnkOR2qzo1O24v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pOcqcT_EuBv8Roi1Q0dA"/>
</p:tagLst>
</file>

<file path=ppt/tags/tag1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1RGwrmN0eRqDjVyL.heg"/>
</p:tagLst>
</file>

<file path=ppt/tags/tag1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sIL3ET0.IwPrgbQPElQ"/>
</p:tagLst>
</file>

<file path=ppt/tags/tag1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VcQsBgzky5T7wEK_bwfg"/>
</p:tagLst>
</file>

<file path=ppt/tags/tag1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d96vGsx0CPeeeHEjM1_g"/>
</p:tagLst>
</file>

<file path=ppt/tags/tag1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8Qos0Dgk.LvnBLEGuJWQ"/>
</p:tagLst>
</file>

<file path=ppt/tags/tag1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Ph1yXn2EaswbmejQYqUw"/>
</p:tagLst>
</file>

<file path=ppt/tags/tag1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YX1vItrUugVQRznedfoQ"/>
</p:tagLst>
</file>

<file path=ppt/tags/tag1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olrLGpvECT8HzDHk_kz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FJy0eizUidn.nXb3A7X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owhL14X0qPJ.wp6St7Z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n8IOUWCEG2Zp2rlpQei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IPqh_CBEiXKK6ukn5kO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31KIqwmk2VDEKa5KIqG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.MvTuP40KCTeoZtxJFS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yEtHQ_vEqpECJBleER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35L2bJZUidQJvAYVPQN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fJob4YhEysV9.cIvjT0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HG1G0FDkSCO0D_hZrSJ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yQxJyhd0Kc1phlm9KN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7Ri9zofU2ZbvlIVyJuE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j8oa55aECSqUkD4aLWI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0vt4YNnUGSbj33kkSRV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T1rVukAEyNlHqcFv2G0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4s.jOS0keUp.OkB284m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VcQsBgzky5T7wEK_bwf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d96vGsx0CPeeeHEjM1_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8Qos0Dgk.LvnBLEGuJW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Ph1yXn2EaswbmejQYqU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YX1vItrUugVQRznedfo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yUfYbN0E20klusbOh46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RRS_XZPkedHmxXoraP.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blnQinLnk.dFWLQiEtwl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QS7v5GlEWCCIjRjtfFI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DDG7dqe0u7DYueNR2S7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4Un687EUuHw.dgrdZzm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vcIHC3DUiy7EygQB0Zz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UDcIL7GkWuNo4FuDAi2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1bwxCsOFUq0Xk9t.Qqs8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U56aY_RkOxcTQL.GTl6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J8_ftt3UubMt6dDmLS1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OzvynzLkmRiyZy1ByK8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S3RkTx9U.Odm424XO18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TWElsDuEeiCD76U5ynl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4Ve2Y._EK91kFJlbOSP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b5uzd9UWJe_1FmtVEA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mxtt6j8kW5LoS2rn4FD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U9cxjIaE68w2A3oVfRE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HhSY5B9kS_ctIY36Idf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RZ3vUYgkq.kY_.kd02h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Ygf4JlfkCuVYpUlqECN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yEtHQ_vEqpECJBleERC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fjvLu3zEqhljJWxVqJL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35L2bJZUidQJvAYVPQN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fJob4YhEysV9.cIvjT0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HG1G0FDkSCO0D_hZrSJ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f8nNqSW0qEP8wrPNFE2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qSKjjDpLE2XaYTV2l2j6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IPqh_CBEiXKK6ukn5kO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SdST3pgk6alQWbAKG6.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n8IOUWCEG2Zp2rlpQei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1SQ1SYsl0GKsPwrX6ajz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f.5BJ.p0ylSK9moG0qM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8fT0FmDUU6SnACoro95J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neYPmhGE.RzueWI4Obp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UzCtTi.06ZXdayym3lj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Kh7gULXE2jUDuTgPPT8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mnxO.W30O6IlRhSTYhq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JGqa7aPkSEDVkL2K2aN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CGvWwRokG6PbQmzgus3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lxTy3Pbk6njlOLV5Enw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fMVVPY.UyP9TJpEpG1S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N.Rk24UUeueOkPCmfE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59VTZ9UWk.VQMbXPzM65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rKYckTcEO5Mcjc6nmAX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5BZs0SvU6E0WHiWKzbr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M0KjFSdkq0Gxqq5f8it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szgvG.B0ySHP5W_PJi.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jphvqcNE.6RKUWgTrKt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qzRn2WY0G9J18wC2kdV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0gGm1R3bEqH4lVmcQNap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tLm6k.qkq8MUiwgxR0w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paVh635UyxhtL1smbPk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nXTPcJbkKyXIFqx9zyw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5rJdgcvJ0aaUp_GCpQOT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nk7ZfkZU.AB9zBD8YUJ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tBo4iyRUe3_6wT4vODn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aeqD1dNUCUw9rW2PFqH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CGvWwRokG6PbQmzgus3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JGqa7aPkSEDVkL2K2aN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SdST3pgk6alQWbAKG6.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IPqh_CBEiXKK6ukn5kO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n8IOUWCEG2Zp2rlpQei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SdST3pgk6alQWbAKG6.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QGfduYAk.UnkRHw5pTQ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8_.bkOkESA6dx.zadWu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OyAf1Z0UaKHFbkwvFA1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VjwDpejUeKvOo3svrjc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37SMtn.E6gs2w9mocYA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fSSIceVEO_EvZzGtNkU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szgvG.B0ySHP5W_PJi.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jphvqcNE.6RKUWgTrKt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RZ3vUYgkq.kY_.kd02h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FJy0eizUidn.nXb3A7X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f8nNqSW0qEP8wrPNFE2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EVnhMqX0KtecBtc.yHv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JGqa7aPkSEDVkL2K2aN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U9cxjIaE68w2A3oVfRE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HhSY5B9kS_ctIY36Idf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yEtHQ_vEqpECJBleERC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35L2bJZUidQJvAYVPQN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CvV5sVdECpjcP.lZuhG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BjQDaIHkKRv0y92oxDG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fJob4YhEysV9.cIvjT0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HG1G0FDkSCO0D_hZrSJ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WDM7.yqkaBLnvRgG.Hs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pOcqcT_EuBv8Roi1Q0d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FJy0eizUidn.nXb3A7X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n8IOUWCEG2Zp2rlpQei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IPqh_CBEiXKK6ukn5kO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31KIqwmk2VDEKa5KIqG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.MvTuP40KCTeoZtxJFS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fIaWm8X0ieNjsRenz8b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yEtHQ_vEqpECJBleERC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35L2bJZUidQJvAYVPQN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fJob4YhEysV9.cIvjT0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HG1G0FDkSCO0D_hZrSJ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7Ri9zofU2ZbvlIVyJuE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j8oa55aECSqUkD4aLWI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0vt4YNnUGSbj33kkSRV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T1rVukAEyNlHqcFv2G0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4s.jOS0keUp.OkB284m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oF2kxEl0mwyIA2kCc2f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VcQsBgzky5T7wEK_bwf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d96vGsx0CPeeeHEjM1_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8Qos0Dgk.LvnBLEGuJW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Ph1yXn2EaswbmejQYqU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YX1vItrUugVQRznedfo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RRS_XZPkedHmxXoraP.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blnQinLnk.dFWLQiEtwl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QS7v5GlEWCCIjRjtfFI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DDG7dqe0u7DYueNR2S7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4Un687EUuHw.dgrdZzm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7Ri9zofU2ZbvlIVyJuE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vcIHC3DUiy7EygQB0Zz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UDcIL7GkWuNo4FuDAi2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1bwxCsOFUq0Xk9t.Qqs8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U56aY_RkOxcTQL.GTl6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J8_ftt3UubMt6dDmLS1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S3RkTx9U.Odm424XO18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TWElsDuEeiCD76U5ynl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4Ve2Y._EK91kFJlbOSP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b5uzd9UWJe_1FmtVEA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mxtt6j8kW5LoS2rn4FD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j8oa55aECSqUkD4aLWI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U9cxjIaE68w2A3oVfRE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HhSY5B9kS_ctIY36Idf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RZ3vUYgkq.kY_.kd02h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Ygf4JlfkCuVYpUlqECN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yEtHQ_vEqpECJBleERC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35L2bJZUidQJvAYVPQN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fJob4YhEysV9.cIvjT0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HG1G0FDkSCO0D_hZrSJ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f8nNqSW0qEP8wrPNFE2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qSKjjDpLE2XaYTV2l2j6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0vt4YNnUGSbj33kkSRV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IPqh_CBEiXKK6ukn5kO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SdST3pgk6alQWbAKG6.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n8IOUWCEG2Zp2rlpQei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1SQ1SYsl0GKsPwrX6ajz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f.5BJ.p0ylSK9moG0qM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neYPmhGE.RzueWI4Obp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UzCtTi.06ZXdayym3lj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Kh7gULXE2jUDuTgPPT8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mnxO.W30O6IlRhSTYhq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T1rVukAEyNlHqcFv2G0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JGqa7aPkSEDVkL2K2aN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CGvWwRokG6PbQmzgus3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lxTy3Pbk6njlOLV5Enw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fMVVPY.UyP9TJpEpG1S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N.Rk24UUeueOkPCmfEI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rKYckTcEO5Mcjc6nmAX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5BZs0SvU6E0WHiWKzbr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M0KjFSdkq0Gxqq5f8itg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szgvG.B0ySHP5W_PJi.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jphvqcNE.6RKUWgTrKt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4s.jOS0keUp.OkB284m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qzRn2WY0G9J18wC2kdV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0gGm1R3bEqH4lVmcQNap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tLm6k.qkq8MUiwgxR0w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paVh635UyxhtL1smbPk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nXTPcJbkKyXIFqx9zyw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nk7ZfkZU.AB9zBD8YUJ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tBo4iyRUe3_6wT4vODng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aeqD1dNUCUw9rW2PFqH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CGvWwRokG6PbQmzgus3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JGqa7aPkSEDVkL2K2a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OeHZyph0mSiOjixQB7K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VcQsBgzky5T7wEK_bwf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SdST3pgk6alQWbAKG6.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IPqh_CBEiXKK6ukn5kO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n8IOUWCEG2Zp2rlpQei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SdST3pgk6alQWbAKG6.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QGfduYAk.UnkRHw5pTQ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VjwDpejUeKvOo3svrjc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37SMtn.E6gs2w9mocYA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fSSIceVEO_EvZzGtNkU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szgvG.B0ySHP5W_PJi.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jphvqcNE.6RKUWgTrKt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d96vGsx0CPeeeHEjM1_g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RZ3vUYgkq.kY_.kd02h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FJy0eizUidn.nXb3A7X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f8nNqSW0qEP8wrPNFE2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JGqa7aPkSEDVkL2K2aN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U9cxjIaE68w2A3oVfREg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HhSY5B9kS_ctIY36Idf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yEtHQ_vEqpECJBleERC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8Qos0Dgk.LvnBLEGuJW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35L2bJZUidQJvAYVPQN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CvV5sVdECpjcP.lZuhGQ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BjQDaIHkKRv0y92oxDG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fJob4YhEysV9.cIvjT0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HG1G0FDkSCO0D_hZrSJ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pOcqcT_EuBv8Roi1Q0d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FJy0eizUidn.nXb3A7X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Ph1yXn2EaswbmejQYqUw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n8IOUWCEG2Zp2rlpQei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IPqh_CBEiXKK6ukn5kO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31KIqwmk2VDEKa5KIqG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.MvTuP40KCTeoZtxJFS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yEtHQ_vEqpECJBleERC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35L2bJZUidQJvAYVPQNw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fJob4YhEysV9.cIvjT0Q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HG1G0FDkSCO0D_hZrSJ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YX1vItrUugVQRznedfo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7Ri9zofU2ZbvlIVyJuEA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j8oa55aECSqUkD4aLWIw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0vt4YNnUGSbj33kkSRV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T1rVukAEyNlHqcFv2G0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4s.jOS0keUp.OkB284m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VcQsBgzky5T7wEK_bwf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d96vGsx0CPeeeHEjM1_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8Qos0Dgk.LvnBLEGuJW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Ph1yXn2EaswbmejQYqUw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YX1vItrUugVQRznedfo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RRS_XZPkedHmxXoraP.g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RRS_XZPkedHmxXoraP.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blnQinLnk.dFWLQiEtwl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QS7v5GlEWCCIjRjtfFI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DDG7dqe0u7DYueNR2S7w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4Un687EUuHw.dgrdZzm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vcIHC3DUiy7EygQB0Zz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UDcIL7GkWuNo4FuDAi2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1bwxCsOFUq0Xk9t.Qqs8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U56aY_RkOxcTQL.GTl6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J8_ftt3UubMt6dDmLS1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blnQinLnk.dFWLQiEtwlg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S3RkTx9U.Odm424XO18g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TWElsDuEeiCD76U5ynl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4Ve2Y._EK91kFJlbOSP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b5uzd9UWJe_1FmtVEA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mxtt6j8kW5LoS2rn4FDg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U9cxjIaE68w2A3oVfRE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HhSY5B9kS_ctIY36Idfw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RZ3vUYgkq.kY_.kd02hQ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Ygf4JlfkCuVYpUlqECN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yEtHQ_vEqpECJBleERC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QS7v5GlEWCCIjRjtfFI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35L2bJZUidQJvAYVPQNw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fJob4YhEysV9.cIvjT0Q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HG1G0FDkSCO0D_hZrSJ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f8nNqSW0qEP8wrPNFE2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qSKjjDpLE2XaYTV2l2j6g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IPqh_CBEiXKK6ukn5kOA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SdST3pgk6alQWbAKG6.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n8IOUWCEG2Zp2rlpQei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1SQ1SYsl0GKsPwrX6ajz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f.5BJ.p0ylSK9moG0qM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DDG7dqe0u7DYueNR2S7w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neYPmhGE.RzueWI4ObpQ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UzCtTi.06ZXdayym3ljg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Kh7gULXE2jUDuTgPPT8g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mnxO.W30O6IlRhSTYhqQ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JGqa7aPkSEDVkL2K2aNQ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CGvWwRokG6PbQmzgus3Q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lxTy3Pbk6njlOLV5EnwQ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fMVVPY.UyP9TJpEpG1Sw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N.Rk24UUeueOkPCmfEI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4Un687EUuHw.dgrdZzmA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rKYckTcEO5Mcjc6nmAXw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5BZs0SvU6E0WHiWKzbrg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M0KjFSdkq0Gxqq5f8itg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szgvG.B0ySHP5W_PJi.A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jphvqcNE.6RKUWgTrKtg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qzRn2WY0G9J18wC2kdV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0gGm1R3bEqH4lVmcQNapw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tLm6k.qkq8MUiwgxR0w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paVh635UyxhtL1smbPkA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nXTPcJbkKyXIFqx9zyw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kgOzf5lwE2eQZrR465jA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vcIHC3DUiy7EygQB0Zzg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nk7ZfkZU.AB9zBD8YUJw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tBo4iyRUe3_6wT4vODng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aeqD1dNUCUw9rW2PFqHg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CGvWwRokG6PbQmzgus3Q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JGqa7aPkSEDVkL2K2aNQ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SdST3pgk6alQWbAKG6.g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IPqh_CBEiXKK6ukn5kOA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n8IOUWCEG2Zp2rlpQeiQ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SdST3pgk6alQWbAKG6.g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QGfduYAk.UnkRHw5pTQ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UDcIL7GkWuNo4FuDAi2A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VjwDpejUeKvOo3svrjcA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37SMtn.E6gs2w9mocYAw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fSSIceVEO_EvZzGtNkUA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szgvG.B0ySHP5W_PJi.A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jphvqcNE.6RKUWgTrKtg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RZ3vUYgkq.kY_.kd02hQ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FJy0eizUidn.nXb3A7XA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f8nNqSW0qEP8wrPNFE2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1bwxCsOFUq0Xk9t.Qqs8A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JGqa7aPkSEDVkL2K2aNQ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U9cxjIaE68w2A3oVfREg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HhSY5B9kS_ctIY36Idfw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yEtHQ_vEqpECJBleERCQ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35L2bJZUidQJvAYVPQNw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CvV5sVdECpjcP.lZuhGQ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BjQDaIHkKRv0y92oxDGA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fJob4YhEysV9.cIvjT0Q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HG1G0FDkSCO0D_hZrSJ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U56aY_RkOxcTQL.GTl6A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pOcqcT_EuBv8Roi1Q0dA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FJy0eizUidn.nXb3A7XA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n8IOUWCEG2Zp2rlpQeiQ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IPqh_CBEiXKK6ukn5kOA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31KIqwmk2VDEKa5KIqGg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.MvTuP40KCTeoZtxJFS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J8_ftt3UubMt6dDmLS1w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yEtHQ_vEqpECJBleERCQ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35L2bJZUidQJvAYVPQNw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fJob4YhEysV9.cIvjT0Q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HG1G0FDkSCO0D_hZrSJA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7Ri9zofU2ZbvlIVyJuEA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j8oa55aECSqUkD4aLWIw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0vt4YNnUGSbj33kkSRVg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T1rVukAEyNlHqcFv2G0Q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4s.jOS0keUp.OkB284m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S3RkTx9U.Odm424XO18g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VcQsBgzky5T7wEK_bwfg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d96vGsx0CPeeeHEjM1_g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8Qos0Dgk.LvnBLEGuJWQ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Ph1yXn2EaswbmejQYqUw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YX1vItrUugVQRznedfoQ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RRS_XZPkedHmxXoraP.g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blnQinLnk.dFWLQiEtwlg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QS7v5GlEWCCIjRjtfFIA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DDG7dqe0u7DYueNR2S7w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4Un687EUuHw.dgrdZzm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TWElsDuEeiCD76U5ynlg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vcIHC3DUiy7EygQB0Zzg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UDcIL7GkWuNo4FuDAi2A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1bwxCsOFUq0Xk9t.Qqs8A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U56aY_RkOxcTQL.GTl6A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J8_ftt3UubMt6dDmLS1w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S3RkTx9U.Odm424XO18g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TWElsDuEeiCD76U5ynlg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4Ve2Y._EK91kFJlbOSPQ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b5uzd9UWJe_1FmtVEAA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mxtt6j8kW5LoS2rn4FD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4Ve2Y._EK91kFJlbOSPQ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U9cxjIaE68w2A3oVfREg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HhSY5B9kS_ctIY36Idfw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RZ3vUYgkq.kY_.kd02hQ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Ygf4JlfkCuVYpUlqECNg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yEtHQ_vEqpECJBleERCQ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35L2bJZUidQJvAYVPQNw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fJob4YhEysV9.cIvjT0Q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HG1G0FDkSCO0D_hZrSJA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f8nNqSW0qEP8wrPNFE2g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qSKjjDpLE2XaYTV2l2j6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b5uzd9UWJe_1FmtVEAA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IPqh_CBEiXKK6ukn5kOA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SdST3pgk6alQWbAKG6.g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n8IOUWCEG2Zp2rlpQeiQ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1SQ1SYsl0GKsPwrX6ajzA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f.5BJ.p0ylSK9moG0qMQ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neYPmhGE.RzueWI4ObpQ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UzCtTi.06ZXdayym3ljg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Kh7gULXE2jUDuTgPPT8g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mnxO.W30O6IlRhSTYhq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mxtt6j8kW5LoS2rn4FDg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JGqa7aPkSEDVkL2K2aNQ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CGvWwRokG6PbQmzgus3Q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lxTy3Pbk6njlOLV5EnwQ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fMVVPY.UyP9TJpEpG1Sw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N.Rk24UUeueOkPCmfEIQ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rKYckTcEO5Mcjc6nmAXw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5BZs0SvU6E0WHiWKzbrg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M0KjFSdkq0Gxqq5f8itg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szgvG.B0ySHP5W_PJi.A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jphvqcNE.6RKUWgTrKt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_XQdcUpkKkRFY2EPDt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U9cxjIaE68w2A3oVfREg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qzRn2WY0G9J18wC2kdVQ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0gGm1R3bEqH4lVmcQNapw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tLm6k.qkq8MUiwgxR0ww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paVh635UyxhtL1smbPkA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nXTPcJbkKyXIFqx9zywg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nk7ZfkZU.AB9zBD8YUJw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tBo4iyRUe3_6wT4vODng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aeqD1dNUCUw9rW2PFqHg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CGvWwRokG6PbQmzgus3Q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JGqa7aPkSEDVkL2K2aN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HhSY5B9kS_ctIY36Idfw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SdST3pgk6alQWbAKG6.g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IPqh_CBEiXKK6ukn5kOA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n8IOUWCEG2Zp2rlpQeiQ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SdST3pgk6alQWbAKG6.g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QGfduYAk.UnkRHw5pTQg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VjwDpejUeKvOo3svrjcA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37SMtn.E6gs2w9mocYAw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fSSIceVEO_EvZzGtNkUA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szgvG.B0ySHP5W_PJi.A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jphvqcNE.6RKUWgTrKt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RZ3vUYgkq.kY_.kd02hQ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RZ3vUYgkq.kY_.kd02hQ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FJy0eizUidn.nXb3A7XA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f8nNqSW0qEP8wrPNFE2g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JGqa7aPkSEDVkL2K2aNQ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U9cxjIaE68w2A3oVfREg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HhSY5B9kS_ctIY36Idfw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yEtHQ_vEqpECJBleERC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Ygf4JlfkCuVYpUlqECNg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35L2bJZUidQJvAYVPQNw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CvV5sVdECpjcP.lZuhGQ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BjQDaIHkKRv0y92oxDGA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fJob4YhEysV9.cIvjT0Q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HG1G0FDkSCO0D_hZrSJA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pOcqcT_EuBv8Roi1Q0dA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FJy0eizUidn.nXb3A7X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yEtHQ_vEqpECJBleERCQ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n8IOUWCEG2Zp2rlpQeiQ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IPqh_CBEiXKK6ukn5kOA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31KIqwmk2VDEKa5KIqGg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.MvTuP40KCTeoZtxJFSw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yEtHQ_vEqpECJBleERCQ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35L2bJZUidQJvAYVPQNw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fJob4YhEysV9.cIvjT0Q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HG1G0FDkSCO0D_hZrSJ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35L2bJZUidQJvAYVPQNw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7Ri9zofU2ZbvlIVyJuEA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j8oa55aECSqUkD4aLWIw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0vt4YNnUGSbj33kkSRVg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T1rVukAEyNlHqcFv2G0Q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4s.jOS0keUp.OkB284mQ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VcQsBgzky5T7wEK_bwfg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d96vGsx0CPeeeHEjM1_g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8Qos0Dgk.LvnBLEGuJWQ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Ph1yXn2EaswbmejQYqUw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YX1vItrUugVQRznedfo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fJob4YhEysV9.cIvjT0Q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RRS_XZPkedHmxXoraP.g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blnQinLnk.dFWLQiEtwlg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QS7v5GlEWCCIjRjtfFIA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DDG7dqe0u7DYueNR2S7w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4Un687EUuHw.dgrdZzmA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vcIHC3DUiy7EygQB0Zzg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UDcIL7GkWuNo4FuDAi2A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1bwxCsOFUq0Xk9t.Qqs8A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U56aY_RkOxcTQL.GTl6A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J8_ftt3UubMt6dDmLS1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HG1G0FDkSCO0D_hZrSJA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S3RkTx9U.Odm424XO18g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TWElsDuEeiCD76U5ynlg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4Ve2Y._EK91kFJlbOSPQ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b5uzd9UWJe_1FmtVEAA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mxtt6j8kW5LoS2rn4FDg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U9cxjIaE68w2A3oVfREg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HhSY5B9kS_ctIY36Idfw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RZ3vUYgkq.kY_.kd02hQ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Ygf4JlfkCuVYpUlqECNg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yEtHQ_vEqpECJBleERC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f8nNqSW0qEP8wrPNFE2g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35L2bJZUidQJvAYVPQNw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fJob4YhEysV9.cIvjT0Q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HG1G0FDkSCO0D_hZrSJA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f8nNqSW0qEP8wrPNFE2g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qSKjjDpLE2XaYTV2l2j6g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IPqh_CBEiXKK6ukn5kOA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SdST3pgk6alQWbAKG6.g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n8IOUWCEG2Zp2rlpQeiQ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1SQ1SYsl0GKsPwrX6ajzA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f.5BJ.p0ylSK9moG0qM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qSKjjDpLE2XaYTV2l2j6g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neYPmhGE.RzueWI4ObpQ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UzCtTi.06ZXdayym3ljg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Kh7gULXE2jUDuTgPPT8g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mnxO.W30O6IlRhSTYhqQ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JGqa7aPkSEDVkL2K2aNQ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CGvWwRokG6PbQmzgus3Q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lxTy3Pbk6njlOLV5EnwQ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fMVVPY.UyP9TJpEpG1Sw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N.Rk24UUeueOkPCmfE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AIC2hj20mIgde7ZjF6U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IPqh_CBEiXKK6ukn5kOA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rKYckTcEO5Mcjc6nmAXw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5BZs0SvU6E0WHiWKzbrg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M0KjFSdkq0Gxqq5f8itg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szgvG.B0ySHP5W_PJi.A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jphvqcNE.6RKUWgTrKtg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qzRn2WY0G9J18wC2kdVQ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0gGm1R3bEqH4lVmcQNapw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tLm6k.qkq8MUiwgxR0ww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paVh635UyxhtL1smbPkA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nXTPcJbkKyXIFqx9zyw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SdST3pgk6alQWbAKG6.g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nk7ZfkZU.AB9zBD8YUJw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tBo4iyRUe3_6wT4vODng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aeqD1dNUCUw9rW2PFqHg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CGvWwRokG6PbQmzgus3Q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JGqa7aPkSEDVkL2K2aNQ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SdST3pgk6alQWbAKG6.g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IPqh_CBEiXKK6ukn5kOA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n8IOUWCEG2Zp2rlpQeiQ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SdST3pgk6alQWbAKG6.g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QGfduYAk.UnkRHw5pTQ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n8IOUWCEG2Zp2rlpQeiQ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VjwDpejUeKvOo3svrjcA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37SMtn.E6gs2w9mocYAw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fSSIceVEO_EvZzGtNkUA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szgvG.B0ySHP5W_PJi.A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jphvqcNE.6RKUWgTrKtg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RZ3vUYgkq.kY_.kd02hQ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FJy0eizUidn.nXb3A7XA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f8nNqSW0qEP8wrPNFE2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1SQ1SYsl0GKsPwrX6ajzA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JGqa7aPkSEDVkL2K2aNQ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U9cxjIaE68w2A3oVfREg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HhSY5B9kS_ctIY36Idfw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yEtHQ_vEqpECJBleERCQ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35L2bJZUidQJvAYVPQNw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CvV5sVdECpjcP.lZuhGQ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BjQDaIHkKRv0y92oxDGA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fJob4YhEysV9.cIvjT0Q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HG1G0FDkSCO0D_hZrSJ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f.5BJ.p0ylSK9moG0qMQ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pOcqcT_EuBv8Roi1Q0dA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FJy0eizUidn.nXb3A7XA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n8IOUWCEG2Zp2rlpQeiQ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IPqh_CBEiXKK6ukn5kOA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31KIqwmk2VDEKa5KIqGg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.MvTuP40KCTeoZtxJFS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neYPmhGE.RzueWI4ObpQ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yEtHQ_vEqpECJBleERCQ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35L2bJZUidQJvAYVPQNw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fJob4YhEysV9.cIvjT0Q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HG1G0FDkSCO0D_hZrSJA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7Ri9zofU2ZbvlIVyJuEA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j8oa55aECSqUkD4aLWIw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0vt4YNnUGSbj33kkSRVg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T1rVukAEyNlHqcFv2G0Q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4s.jOS0keUp.OkB284m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UzCtTi.06ZXdayym3ljg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VcQsBgzky5T7wEK_bwfg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d96vGsx0CPeeeHEjM1_g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8Qos0Dgk.LvnBLEGuJWQ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Ph1yXn2EaswbmejQYqUw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YX1vItrUugVQRznedfoQ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RRS_XZPkedHmxXoraP.g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blnQinLnk.dFWLQiEtwlg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QS7v5GlEWCCIjRjtfFIA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DDG7dqe0u7DYueNR2S7w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4Un687EUuHw.dgrdZzm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vcIHC3DUiy7EygQB0Zzg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UDcIL7GkWuNo4FuDAi2A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1bwxCsOFUq0Xk9t.Qqs8A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U56aY_RkOxcTQL.GTl6A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J8_ftt3UubMt6dDmLS1w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S3RkTx9U.Odm424XO18g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TWElsDuEeiCD76U5ynlg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4Ve2Y._EK91kFJlbOSPQ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b5uzd9UWJe_1FmtVEAA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mxtt6j8kW5LoS2rn4FD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Kh7gULXE2jUDuTgPPT8g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U9cxjIaE68w2A3oVfREg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HhSY5B9kS_ctIY36Idfw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RZ3vUYgkq.kY_.kd02hQ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Ygf4JlfkCuVYpUlqECNg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yEtHQ_vEqpECJBleERCQ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35L2bJZUidQJvAYVPQNw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fJob4YhEysV9.cIvjT0Q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HG1G0FDkSCO0D_hZrSJA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f8nNqSW0qEP8wrPNFE2g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qSKjjDpLE2XaYTV2l2j6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mnxO.W30O6IlRhSTYhqQ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IPqh_CBEiXKK6ukn5kOA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SdST3pgk6alQWbAKG6.g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n8IOUWCEG2Zp2rlpQeiQ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1SQ1SYsl0GKsPwrX6ajzA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f.5BJ.p0ylSK9moG0qMQ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neYPmhGE.RzueWI4ObpQ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UzCtTi.06ZXdayym3ljg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Kh7gULXE2jUDuTgPPT8g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mnxO.W30O6IlRhSTYhq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5Cr3GjzkSQM04rKSRH9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JGqa7aPkSEDVkL2K2aNQ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JGqa7aPkSEDVkL2K2aNQ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CGvWwRokG6PbQmzgus3Q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lxTy3Pbk6njlOLV5EnwQ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fMVVPY.UyP9TJpEpG1Sw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N.Rk24UUeueOkPCmfEIQ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rKYckTcEO5Mcjc6nmAXw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5BZs0SvU6E0WHiWKzbrg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M0KjFSdkq0Gxqq5f8itg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szgvG.B0ySHP5W_PJi.A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jphvqcNE.6RKUWgTrKt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CGvWwRokG6PbQmzgus3Q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qzRn2WY0G9J18wC2kdVQ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0gGm1R3bEqH4lVmcQNapw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tLm6k.qkq8MUiwgxR0ww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paVh635UyxhtL1smbPkA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nXTPcJbkKyXIFqx9zywg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nk7ZfkZU.AB9zBD8YUJw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tBo4iyRUe3_6wT4vODng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aeqD1dNUCUw9rW2PFqHg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CGvWwRokG6PbQmzgus3Q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JGqa7aPkSEDVkL2K2aN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lxTy3Pbk6njlOLV5EnwQ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SdST3pgk6alQWbAKG6.g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IPqh_CBEiXKK6ukn5kOA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n8IOUWCEG2Zp2rlpQeiQ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SdST3pgk6alQWbAKG6.g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QGfduYAk.UnkRHw5pTQg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VjwDpejUeKvOo3svrjcA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37SMtn.E6gs2w9mocYAw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fSSIceVEO_EvZzGtNkUA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szgvG.B0ySHP5W_PJi.A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jphvqcNE.6RKUWgTrKt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fMVVPY.UyP9TJpEpG1Sw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RZ3vUYgkq.kY_.kd02hQ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FJy0eizUidn.nXb3A7XA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f8nNqSW0qEP8wrPNFE2g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JGqa7aPkSEDVkL2K2aNQ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U9cxjIaE68w2A3oVfREg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HhSY5B9kS_ctIY36Idfw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yEtHQ_vEqpECJBleERC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N.Rk24UUeueOkPCmfEIQ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35L2bJZUidQJvAYVPQNw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CvV5sVdECpjcP.lZuhGQ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BjQDaIHkKRv0y92oxDGA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fJob4YhEysV9.cIvjT0Q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HG1G0FDkSCO0D_hZrSJA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pOcqcT_EuBv8Roi1Q0dA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FJy0eizUidn.nXb3A7X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rKYckTcEO5Mcjc6nmAXw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n8IOUWCEG2Zp2rlpQeiQ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IPqh_CBEiXKK6ukn5kOA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31KIqwmk2VDEKa5KIqGg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.MvTuP40KCTeoZtxJFSw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yEtHQ_vEqpECJBleERCQ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35L2bJZUidQJvAYVPQNw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fJob4YhEysV9.cIvjT0Q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HG1G0FDkSCO0D_hZrSJ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5BZs0SvU6E0WHiWKzbrg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7Ri9zofU2ZbvlIVyJuEA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j8oa55aECSqUkD4aLWIw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0vt4YNnUGSbj33kkSRVg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T1rVukAEyNlHqcFv2G0Q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4s.jOS0keUp.OkB284mQ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fK6gZUZU.3tcXxi5MUCQ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VcQsBgzky5T7wEK_bwfg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d96vGsx0CPeeeHEjM1_g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8Qos0Dgk.LvnBLEGuJWQ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Ph1yXn2EaswbmejQYqU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M0KjFSdkq0Gxqq5f8itg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YX1vItrUugVQRznedfoQ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blnQinLnk.dFWLQiEtwlg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QS7v5GlEWCCIjRjtfFIA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UDcIL7GkWuNo4FuDAi2A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1bwxCsOFUq0Xk9t.Qqs8A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U56aY_RkOxcTQL.GTl6A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J8_ftt3UubMt6dDmLS1w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S3RkTx9U.Odm424XO18g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TWElsDuEeiCD76U5ynlg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b5uzd9UWJe_1FmtVEA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szgvG.B0ySHP5W_PJi.A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mxtt6j8kW5LoS2rn4FDg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U9cxjIaE68w2A3oVfREg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HhSY5B9kS_ctIY36Idfw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yEtHQ_vEqpECJBleERCQ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35L2bJZUidQJvAYVPQNw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fJob4YhEysV9.cIvjT0Q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HG1G0FDkSCO0D_hZrSJA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f8nNqSW0qEP8wrPNFE2g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qSKjjDpLE2XaYTV2l2j6g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IPqh_CBEiXKK6ukn5kO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jphvqcNE.6RKUWgTrKtg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SdST3pgk6alQWbAKG6.g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n8IOUWCEG2Zp2rlpQeiQ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1SQ1SYsl0GKsPwrX6ajzA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f.5BJ.p0ylSK9moG0qMQ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neYPmhGE.RzueWI4ObpQ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UzCtTi.06ZXdayym3ljg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Kh7gULXE2jUDuTgPPT8g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mnxO.W30O6IlRhSTYhqQ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JGqa7aPkSEDVkL2K2aN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uZyAjyqE2My_YCCEKOO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qzRn2WY0G9J18wC2kdVQ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lxTy3Pbk6njlOLV5EnwQ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fMVVPY.UyP9TJpEpG1Sw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N.Rk24UUeueOkPCmfEIQ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rKYckTcEO5Mcjc6nmAXw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5BZs0SvU6E0WHiWKzbrg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M0KjFSdkq0Gxqq5f8itg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szgvG.B0ySHP5W_PJi.A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jphvqcNE.6RKUWgTrKtg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qzRn2WY0G9J18wC2kdVQ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0gGm1R3bEqH4lVmcQNap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0gGm1R3bEqH4lVmcQNapw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tLm6k.qkq8MUiwgxR0ww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paVh635UyxhtL1smbPkA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nXTPcJbkKyXIFqx9zywg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nk7ZfkZU.AB9zBD8YUJw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tBo4iyRUe3_6wT4vODng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CGvWwRokG6PbQmzgus3Q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JGqa7aPkSEDVkL2K2aNQ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SdST3pgk6alQWbAKG6.g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IPqh_CBEiXKK6ukn5kOA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n8IOUWCEG2Zp2rlpQei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tLm6k.qkq8MUiwgxR0ww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SdST3pgk6alQWbAKG6.g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37SMtn.E6gs2w9mocYAw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fSSIceVEO_EvZzGtNkUA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szgvG.B0ySHP5W_PJi.A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jphvqcNE.6RKUWgTrKtg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RZ3vUYgkq.kY_.kd02hQ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FJy0eizUidn.nXb3A7XA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f8nNqSW0qEP8wrPNFE2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paVh635UyxhtL1smbPkA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JGqa7aPkSEDVkL2K2aNQ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U9cxjIaE68w2A3oVfREg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HhSY5B9kS_ctIY36Idfw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yEtHQ_vEqpECJBleERCQ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35L2bJZUidQJvAYVPQNw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CvV5sVdECpjcP.lZuhGQ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BjQDaIHkKRv0y92oxDGA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fJob4YhEysV9.cIvjT0Q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HG1G0FDkSCO0D_hZrSJ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nXTPcJbkKyXIFqx9zywg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fJob4YhEysV9.cIvjT0Q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HG1G0FDkSCO0D_hZrSJA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n8IOUWCEG2Zp2rlpQeiQ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IPqh_CBEiXKK6ukn5kOA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31KIqwmk2VDEKa5KIqGg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.MvTuP40KCTeoZtxJFS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nk7ZfkZU.AB9zBD8YUJw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yEtHQ_vEqpECJBleERCQ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35L2bJZUidQJvAYVPQNw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QozpRak66DhbsKEqVfw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fJob4YhEysV9.cIvjT0Q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HG1G0FDkSCO0D_hZrSJA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4Un687EUuHw.dgrdZzmA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vcIHC3DUiy7EygQB0Zzg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RZ3vUYgkq.kY_.kd02hQ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Ygf4JlfkCuVYpUlqECNg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pOcqcT_EuBv8Roi1Q0d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tBo4iyRUe3_6wT4vODng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FJy0eizUidn.nXb3A7XA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CGvWwRokG6PbQmzgus3Q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QGfduYAk.UnkRHw5pTQg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VjwDpejUeKvOo3svrjcA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RRS_XZPkedHmxXoraP.g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DDG7dqe0u7DYueNR2S7w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4Ve2Y._EK91kFJlbOSPQ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aeqD1dNUCUw9rW2PFqHg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N.Rk24UUeueOkPCmfEIQ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VcQsBgzky5T7wEK_bwf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aeqD1dNUCUw9rW2PFqHg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d96vGsx0CPeeeHEjM1_g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8Qos0Dgk.LvnBLEGuJWQ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Ph1yXn2EaswbmejQYqUw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YX1vItrUugVQRznedfoQ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N.Rk24UUeueOkPCmfEIQ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d96vGsx0CPeeeHEjM1_g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8Qos0Dgk.LvnBLEGuJWQ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Ph1yXn2EaswbmejQYqUw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YX1vItrUugVQRznedfoQ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XvVEcdYE.0zp2A2P6oJ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CGvWwRokG6PbQmzgus3Q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aNcCCF0uyGf9ATjdylw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xI6ng3Lkq5CFiA.8kVnA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TiT5F200WpYSOt70gTzA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XvVEcdYE.0zp2A2P6oJg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aNcCCF0uyGf9ATjdylw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xI6ng3Lkq5CFiA.8kVnA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TiT5F200WpYSOt70gTzA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XvVEcdYE.0zp2A2P6oJg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aNcCCF0uyGf9ATjdylw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xI6ng3Lkq5CFiA.8kVn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JGqa7aPkSEDVkL2K2aNQ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TiT5F200WpYSOt70gTzA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XvVEcdYE.0zp2A2P6oJg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aNcCCF0uyGf9ATjdylw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xI6ng3Lkq5CFiA.8kVnA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TiT5F200WpYSOt70gTzA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XvVEcdYE.0zp2A2P6oJg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aNcCCF0uyGf9ATjdylw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xI6ng3Lkq5CFiA.8kVnA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TiT5F200WpYSOt70gTzA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JTYpdF7EiqihV0BB2cI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qx3PsVKES6r7LIH4UX5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SdST3pgk6alQWbAKG6.g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5ZLgHYHUurwOq8T8xr_Q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Lu8jgrbUuZbkfWtTgmdA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hr07b7rkinXxX3H3a3.Q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DzsoorIkOYKz4L7lPbNg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ZPauyROk.zQTfFM2mrzA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YLyIELBkqghg.D86i4qA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a0g4XWgUaGVsIkdWXpIA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yv6lrjf0S6dov2GkOlrQ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XvVEcdYE.0zp2A2P6oJg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aNcCCF0uyGf9ATjdyl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IPqh_CBEiXKK6ukn5kOA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xI6ng3Lkq5CFiA.8kVnA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TiT5F200WpYSOt70gTzA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5ZLgHYHUurwOq8T8xr_Q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XvVEcdYE.0zp2A2P6oJg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aNcCCF0uyGf9ATjdylw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xI6ng3Lkq5CFiA.8kVnA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TiT5F200WpYSOt70gTzA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XvVEcdYE.0zp2A2P6oJg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aNcCCF0uyGf9ATjdylw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xI6ng3Lkq5CFiA.8kVn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n8IOUWCEG2Zp2rlpQeiQ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TiT5F200WpYSOt70gTzA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XvVEcdYE.0zp2A2P6oJg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aNcCCF0uyGf9ATjdylw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xI6ng3Lkq5CFiA.8kVnA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TiT5F200WpYSOt70gTzA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Nf4G7dTxkSQJ1sprrKnww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JTYpdF7EiqihV0BB2cIg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5ZLgHYHUurwOq8T8xr_Q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Lu8jgrbUuZbkfWtTgmdA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hr07b7rkinXxX3H3a3.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SdST3pgk6alQWbAKG6.g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DzsoorIkOYKz4L7lPbNg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YLyIELBkqghg.D86i4qA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a0g4XWgUaGVsIkdWXpIA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uyWzFLoECJzqQZ60fUjg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Yv7ihXeEmPYuVkvZXZgA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ih_G2aoUusrnkc9WTBcw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HdMsKEO0yxRi5C0HbYRA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PEDURC8EOkD2KkmoaABw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TiT5F200WpYSOt70gTzA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XvVEcdYE.0zp2A2P6oJ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QGfduYAk.UnkRHw5pTQg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aNcCCF0uyGf9ATjdylw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xI6ng3Lkq5CFiA.8kVnA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pCGbyQZkaTNZwHTmGQmg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XvVEcdYE.0zp2A2P6oJg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aNcCCF0uyGf9ATjdylw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xI6ng3Lkq5CFiA.8kVnA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pCGbyQZkaTNZwHTmGQmg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Yv7ihXeEmPYuVkvZXZgA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yv6lrjf0S6dov2GkOlrQ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Nf4G7dTxkSQJ1sprrKnw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VjwDpejUeKvOo3svrjcA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JTYpdF7EiqihV0BB2cIg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5ZLgHYHUurwOq8T8xr_Q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Lu8jgrbUuZbkfWtTgmdA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hr07b7rkinXxX3H3a3.Q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DzsoorIkOYKz4L7lPbNg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ZPauyROk.zQTfFM2mrzA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YLyIELBkqghg.D86i4qA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a0g4XWgUaGVsIkdWXpIA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uyWzFLoECJzqQZ60fUjg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7GwRPAF02HM.x.lkoLA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37SMtn.E6gs2w9mocYAw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YNZkrCpkOxu_.7XRy01g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sumgn4Ek6zIaQrdpetTg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b8BC6WnkOR2qzo1O24vg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ih_G2aoUusrnkc9WTBcw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HdMsKEO0yxRi5C0HbYRA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PEDURC8EOkD2KkmoaABw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TiT5F200WpYSOt70gTzA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XvVEcdYE.0zp2A2P6oJg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aNcCCF0uyGf9ATjdylw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xI6ng3Lkq5CFiA.8kVn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fSSIceVEO_EvZzGtNkUA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pCGbyQZkaTNZwHTmGQmg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XvVEcdYE.0zp2A2P6oJg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aNcCCF0uyGf9ATjdylw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xI6ng3Lkq5CFiA.8kVnA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pCGbyQZkaTNZwHTmGQmg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yv6lrjf0S6dov2GkOlrQ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Nf4G7dTxkSQJ1sprrKnww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5ZLgHYHUurwOq8T8xr_Q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Lu8jgrbUuZbkfWtTgmdA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hr07b7rkinXxX3H3a3.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szgvG.B0ySHP5W_PJi.A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DzsoorIkOYKz4L7lPbNg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ZPauyROk.zQTfFM2mrzA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uyWzFLoECJzqQZ60fUjg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Yv7ihXeEmPYuVkvZXZgA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7GwRPAF02HM.x.lkoLAw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YNZkrCpkOxu_.7XRy01g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sumgn4Ek6zIaQrdpetTg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b8BC6WnkOR2qzo1O24vg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ih_G2aoUusrnkc9WTBcw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HdMsKEO0yxRi5C0HbYR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jphvqcNE.6RKUWgTrKtg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PEDURC8EOkD2KkmoaABw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TiT5F200WpYSOt70gTzA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XvVEcdYE.0zp2A2P6oJg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aNcCCF0uyGf9ATjdylw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xI6ng3Lkq5CFiA.8kVnA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pCGbyQZkaTNZwHTmGQmg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yv6lrjf0S6dov2GkOlrQ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ZPauyROk.zQTfFM2mrzA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7GwRPAF02HM.x.lkoLAw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YNZkrCpkOxu_.7XRy01g"/>
</p:tagLst>
</file>

<file path=ppt/theme/theme1.xml><?xml version="1.0" encoding="utf-8"?>
<a:theme xmlns:a="http://schemas.openxmlformats.org/drawingml/2006/main" name="ФЦК">
  <a:themeElements>
    <a:clrScheme name="ФЦК">
      <a:dk1>
        <a:srgbClr val="171616"/>
      </a:dk1>
      <a:lt1>
        <a:srgbClr val="FFFFFF"/>
      </a:lt1>
      <a:dk2>
        <a:srgbClr val="0070C0"/>
      </a:dk2>
      <a:lt2>
        <a:srgbClr val="E7E6E6"/>
      </a:lt2>
      <a:accent1>
        <a:srgbClr val="C8456A"/>
      </a:accent1>
      <a:accent2>
        <a:srgbClr val="1B68DC"/>
      </a:accent2>
      <a:accent3>
        <a:srgbClr val="00B0F0"/>
      </a:accent3>
      <a:accent4>
        <a:srgbClr val="00B0F0"/>
      </a:accent4>
      <a:accent5>
        <a:srgbClr val="878787"/>
      </a:accent5>
      <a:accent6>
        <a:srgbClr val="A6A6A6"/>
      </a:accent6>
      <a:hlink>
        <a:srgbClr val="00C2F3"/>
      </a:hlink>
      <a:folHlink>
        <a:srgbClr val="515151"/>
      </a:folHlink>
    </a:clrScheme>
    <a:fontScheme name="ФЦК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ФЦК 3х4 (1).pot [Режим совместимости]" id="{BF522822-AADD-439B-A038-43E36ABBD230}" vid="{CEF38255-DA3A-4FB0-8362-B47E8E4EDD46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Другая 1">
    <a:dk1>
      <a:sysClr val="windowText" lastClr="000000"/>
    </a:dk1>
    <a:lt1>
      <a:sysClr val="window" lastClr="FFFFFF"/>
    </a:lt1>
    <a:dk2>
      <a:srgbClr val="0070C0"/>
    </a:dk2>
    <a:lt2>
      <a:srgbClr val="EEECE1"/>
    </a:lt2>
    <a:accent1>
      <a:srgbClr val="E7476D"/>
    </a:accent1>
    <a:accent2>
      <a:srgbClr val="79DCFF"/>
    </a:accent2>
    <a:accent3>
      <a:srgbClr val="10BC7A"/>
    </a:accent3>
    <a:accent4>
      <a:srgbClr val="048DEA"/>
    </a:accent4>
    <a:accent5>
      <a:srgbClr val="4BACC6"/>
    </a:accent5>
    <a:accent6>
      <a:srgbClr val="FFFF00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3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4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5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6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7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8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9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ФЦК">
    <a:dk1>
      <a:srgbClr val="171616"/>
    </a:dk1>
    <a:lt1>
      <a:srgbClr val="FFFFFF"/>
    </a:lt1>
    <a:dk2>
      <a:srgbClr val="0070C0"/>
    </a:dk2>
    <a:lt2>
      <a:srgbClr val="E7E6E6"/>
    </a:lt2>
    <a:accent1>
      <a:srgbClr val="C8456A"/>
    </a:accent1>
    <a:accent2>
      <a:srgbClr val="1B68DC"/>
    </a:accent2>
    <a:accent3>
      <a:srgbClr val="00B0F0"/>
    </a:accent3>
    <a:accent4>
      <a:srgbClr val="00B0F0"/>
    </a:accent4>
    <a:accent5>
      <a:srgbClr val="878787"/>
    </a:accent5>
    <a:accent6>
      <a:srgbClr val="A6A6A6"/>
    </a:accent6>
    <a:hlink>
      <a:srgbClr val="00C2F3"/>
    </a:hlink>
    <a:folHlink>
      <a:srgbClr val="515151"/>
    </a:folHlink>
  </a:clrScheme>
  <a:fontScheme name="ФЦК">
    <a:majorFont>
      <a:latin typeface="Verdana"/>
      <a:ea typeface=""/>
      <a:cs typeface=""/>
    </a:majorFont>
    <a:minorFont>
      <a:latin typeface="Verdana"/>
      <a:ea typeface=""/>
      <a:cs typeface="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0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ФЦК">
    <a:dk1>
      <a:srgbClr val="171616"/>
    </a:dk1>
    <a:lt1>
      <a:srgbClr val="FFFFFF"/>
    </a:lt1>
    <a:dk2>
      <a:srgbClr val="0070C0"/>
    </a:dk2>
    <a:lt2>
      <a:srgbClr val="E7E6E6"/>
    </a:lt2>
    <a:accent1>
      <a:srgbClr val="C8456A"/>
    </a:accent1>
    <a:accent2>
      <a:srgbClr val="1B68DC"/>
    </a:accent2>
    <a:accent3>
      <a:srgbClr val="00B0F0"/>
    </a:accent3>
    <a:accent4>
      <a:srgbClr val="00B0F0"/>
    </a:accent4>
    <a:accent5>
      <a:srgbClr val="878787"/>
    </a:accent5>
    <a:accent6>
      <a:srgbClr val="A6A6A6"/>
    </a:accent6>
    <a:hlink>
      <a:srgbClr val="00C2F3"/>
    </a:hlink>
    <a:folHlink>
      <a:srgbClr val="515151"/>
    </a:folHlink>
  </a:clrScheme>
  <a:fontScheme name="ФЦК">
    <a:majorFont>
      <a:latin typeface="Verdana"/>
      <a:ea typeface=""/>
      <a:cs typeface=""/>
    </a:majorFont>
    <a:minorFont>
      <a:latin typeface="Verdana"/>
      <a:ea typeface=""/>
      <a:cs typeface="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ФЦК">
    <a:dk1>
      <a:srgbClr val="171616"/>
    </a:dk1>
    <a:lt1>
      <a:srgbClr val="FFFFFF"/>
    </a:lt1>
    <a:dk2>
      <a:srgbClr val="0070C0"/>
    </a:dk2>
    <a:lt2>
      <a:srgbClr val="E7E6E6"/>
    </a:lt2>
    <a:accent1>
      <a:srgbClr val="C8456A"/>
    </a:accent1>
    <a:accent2>
      <a:srgbClr val="1B68DC"/>
    </a:accent2>
    <a:accent3>
      <a:srgbClr val="00B0F0"/>
    </a:accent3>
    <a:accent4>
      <a:srgbClr val="00B0F0"/>
    </a:accent4>
    <a:accent5>
      <a:srgbClr val="878787"/>
    </a:accent5>
    <a:accent6>
      <a:srgbClr val="A6A6A6"/>
    </a:accent6>
    <a:hlink>
      <a:srgbClr val="00C2F3"/>
    </a:hlink>
    <a:folHlink>
      <a:srgbClr val="515151"/>
    </a:folHlink>
  </a:clrScheme>
  <a:fontScheme name="ФЦК">
    <a:majorFont>
      <a:latin typeface="Verdana"/>
      <a:ea typeface=""/>
      <a:cs typeface=""/>
    </a:majorFont>
    <a:minorFont>
      <a:latin typeface="Verdana"/>
      <a:ea typeface=""/>
      <a:cs typeface="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ФЦК">
    <a:dk1>
      <a:srgbClr val="171616"/>
    </a:dk1>
    <a:lt1>
      <a:srgbClr val="FFFFFF"/>
    </a:lt1>
    <a:dk2>
      <a:srgbClr val="0070C0"/>
    </a:dk2>
    <a:lt2>
      <a:srgbClr val="E7E6E6"/>
    </a:lt2>
    <a:accent1>
      <a:srgbClr val="C8456A"/>
    </a:accent1>
    <a:accent2>
      <a:srgbClr val="1B68DC"/>
    </a:accent2>
    <a:accent3>
      <a:srgbClr val="00B0F0"/>
    </a:accent3>
    <a:accent4>
      <a:srgbClr val="00B0F0"/>
    </a:accent4>
    <a:accent5>
      <a:srgbClr val="878787"/>
    </a:accent5>
    <a:accent6>
      <a:srgbClr val="A6A6A6"/>
    </a:accent6>
    <a:hlink>
      <a:srgbClr val="00C2F3"/>
    </a:hlink>
    <a:folHlink>
      <a:srgbClr val="515151"/>
    </a:folHlink>
  </a:clrScheme>
  <a:fontScheme name="ФЦК">
    <a:majorFont>
      <a:latin typeface="Verdana"/>
      <a:ea typeface=""/>
      <a:cs typeface=""/>
    </a:majorFont>
    <a:minorFont>
      <a:latin typeface="Verdana"/>
      <a:ea typeface=""/>
      <a:cs typeface="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ФЦК">
    <a:dk1>
      <a:srgbClr val="171616"/>
    </a:dk1>
    <a:lt1>
      <a:srgbClr val="FFFFFF"/>
    </a:lt1>
    <a:dk2>
      <a:srgbClr val="0070C0"/>
    </a:dk2>
    <a:lt2>
      <a:srgbClr val="E7E6E6"/>
    </a:lt2>
    <a:accent1>
      <a:srgbClr val="C8456A"/>
    </a:accent1>
    <a:accent2>
      <a:srgbClr val="1B68DC"/>
    </a:accent2>
    <a:accent3>
      <a:srgbClr val="00B0F0"/>
    </a:accent3>
    <a:accent4>
      <a:srgbClr val="00B0F0"/>
    </a:accent4>
    <a:accent5>
      <a:srgbClr val="878787"/>
    </a:accent5>
    <a:accent6>
      <a:srgbClr val="A6A6A6"/>
    </a:accent6>
    <a:hlink>
      <a:srgbClr val="00C2F3"/>
    </a:hlink>
    <a:folHlink>
      <a:srgbClr val="515151"/>
    </a:folHlink>
  </a:clrScheme>
  <a:fontScheme name="ФЦК">
    <a:majorFont>
      <a:latin typeface="Verdana"/>
      <a:ea typeface=""/>
      <a:cs typeface=""/>
    </a:majorFont>
    <a:minorFont>
      <a:latin typeface="Verdana"/>
      <a:ea typeface=""/>
      <a:cs typeface="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ФЦК">
    <a:dk1>
      <a:srgbClr val="171616"/>
    </a:dk1>
    <a:lt1>
      <a:srgbClr val="FFFFFF"/>
    </a:lt1>
    <a:dk2>
      <a:srgbClr val="0070C0"/>
    </a:dk2>
    <a:lt2>
      <a:srgbClr val="E7E6E6"/>
    </a:lt2>
    <a:accent1>
      <a:srgbClr val="C8456A"/>
    </a:accent1>
    <a:accent2>
      <a:srgbClr val="1B68DC"/>
    </a:accent2>
    <a:accent3>
      <a:srgbClr val="00B0F0"/>
    </a:accent3>
    <a:accent4>
      <a:srgbClr val="00B0F0"/>
    </a:accent4>
    <a:accent5>
      <a:srgbClr val="878787"/>
    </a:accent5>
    <a:accent6>
      <a:srgbClr val="A6A6A6"/>
    </a:accent6>
    <a:hlink>
      <a:srgbClr val="00C2F3"/>
    </a:hlink>
    <a:folHlink>
      <a:srgbClr val="515151"/>
    </a:folHlink>
  </a:clrScheme>
  <a:fontScheme name="ФЦК">
    <a:majorFont>
      <a:latin typeface="Verdana"/>
      <a:ea typeface=""/>
      <a:cs typeface=""/>
    </a:majorFont>
    <a:minorFont>
      <a:latin typeface="Verdana"/>
      <a:ea typeface=""/>
      <a:cs typeface="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30</TotalTime>
  <Words>6856</Words>
  <Application>Microsoft Office PowerPoint</Application>
  <PresentationFormat>Экран (16:9)</PresentationFormat>
  <Paragraphs>1495</Paragraphs>
  <Slides>79</Slides>
  <Notes>2</Notes>
  <HiddenSlides>37</HiddenSlides>
  <MMClips>1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9</vt:i4>
      </vt:variant>
    </vt:vector>
  </HeadingPairs>
  <TitlesOfParts>
    <vt:vector size="92" baseType="lpstr">
      <vt:lpstr>Arial</vt:lpstr>
      <vt:lpstr>Arial Narrow</vt:lpstr>
      <vt:lpstr>Arial Nova Light</vt:lpstr>
      <vt:lpstr>Calibri</vt:lpstr>
      <vt:lpstr>Cambria Math</vt:lpstr>
      <vt:lpstr>Geometria</vt:lpstr>
      <vt:lpstr>PT Sans</vt:lpstr>
      <vt:lpstr>Tahoma</vt:lpstr>
      <vt:lpstr>Times New Roman</vt:lpstr>
      <vt:lpstr>Verdana</vt:lpstr>
      <vt:lpstr>Wingdings</vt:lpstr>
      <vt:lpstr>ФЦК</vt:lpstr>
      <vt:lpstr>Диаграмма</vt:lpstr>
      <vt:lpstr>Федеральный проект  «Адресная поддержка повышения производительности труда  на предприятиях»</vt:lpstr>
      <vt:lpstr>Производительность труда в России в сравнении с другими странами</vt:lpstr>
      <vt:lpstr>Цель национального проекта – обеспечить к 2024 году:</vt:lpstr>
      <vt:lpstr>Структура Национального проекта «Производительность труда и поддержка занятости»</vt:lpstr>
      <vt:lpstr>Презентация PowerPoint</vt:lpstr>
      <vt:lpstr>АНО «Федеральный центр компетенций»</vt:lpstr>
      <vt:lpstr>Задачи ФЦК</vt:lpstr>
      <vt:lpstr>Эксперты ФЦК имеют опыт работы в крупных корпорациях со зрелыми производственными системами</vt:lpstr>
      <vt:lpstr>431предприятие участвует в Проекте совместно с ФЦК</vt:lpstr>
      <vt:lpstr>Предприятия-участники проекта повышения производительности труда в Республике Татарстан</vt:lpstr>
      <vt:lpstr>Предприятия-участники проекта повышения производительности труда в Республике Татарстан</vt:lpstr>
      <vt:lpstr>Презентация PowerPoint</vt:lpstr>
      <vt:lpstr>ФЦК – ответственный за реализацию проектов на конкретных предприятиях</vt:lpstr>
      <vt:lpstr>Основные направления повышения эффективности производства на предприятии</vt:lpstr>
      <vt:lpstr>Почему бизнес не активно включается в проект?</vt:lpstr>
      <vt:lpstr>Нас повсюду окружают ПОТЕРИ!!!</vt:lpstr>
      <vt:lpstr>Суть производственных систем, выстроенных на принципах бережливого производства </vt:lpstr>
      <vt:lpstr>Процесс реализации программы на отдельном предприятии-участнике </vt:lpstr>
      <vt:lpstr>Процесс реализации программы на отдельном предприятии-участнике </vt:lpstr>
      <vt:lpstr>Готовы ли Вы и Ваша команда к достижению амбициозных целей?</vt:lpstr>
      <vt:lpstr>Необходимо вывести коллектив из зоны комфорта …</vt:lpstr>
      <vt:lpstr>… и вести через изменения к лучшему</vt:lpstr>
      <vt:lpstr>Презентация PowerPoint</vt:lpstr>
      <vt:lpstr>Процесс реализации программы на отдельном предприятии-участнике </vt:lpstr>
      <vt:lpstr>Процесс реализации программы на отдельном предприятии-участнике </vt:lpstr>
      <vt:lpstr>Система обучения повышению производительности труда</vt:lpstr>
      <vt:lpstr>Хотеть → Знать → Уметь → Делать </vt:lpstr>
      <vt:lpstr>Ключевая роль сотрудников ФЦК – обучение  и развитие сотрудников предприятий </vt:lpstr>
      <vt:lpstr>Внутренние тренеры – система подготовки </vt:lpstr>
      <vt:lpstr>Для обмена опытом проводятся слёты «Школа тренеров»</vt:lpstr>
      <vt:lpstr>ИТ-платформа производительность.рф </vt:lpstr>
      <vt:lpstr>Онлайн-школа «Производительность.рф»</vt:lpstr>
      <vt:lpstr>Процесс реализации программы на отдельном предприятии-участнике </vt:lpstr>
      <vt:lpstr>Процесс реализации программы на отдельном предприятии-участнике </vt:lpstr>
      <vt:lpstr>Процесс реализации программы на отдельном предприятии-участнике </vt:lpstr>
      <vt:lpstr>Процесс реализации программы на отдельном предприятии-участнике </vt:lpstr>
      <vt:lpstr>Ключевые вехи проекта в первые 3 месяца программы</vt:lpstr>
      <vt:lpstr>Ключевые вехи проекта во вторые 3 месяца программы</vt:lpstr>
      <vt:lpstr>Презентация PowerPoint</vt:lpstr>
      <vt:lpstr>Презентация PowerPoint</vt:lpstr>
      <vt:lpstr>Карта потока создания ценности обслуживания пассажиров и ВС на перроне </vt:lpstr>
      <vt:lpstr>1. Зона досмотра Т1А (вход)</vt:lpstr>
      <vt:lpstr>2. Зона досмотра Т1А (вход)</vt:lpstr>
      <vt:lpstr>3. Зона регистрации Т1А </vt:lpstr>
      <vt:lpstr>4. Перрон встреча ВС</vt:lpstr>
      <vt:lpstr>5. Выгрузка и погрузка багажа</vt:lpstr>
      <vt:lpstr>6. Посадка пассажиров</vt:lpstr>
      <vt:lpstr>7. Предпосадка</vt:lpstr>
      <vt:lpstr>Презентация PowerPoint</vt:lpstr>
      <vt:lpstr>Информация о пилотном потоке</vt:lpstr>
      <vt:lpstr>Презентация PowerPoint</vt:lpstr>
      <vt:lpstr>Участок образец:</vt:lpstr>
      <vt:lpstr>Участок образец: Организация производства</vt:lpstr>
      <vt:lpstr>Участок образец: Стандартизированная работа</vt:lpstr>
      <vt:lpstr>Участок образец: Стандартизированная работа</vt:lpstr>
      <vt:lpstr>ТОП решений, повлиявших на выработку </vt:lpstr>
      <vt:lpstr>Презентация PowerPoint</vt:lpstr>
      <vt:lpstr>ТОП решений, повлиявших на выработку </vt:lpstr>
      <vt:lpstr>Презентация PowerPoint</vt:lpstr>
      <vt:lpstr>Презентация PowerPoint</vt:lpstr>
      <vt:lpstr>Презентация PowerPoint</vt:lpstr>
      <vt:lpstr>Динамика показателей проекта</vt:lpstr>
      <vt:lpstr>Результаты реализации проекта по РТ</vt:lpstr>
      <vt:lpstr>Результаты реализации проекта по РТ</vt:lpstr>
      <vt:lpstr>Пример вскрытия резервов производительности в Республике Татарстан</vt:lpstr>
      <vt:lpstr>Пример вскрытия резервов производительности в Республике Татарстан</vt:lpstr>
      <vt:lpstr>Как устраняли потери на предприятиях-участниках проекта</vt:lpstr>
      <vt:lpstr>Примеры вскрытия резервов производительности в  АО «СВМЗ» Самарской области (1-я волна)</vt:lpstr>
      <vt:lpstr>Примеры вскрытия резервов производительности в  ОАО «Аэрозоль Новомосковск» Тульской области (1-я волна)</vt:lpstr>
      <vt:lpstr>Примеры вскрытия резервов производительности в  ООО «БЗМИ» Белгородская область (1-я волна)</vt:lpstr>
      <vt:lpstr>Что необходимо сделать,  чтобы стать участником</vt:lpstr>
      <vt:lpstr>Как стать участником проекта?</vt:lpstr>
      <vt:lpstr>Как стать участником проекта?</vt:lpstr>
      <vt:lpstr>Оценочный чек-лист</vt:lpstr>
      <vt:lpstr>Оценочный чек-лист</vt:lpstr>
      <vt:lpstr>Оценочный чек-лист</vt:lpstr>
      <vt:lpstr>Один из первых шагов вхождения предприятия в проект –  подписание соглашения с АНО «ФЦК»</vt:lpstr>
      <vt:lpstr>Контакты специалистов, к которым Вы можете обратиться</vt:lpstr>
      <vt:lpstr>СПАСИБО!</vt:lpstr>
    </vt:vector>
  </TitlesOfParts>
  <Company>diakov.ne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Заголовок презентации  АНО "Федеральный центр компетенций в сфере производительности труда"</dc:title>
  <dc:creator>PC-Asus</dc:creator>
  <cp:lastModifiedBy>Болотов Алексей Викторович</cp:lastModifiedBy>
  <cp:revision>232</cp:revision>
  <dcterms:created xsi:type="dcterms:W3CDTF">2019-04-23T07:48:23Z</dcterms:created>
  <dcterms:modified xsi:type="dcterms:W3CDTF">2020-02-12T07:58:30Z</dcterms:modified>
</cp:coreProperties>
</file>